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1" r:id="rId6"/>
    <p:sldMasterId id="2147483716" r:id="rId7"/>
    <p:sldMasterId id="2147483728" r:id="rId8"/>
    <p:sldMasterId id="2147483764" r:id="rId9"/>
  </p:sldMasterIdLst>
  <p:notesMasterIdLst>
    <p:notesMasterId r:id="rId25"/>
  </p:notesMasterIdLst>
  <p:sldIdLst>
    <p:sldId id="262" r:id="rId10"/>
    <p:sldId id="2147469989" r:id="rId11"/>
    <p:sldId id="2147469990" r:id="rId12"/>
    <p:sldId id="2147469991" r:id="rId13"/>
    <p:sldId id="2147470000" r:id="rId14"/>
    <p:sldId id="2147470001" r:id="rId15"/>
    <p:sldId id="2147470034" r:id="rId16"/>
    <p:sldId id="2147470035" r:id="rId17"/>
    <p:sldId id="2147470038" r:id="rId18"/>
    <p:sldId id="2147470030" r:id="rId19"/>
    <p:sldId id="2147469994" r:id="rId20"/>
    <p:sldId id="2147470036" r:id="rId21"/>
    <p:sldId id="2147470029" r:id="rId22"/>
    <p:sldId id="2147470031" r:id="rId23"/>
    <p:sldId id="2147470028" r:id="rId24"/>
  </p:sldIdLst>
  <p:sldSz cx="12192000" cy="6858000"/>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unicki, Pawel" initials="KP" lastIdx="1" clrIdx="0">
    <p:extLst>
      <p:ext uri="{19B8F6BF-5375-455C-9EA6-DF929625EA0E}">
        <p15:presenceInfo xmlns:p15="http://schemas.microsoft.com/office/powerpoint/2012/main" userId="S::Pawel.Kunicki@unilever.com::2e0bdaa5-915a-4116-b95d-caa946c61fe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6EFCE"/>
    <a:srgbClr val="FFEB9C"/>
    <a:srgbClr val="A66711"/>
    <a:srgbClr val="FFC7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B4958F-2A7E-4A5E-A354-A1124CE44183}" v="1079" dt="2024-10-21T11:14:58.89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78" autoAdjust="0"/>
    <p:restoredTop sz="94660"/>
  </p:normalViewPr>
  <p:slideViewPr>
    <p:cSldViewPr snapToGrid="0">
      <p:cViewPr varScale="1">
        <p:scale>
          <a:sx n="151" d="100"/>
          <a:sy n="151" d="100"/>
        </p:scale>
        <p:origin x="660" y="150"/>
      </p:cViewPr>
      <p:guideLst>
        <p:guide pos="3840"/>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slide" Target="slides/slide15.xml"/><Relationship Id="rId32"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dyta Kozlowska" userId="b4dee01e-1dd1-4ace-b126-5b3bd0cf451c" providerId="ADAL" clId="{987F3CCD-5358-49F2-B4B6-316C97E6459C}"/>
    <pc:docChg chg="undo custSel addSld modSld sldOrd">
      <pc:chgData name="Judyta Kozlowska" userId="b4dee01e-1dd1-4ace-b126-5b3bd0cf451c" providerId="ADAL" clId="{987F3CCD-5358-49F2-B4B6-316C97E6459C}" dt="2023-06-20T08:06:00.498" v="2105" actId="1076"/>
      <pc:docMkLst>
        <pc:docMk/>
      </pc:docMkLst>
      <pc:sldChg chg="addSp modSp mod modClrScheme chgLayout">
        <pc:chgData name="Judyta Kozlowska" userId="b4dee01e-1dd1-4ace-b126-5b3bd0cf451c" providerId="ADAL" clId="{987F3CCD-5358-49F2-B4B6-316C97E6459C}" dt="2023-06-19T14:52:56.829" v="960" actId="20577"/>
        <pc:sldMkLst>
          <pc:docMk/>
          <pc:sldMk cId="2461597442" sldId="2147469989"/>
        </pc:sldMkLst>
        <pc:spChg chg="add mod ord">
          <ac:chgData name="Judyta Kozlowska" userId="b4dee01e-1dd1-4ace-b126-5b3bd0cf451c" providerId="ADAL" clId="{987F3CCD-5358-49F2-B4B6-316C97E6459C}" dt="2023-06-19T14:52:56.829" v="960" actId="20577"/>
          <ac:spMkLst>
            <pc:docMk/>
            <pc:sldMk cId="2461597442" sldId="2147469989"/>
            <ac:spMk id="3" creationId="{909A103A-960B-4112-EBD6-9F2255AE6CE7}"/>
          </ac:spMkLst>
        </pc:spChg>
        <pc:spChg chg="mod ord">
          <ac:chgData name="Judyta Kozlowska" userId="b4dee01e-1dd1-4ace-b126-5b3bd0cf451c" providerId="ADAL" clId="{987F3CCD-5358-49F2-B4B6-316C97E6459C}" dt="2023-06-19T07:33:16.963" v="464" actId="700"/>
          <ac:spMkLst>
            <pc:docMk/>
            <pc:sldMk cId="2461597442" sldId="2147469989"/>
            <ac:spMk id="4" creationId="{8D89732F-B42C-413E-AE63-4FF4C29D3694}"/>
          </ac:spMkLst>
        </pc:spChg>
        <pc:spChg chg="add mod">
          <ac:chgData name="Judyta Kozlowska" userId="b4dee01e-1dd1-4ace-b126-5b3bd0cf451c" providerId="ADAL" clId="{987F3CCD-5358-49F2-B4B6-316C97E6459C}" dt="2023-06-19T14:28:03.459" v="865" actId="20577"/>
          <ac:spMkLst>
            <pc:docMk/>
            <pc:sldMk cId="2461597442" sldId="2147469989"/>
            <ac:spMk id="5" creationId="{E0CDCE63-E3C5-17B4-26D0-E2F42D0A433A}"/>
          </ac:spMkLst>
        </pc:spChg>
        <pc:graphicFrameChg chg="mod">
          <ac:chgData name="Judyta Kozlowska" userId="b4dee01e-1dd1-4ace-b126-5b3bd0cf451c" providerId="ADAL" clId="{987F3CCD-5358-49F2-B4B6-316C97E6459C}" dt="2023-06-19T07:33:42.666" v="487" actId="14100"/>
          <ac:graphicFrameMkLst>
            <pc:docMk/>
            <pc:sldMk cId="2461597442" sldId="2147469989"/>
            <ac:graphicFrameMk id="2" creationId="{0C7CCDEB-7596-4380-A802-A754E86AEF4C}"/>
          </ac:graphicFrameMkLst>
        </pc:graphicFrameChg>
        <pc:graphicFrameChg chg="mod">
          <ac:chgData name="Judyta Kozlowska" userId="b4dee01e-1dd1-4ace-b126-5b3bd0cf451c" providerId="ADAL" clId="{987F3CCD-5358-49F2-B4B6-316C97E6459C}" dt="2023-06-19T07:33:04.435" v="462" actId="1076"/>
          <ac:graphicFrameMkLst>
            <pc:docMk/>
            <pc:sldMk cId="2461597442" sldId="2147469989"/>
            <ac:graphicFrameMk id="8" creationId="{02211EDB-357B-3EBD-8563-829190157A54}"/>
          </ac:graphicFrameMkLst>
        </pc:graphicFrameChg>
      </pc:sldChg>
      <pc:sldChg chg="addSp delSp modSp mod">
        <pc:chgData name="Judyta Kozlowska" userId="b4dee01e-1dd1-4ace-b126-5b3bd0cf451c" providerId="ADAL" clId="{987F3CCD-5358-49F2-B4B6-316C97E6459C}" dt="2023-06-19T14:53:06.554" v="965" actId="27636"/>
        <pc:sldMkLst>
          <pc:docMk/>
          <pc:sldMk cId="1173544550" sldId="2147469990"/>
        </pc:sldMkLst>
        <pc:spChg chg="add del mod">
          <ac:chgData name="Judyta Kozlowska" userId="b4dee01e-1dd1-4ace-b126-5b3bd0cf451c" providerId="ADAL" clId="{987F3CCD-5358-49F2-B4B6-316C97E6459C}" dt="2023-06-19T07:55:45.856" v="555" actId="21"/>
          <ac:spMkLst>
            <pc:docMk/>
            <pc:sldMk cId="1173544550" sldId="2147469990"/>
            <ac:spMk id="2" creationId="{372EA6F2-6626-C2C2-F225-5538EF40DE82}"/>
          </ac:spMkLst>
        </pc:spChg>
        <pc:spChg chg="add mod">
          <ac:chgData name="Judyta Kozlowska" userId="b4dee01e-1dd1-4ace-b126-5b3bd0cf451c" providerId="ADAL" clId="{987F3CCD-5358-49F2-B4B6-316C97E6459C}" dt="2023-06-19T14:53:06.554" v="965" actId="27636"/>
          <ac:spMkLst>
            <pc:docMk/>
            <pc:sldMk cId="1173544550" sldId="2147469990"/>
            <ac:spMk id="10" creationId="{C9C6750A-7217-3D84-2204-66C3205C3870}"/>
          </ac:spMkLst>
        </pc:spChg>
        <pc:graphicFrameChg chg="add del mod modGraphic">
          <ac:chgData name="Judyta Kozlowska" userId="b4dee01e-1dd1-4ace-b126-5b3bd0cf451c" providerId="ADAL" clId="{987F3CCD-5358-49F2-B4B6-316C97E6459C}" dt="2023-06-19T07:27:37.049" v="450"/>
          <ac:graphicFrameMkLst>
            <pc:docMk/>
            <pc:sldMk cId="1173544550" sldId="2147469990"/>
            <ac:graphicFrameMk id="3" creationId="{A0325D1F-1B05-35C0-C7F3-C0E294AFD3F9}"/>
          </ac:graphicFrameMkLst>
        </pc:graphicFrameChg>
        <pc:graphicFrameChg chg="add del mod modGraphic">
          <ac:chgData name="Judyta Kozlowska" userId="b4dee01e-1dd1-4ace-b126-5b3bd0cf451c" providerId="ADAL" clId="{987F3CCD-5358-49F2-B4B6-316C97E6459C}" dt="2023-06-19T07:27:31.459" v="443"/>
          <ac:graphicFrameMkLst>
            <pc:docMk/>
            <pc:sldMk cId="1173544550" sldId="2147469990"/>
            <ac:graphicFrameMk id="5" creationId="{549B32C7-EA73-27E4-F2FF-86A4D1332B0C}"/>
          </ac:graphicFrameMkLst>
        </pc:graphicFrameChg>
        <pc:graphicFrameChg chg="add del mod modGraphic">
          <ac:chgData name="Judyta Kozlowska" userId="b4dee01e-1dd1-4ace-b126-5b3bd0cf451c" providerId="ADAL" clId="{987F3CCD-5358-49F2-B4B6-316C97E6459C}" dt="2023-06-19T07:32:45.219" v="458" actId="478"/>
          <ac:graphicFrameMkLst>
            <pc:docMk/>
            <pc:sldMk cId="1173544550" sldId="2147469990"/>
            <ac:graphicFrameMk id="12" creationId="{4ED50428-40AA-6D7C-D4C2-CE8CB5038D26}"/>
          </ac:graphicFrameMkLst>
        </pc:graphicFrameChg>
        <pc:graphicFrameChg chg="add del">
          <ac:chgData name="Judyta Kozlowska" userId="b4dee01e-1dd1-4ace-b126-5b3bd0cf451c" providerId="ADAL" clId="{987F3CCD-5358-49F2-B4B6-316C97E6459C}" dt="2023-06-19T07:29:58.763" v="452" actId="478"/>
          <ac:graphicFrameMkLst>
            <pc:docMk/>
            <pc:sldMk cId="1173544550" sldId="2147469990"/>
            <ac:graphicFrameMk id="18" creationId="{E6C21E1F-2971-E362-D1DD-86ED550BEE0C}"/>
          </ac:graphicFrameMkLst>
        </pc:graphicFrameChg>
        <pc:picChg chg="add mod">
          <ac:chgData name="Judyta Kozlowska" userId="b4dee01e-1dd1-4ace-b126-5b3bd0cf451c" providerId="ADAL" clId="{987F3CCD-5358-49F2-B4B6-316C97E6459C}" dt="2023-06-19T14:38:28.931" v="889" actId="1076"/>
          <ac:picMkLst>
            <pc:docMk/>
            <pc:sldMk cId="1173544550" sldId="2147469990"/>
            <ac:picMk id="3" creationId="{51ACDA1A-BCEF-B87B-3D14-6A33FA1700DC}"/>
          </ac:picMkLst>
        </pc:picChg>
        <pc:picChg chg="add del mod">
          <ac:chgData name="Judyta Kozlowska" userId="b4dee01e-1dd1-4ace-b126-5b3bd0cf451c" providerId="ADAL" clId="{987F3CCD-5358-49F2-B4B6-316C97E6459C}" dt="2023-06-19T14:38:07.165" v="885" actId="478"/>
          <ac:picMkLst>
            <pc:docMk/>
            <pc:sldMk cId="1173544550" sldId="2147469990"/>
            <ac:picMk id="7" creationId="{C8B3A744-35DF-97B1-701B-02A7ABB35D63}"/>
          </ac:picMkLst>
        </pc:picChg>
        <pc:picChg chg="add mod">
          <ac:chgData name="Judyta Kozlowska" userId="b4dee01e-1dd1-4ace-b126-5b3bd0cf451c" providerId="ADAL" clId="{987F3CCD-5358-49F2-B4B6-316C97E6459C}" dt="2023-06-19T14:38:30.915" v="890" actId="1076"/>
          <ac:picMkLst>
            <pc:docMk/>
            <pc:sldMk cId="1173544550" sldId="2147469990"/>
            <ac:picMk id="9" creationId="{CDB7822F-6EA8-CDF1-1340-27DAF39F1AF6}"/>
          </ac:picMkLst>
        </pc:picChg>
      </pc:sldChg>
      <pc:sldChg chg="addSp delSp modSp mod">
        <pc:chgData name="Judyta Kozlowska" userId="b4dee01e-1dd1-4ace-b126-5b3bd0cf451c" providerId="ADAL" clId="{987F3CCD-5358-49F2-B4B6-316C97E6459C}" dt="2023-06-20T08:04:08.314" v="2078" actId="207"/>
        <pc:sldMkLst>
          <pc:docMk/>
          <pc:sldMk cId="1598440238" sldId="2147469991"/>
        </pc:sldMkLst>
        <pc:spChg chg="add mod">
          <ac:chgData name="Judyta Kozlowska" userId="b4dee01e-1dd1-4ace-b126-5b3bd0cf451c" providerId="ADAL" clId="{987F3CCD-5358-49F2-B4B6-316C97E6459C}" dt="2023-06-19T14:56:19.984" v="1010" actId="1076"/>
          <ac:spMkLst>
            <pc:docMk/>
            <pc:sldMk cId="1598440238" sldId="2147469991"/>
            <ac:spMk id="6" creationId="{B10C311C-EB7C-38C9-8C3C-9D48EE6F303B}"/>
          </ac:spMkLst>
        </pc:spChg>
        <pc:graphicFrameChg chg="del mod">
          <ac:chgData name="Judyta Kozlowska" userId="b4dee01e-1dd1-4ace-b126-5b3bd0cf451c" providerId="ADAL" clId="{987F3CCD-5358-49F2-B4B6-316C97E6459C}" dt="2023-06-19T14:38:59.994" v="894" actId="478"/>
          <ac:graphicFrameMkLst>
            <pc:docMk/>
            <pc:sldMk cId="1598440238" sldId="2147469991"/>
            <ac:graphicFrameMk id="2" creationId="{FCE0168F-BB47-46C8-9AF3-AE6D2D229EDE}"/>
          </ac:graphicFrameMkLst>
        </pc:graphicFrameChg>
        <pc:graphicFrameChg chg="add del mod modGraphic">
          <ac:chgData name="Judyta Kozlowska" userId="b4dee01e-1dd1-4ace-b126-5b3bd0cf451c" providerId="ADAL" clId="{987F3CCD-5358-49F2-B4B6-316C97E6459C}" dt="2023-06-19T14:38:59.266" v="893" actId="478"/>
          <ac:graphicFrameMkLst>
            <pc:docMk/>
            <pc:sldMk cId="1598440238" sldId="2147469991"/>
            <ac:graphicFrameMk id="3" creationId="{184EC226-8173-E926-0E80-DFBD3BF6168F}"/>
          </ac:graphicFrameMkLst>
        </pc:graphicFrameChg>
        <pc:graphicFrameChg chg="add mod">
          <ac:chgData name="Judyta Kozlowska" userId="b4dee01e-1dd1-4ace-b126-5b3bd0cf451c" providerId="ADAL" clId="{987F3CCD-5358-49F2-B4B6-316C97E6459C}" dt="2023-06-19T14:45:35.894" v="930" actId="14100"/>
          <ac:graphicFrameMkLst>
            <pc:docMk/>
            <pc:sldMk cId="1598440238" sldId="2147469991"/>
            <ac:graphicFrameMk id="5" creationId="{4C75228D-1A1D-ADE0-3AE5-F90DA546708C}"/>
          </ac:graphicFrameMkLst>
        </pc:graphicFrameChg>
        <pc:graphicFrameChg chg="del mod">
          <ac:chgData name="Judyta Kozlowska" userId="b4dee01e-1dd1-4ace-b126-5b3bd0cf451c" providerId="ADAL" clId="{987F3CCD-5358-49F2-B4B6-316C97E6459C}" dt="2023-06-19T14:38:58.464" v="892" actId="478"/>
          <ac:graphicFrameMkLst>
            <pc:docMk/>
            <pc:sldMk cId="1598440238" sldId="2147469991"/>
            <ac:graphicFrameMk id="7" creationId="{9FFEB81F-F094-F202-A02E-7D3102FE2DF0}"/>
          </ac:graphicFrameMkLst>
        </pc:graphicFrameChg>
        <pc:graphicFrameChg chg="del mod">
          <ac:chgData name="Judyta Kozlowska" userId="b4dee01e-1dd1-4ace-b126-5b3bd0cf451c" providerId="ADAL" clId="{987F3CCD-5358-49F2-B4B6-316C97E6459C}" dt="2023-06-19T14:38:57.738" v="891" actId="478"/>
          <ac:graphicFrameMkLst>
            <pc:docMk/>
            <pc:sldMk cId="1598440238" sldId="2147469991"/>
            <ac:graphicFrameMk id="8" creationId="{DC4FBB9D-6388-4035-A315-E2026EA46106}"/>
          </ac:graphicFrameMkLst>
        </pc:graphicFrameChg>
        <pc:graphicFrameChg chg="add mod modGraphic">
          <ac:chgData name="Judyta Kozlowska" userId="b4dee01e-1dd1-4ace-b126-5b3bd0cf451c" providerId="ADAL" clId="{987F3CCD-5358-49F2-B4B6-316C97E6459C}" dt="2023-06-20T08:04:08.314" v="2078" actId="207"/>
          <ac:graphicFrameMkLst>
            <pc:docMk/>
            <pc:sldMk cId="1598440238" sldId="2147469991"/>
            <ac:graphicFrameMk id="9" creationId="{B7A466F8-E5E9-311E-E998-4465F8148550}"/>
          </ac:graphicFrameMkLst>
        </pc:graphicFrameChg>
        <pc:graphicFrameChg chg="add del mod">
          <ac:chgData name="Judyta Kozlowska" userId="b4dee01e-1dd1-4ace-b126-5b3bd0cf451c" providerId="ADAL" clId="{987F3CCD-5358-49F2-B4B6-316C97E6459C}" dt="2023-06-19T14:39:00.391" v="895" actId="478"/>
          <ac:graphicFrameMkLst>
            <pc:docMk/>
            <pc:sldMk cId="1598440238" sldId="2147469991"/>
            <ac:graphicFrameMk id="13" creationId="{4694C32F-DF94-17D6-6871-11C7B8198BDF}"/>
          </ac:graphicFrameMkLst>
        </pc:graphicFrameChg>
        <pc:picChg chg="add del mod">
          <ac:chgData name="Judyta Kozlowska" userId="b4dee01e-1dd1-4ace-b126-5b3bd0cf451c" providerId="ADAL" clId="{987F3CCD-5358-49F2-B4B6-316C97E6459C}" dt="2023-06-19T07:42:13.608" v="503" actId="22"/>
          <ac:picMkLst>
            <pc:docMk/>
            <pc:sldMk cId="1598440238" sldId="2147469991"/>
            <ac:picMk id="5" creationId="{814ACF71-3DFC-9B80-DEBB-AD2D293AC5F0}"/>
          </ac:picMkLst>
        </pc:picChg>
      </pc:sldChg>
      <pc:sldChg chg="addSp modSp mod ord">
        <pc:chgData name="Judyta Kozlowska" userId="b4dee01e-1dd1-4ace-b126-5b3bd0cf451c" providerId="ADAL" clId="{987F3CCD-5358-49F2-B4B6-316C97E6459C}" dt="2023-06-19T15:09:36.139" v="1129"/>
        <pc:sldMkLst>
          <pc:docMk/>
          <pc:sldMk cId="4201953441" sldId="2147469992"/>
        </pc:sldMkLst>
        <pc:spChg chg="add mod">
          <ac:chgData name="Judyta Kozlowska" userId="b4dee01e-1dd1-4ace-b126-5b3bd0cf451c" providerId="ADAL" clId="{987F3CCD-5358-49F2-B4B6-316C97E6459C}" dt="2023-06-19T15:08:50.278" v="1122" actId="207"/>
          <ac:spMkLst>
            <pc:docMk/>
            <pc:sldMk cId="4201953441" sldId="2147469992"/>
            <ac:spMk id="2" creationId="{F1B62DD1-9C29-FCF2-23E1-30B6E59390E7}"/>
          </ac:spMkLst>
        </pc:spChg>
        <pc:graphicFrameChg chg="mod modGraphic">
          <ac:chgData name="Judyta Kozlowska" userId="b4dee01e-1dd1-4ace-b126-5b3bd0cf451c" providerId="ADAL" clId="{987F3CCD-5358-49F2-B4B6-316C97E6459C}" dt="2023-06-19T15:09:19.245" v="1127" actId="12385"/>
          <ac:graphicFrameMkLst>
            <pc:docMk/>
            <pc:sldMk cId="4201953441" sldId="2147469992"/>
            <ac:graphicFrameMk id="9" creationId="{A0929FE3-05DC-1C92-0492-62855D51575D}"/>
          </ac:graphicFrameMkLst>
        </pc:graphicFrameChg>
        <pc:graphicFrameChg chg="mod">
          <ac:chgData name="Judyta Kozlowska" userId="b4dee01e-1dd1-4ace-b126-5b3bd0cf451c" providerId="ADAL" clId="{987F3CCD-5358-49F2-B4B6-316C97E6459C}" dt="2023-06-19T15:09:32.969" v="1128"/>
          <ac:graphicFrameMkLst>
            <pc:docMk/>
            <pc:sldMk cId="4201953441" sldId="2147469992"/>
            <ac:graphicFrameMk id="10" creationId="{170892C3-8479-A253-CFE0-3825D9BD8BEA}"/>
          </ac:graphicFrameMkLst>
        </pc:graphicFrameChg>
        <pc:graphicFrameChg chg="mod">
          <ac:chgData name="Judyta Kozlowska" userId="b4dee01e-1dd1-4ace-b126-5b3bd0cf451c" providerId="ADAL" clId="{987F3CCD-5358-49F2-B4B6-316C97E6459C}" dt="2023-06-19T15:09:36.139" v="1129"/>
          <ac:graphicFrameMkLst>
            <pc:docMk/>
            <pc:sldMk cId="4201953441" sldId="2147469992"/>
            <ac:graphicFrameMk id="12" creationId="{5C4C2308-45F9-0609-B5FE-A4D77477E921}"/>
          </ac:graphicFrameMkLst>
        </pc:graphicFrameChg>
      </pc:sldChg>
      <pc:sldChg chg="modSp mod">
        <pc:chgData name="Judyta Kozlowska" userId="b4dee01e-1dd1-4ace-b126-5b3bd0cf451c" providerId="ADAL" clId="{987F3CCD-5358-49F2-B4B6-316C97E6459C}" dt="2023-06-20T08:05:31.538" v="2097" actId="14100"/>
        <pc:sldMkLst>
          <pc:docMk/>
          <pc:sldMk cId="1086150633" sldId="2147469993"/>
        </pc:sldMkLst>
        <pc:spChg chg="mod">
          <ac:chgData name="Judyta Kozlowska" userId="b4dee01e-1dd1-4ace-b126-5b3bd0cf451c" providerId="ADAL" clId="{987F3CCD-5358-49F2-B4B6-316C97E6459C}" dt="2023-06-19T15:11:32.737" v="1151" actId="1076"/>
          <ac:spMkLst>
            <pc:docMk/>
            <pc:sldMk cId="1086150633" sldId="2147469993"/>
            <ac:spMk id="8" creationId="{79F74B84-C419-FBE8-6819-ECC1B4E40683}"/>
          </ac:spMkLst>
        </pc:spChg>
        <pc:graphicFrameChg chg="mod modGraphic">
          <ac:chgData name="Judyta Kozlowska" userId="b4dee01e-1dd1-4ace-b126-5b3bd0cf451c" providerId="ADAL" clId="{987F3CCD-5358-49F2-B4B6-316C97E6459C}" dt="2023-06-20T08:05:25.458" v="2095" actId="1076"/>
          <ac:graphicFrameMkLst>
            <pc:docMk/>
            <pc:sldMk cId="1086150633" sldId="2147469993"/>
            <ac:graphicFrameMk id="3" creationId="{7A8F2E86-CAD1-52BB-75BF-1A6DE05AD0E8}"/>
          </ac:graphicFrameMkLst>
        </pc:graphicFrameChg>
        <pc:graphicFrameChg chg="mod">
          <ac:chgData name="Judyta Kozlowska" userId="b4dee01e-1dd1-4ace-b126-5b3bd0cf451c" providerId="ADAL" clId="{987F3CCD-5358-49F2-B4B6-316C97E6459C}" dt="2023-06-20T08:05:29.099" v="2096" actId="14100"/>
          <ac:graphicFrameMkLst>
            <pc:docMk/>
            <pc:sldMk cId="1086150633" sldId="2147469993"/>
            <ac:graphicFrameMk id="5" creationId="{13E87854-6E9B-74AE-DB30-517875DD0296}"/>
          </ac:graphicFrameMkLst>
        </pc:graphicFrameChg>
        <pc:graphicFrameChg chg="mod modGraphic">
          <ac:chgData name="Judyta Kozlowska" userId="b4dee01e-1dd1-4ace-b126-5b3bd0cf451c" providerId="ADAL" clId="{987F3CCD-5358-49F2-B4B6-316C97E6459C}" dt="2023-06-20T08:05:23.375" v="2094" actId="1076"/>
          <ac:graphicFrameMkLst>
            <pc:docMk/>
            <pc:sldMk cId="1086150633" sldId="2147469993"/>
            <ac:graphicFrameMk id="10" creationId="{A3588B4E-0A46-5C40-3E16-60846A16768D}"/>
          </ac:graphicFrameMkLst>
        </pc:graphicFrameChg>
        <pc:graphicFrameChg chg="mod">
          <ac:chgData name="Judyta Kozlowska" userId="b4dee01e-1dd1-4ace-b126-5b3bd0cf451c" providerId="ADAL" clId="{987F3CCD-5358-49F2-B4B6-316C97E6459C}" dt="2023-06-20T08:05:31.538" v="2097" actId="14100"/>
          <ac:graphicFrameMkLst>
            <pc:docMk/>
            <pc:sldMk cId="1086150633" sldId="2147469993"/>
            <ac:graphicFrameMk id="11" creationId="{5F975D20-8ED9-4485-3FE7-A1948D2F32AD}"/>
          </ac:graphicFrameMkLst>
        </pc:graphicFrameChg>
      </pc:sldChg>
      <pc:sldChg chg="modSp mod">
        <pc:chgData name="Judyta Kozlowska" userId="b4dee01e-1dd1-4ace-b126-5b3bd0cf451c" providerId="ADAL" clId="{987F3CCD-5358-49F2-B4B6-316C97E6459C}" dt="2023-06-20T08:05:46.698" v="2101" actId="1076"/>
        <pc:sldMkLst>
          <pc:docMk/>
          <pc:sldMk cId="876068050" sldId="2147469994"/>
        </pc:sldMkLst>
        <pc:spChg chg="mod">
          <ac:chgData name="Judyta Kozlowska" userId="b4dee01e-1dd1-4ace-b126-5b3bd0cf451c" providerId="ADAL" clId="{987F3CCD-5358-49F2-B4B6-316C97E6459C}" dt="2023-06-19T15:11:13.409" v="1147" actId="1076"/>
          <ac:spMkLst>
            <pc:docMk/>
            <pc:sldMk cId="876068050" sldId="2147469994"/>
            <ac:spMk id="8" creationId="{1ADCE64E-EF3B-B784-B783-DB453B380643}"/>
          </ac:spMkLst>
        </pc:spChg>
        <pc:graphicFrameChg chg="mod modGraphic">
          <ac:chgData name="Judyta Kozlowska" userId="b4dee01e-1dd1-4ace-b126-5b3bd0cf451c" providerId="ADAL" clId="{987F3CCD-5358-49F2-B4B6-316C97E6459C}" dt="2023-06-20T08:05:44.822" v="2100" actId="1076"/>
          <ac:graphicFrameMkLst>
            <pc:docMk/>
            <pc:sldMk cId="876068050" sldId="2147469994"/>
            <ac:graphicFrameMk id="10" creationId="{BF01CA8B-4A32-11E3-9D20-4788CC7B2DCF}"/>
          </ac:graphicFrameMkLst>
        </pc:graphicFrameChg>
        <pc:graphicFrameChg chg="mod">
          <ac:chgData name="Judyta Kozlowska" userId="b4dee01e-1dd1-4ace-b126-5b3bd0cf451c" providerId="ADAL" clId="{987F3CCD-5358-49F2-B4B6-316C97E6459C}" dt="2023-06-20T08:05:46.698" v="2101" actId="1076"/>
          <ac:graphicFrameMkLst>
            <pc:docMk/>
            <pc:sldMk cId="876068050" sldId="2147469994"/>
            <ac:graphicFrameMk id="11" creationId="{4A3E6939-95C1-C80A-4EC1-8DDEDC4194D4}"/>
          </ac:graphicFrameMkLst>
        </pc:graphicFrameChg>
      </pc:sldChg>
      <pc:sldChg chg="modSp mod">
        <pc:chgData name="Judyta Kozlowska" userId="b4dee01e-1dd1-4ace-b126-5b3bd0cf451c" providerId="ADAL" clId="{987F3CCD-5358-49F2-B4B6-316C97E6459C}" dt="2023-06-20T08:05:53.869" v="2103" actId="1076"/>
        <pc:sldMkLst>
          <pc:docMk/>
          <pc:sldMk cId="3175105478" sldId="2147469995"/>
        </pc:sldMkLst>
        <pc:spChg chg="mod">
          <ac:chgData name="Judyta Kozlowska" userId="b4dee01e-1dd1-4ace-b126-5b3bd0cf451c" providerId="ADAL" clId="{987F3CCD-5358-49F2-B4B6-316C97E6459C}" dt="2023-06-19T15:11:51.725" v="1155" actId="1076"/>
          <ac:spMkLst>
            <pc:docMk/>
            <pc:sldMk cId="3175105478" sldId="2147469995"/>
            <ac:spMk id="8" creationId="{C876B7A0-6A8F-8B6F-EA36-5D148F7AB865}"/>
          </ac:spMkLst>
        </pc:spChg>
        <pc:spChg chg="mod">
          <ac:chgData name="Judyta Kozlowska" userId="b4dee01e-1dd1-4ace-b126-5b3bd0cf451c" providerId="ADAL" clId="{987F3CCD-5358-49F2-B4B6-316C97E6459C}" dt="2023-06-19T15:12:34.145" v="1163" actId="1076"/>
          <ac:spMkLst>
            <pc:docMk/>
            <pc:sldMk cId="3175105478" sldId="2147469995"/>
            <ac:spMk id="13" creationId="{10F4C7A7-5FE8-9123-9BC0-1BE30D4F5752}"/>
          </ac:spMkLst>
        </pc:spChg>
        <pc:spChg chg="mod">
          <ac:chgData name="Judyta Kozlowska" userId="b4dee01e-1dd1-4ace-b126-5b3bd0cf451c" providerId="ADAL" clId="{987F3CCD-5358-49F2-B4B6-316C97E6459C}" dt="2023-06-19T15:12:14.785" v="1158" actId="1076"/>
          <ac:spMkLst>
            <pc:docMk/>
            <pc:sldMk cId="3175105478" sldId="2147469995"/>
            <ac:spMk id="15" creationId="{56462C3D-6167-40AA-0C1D-696EF175BEF6}"/>
          </ac:spMkLst>
        </pc:spChg>
        <pc:spChg chg="mod">
          <ac:chgData name="Judyta Kozlowska" userId="b4dee01e-1dd1-4ace-b126-5b3bd0cf451c" providerId="ADAL" clId="{987F3CCD-5358-49F2-B4B6-316C97E6459C}" dt="2023-06-19T15:12:24.043" v="1159" actId="1076"/>
          <ac:spMkLst>
            <pc:docMk/>
            <pc:sldMk cId="3175105478" sldId="2147469995"/>
            <ac:spMk id="16" creationId="{6720F78B-8479-E834-9C30-174798C51A69}"/>
          </ac:spMkLst>
        </pc:spChg>
        <pc:spChg chg="mod">
          <ac:chgData name="Judyta Kozlowska" userId="b4dee01e-1dd1-4ace-b126-5b3bd0cf451c" providerId="ADAL" clId="{987F3CCD-5358-49F2-B4B6-316C97E6459C}" dt="2023-06-19T15:12:32.113" v="1162" actId="1076"/>
          <ac:spMkLst>
            <pc:docMk/>
            <pc:sldMk cId="3175105478" sldId="2147469995"/>
            <ac:spMk id="17" creationId="{08DE14F4-0E3C-16EA-BC2A-28718CB9B354}"/>
          </ac:spMkLst>
        </pc:spChg>
        <pc:graphicFrameChg chg="mod modGraphic">
          <ac:chgData name="Judyta Kozlowska" userId="b4dee01e-1dd1-4ace-b126-5b3bd0cf451c" providerId="ADAL" clId="{987F3CCD-5358-49F2-B4B6-316C97E6459C}" dt="2023-06-20T08:05:53.869" v="2103" actId="1076"/>
          <ac:graphicFrameMkLst>
            <pc:docMk/>
            <pc:sldMk cId="3175105478" sldId="2147469995"/>
            <ac:graphicFrameMk id="12" creationId="{9EDAD055-7810-4045-744A-3DB4ECC8475F}"/>
          </ac:graphicFrameMkLst>
        </pc:graphicFrameChg>
      </pc:sldChg>
      <pc:sldChg chg="modSp mod">
        <pc:chgData name="Judyta Kozlowska" userId="b4dee01e-1dd1-4ace-b126-5b3bd0cf451c" providerId="ADAL" clId="{987F3CCD-5358-49F2-B4B6-316C97E6459C}" dt="2023-06-19T15:12:59.186" v="1168" actId="12385"/>
        <pc:sldMkLst>
          <pc:docMk/>
          <pc:sldMk cId="1361416781" sldId="2147469996"/>
        </pc:sldMkLst>
        <pc:spChg chg="mod">
          <ac:chgData name="Judyta Kozlowska" userId="b4dee01e-1dd1-4ace-b126-5b3bd0cf451c" providerId="ADAL" clId="{987F3CCD-5358-49F2-B4B6-316C97E6459C}" dt="2023-06-19T15:12:50.216" v="1166" actId="207"/>
          <ac:spMkLst>
            <pc:docMk/>
            <pc:sldMk cId="1361416781" sldId="2147469996"/>
            <ac:spMk id="8" creationId="{10BD4C5E-7BE8-021B-3A66-F2DB1303B7F1}"/>
          </ac:spMkLst>
        </pc:spChg>
        <pc:graphicFrameChg chg="mod">
          <ac:chgData name="Judyta Kozlowska" userId="b4dee01e-1dd1-4ace-b126-5b3bd0cf451c" providerId="ADAL" clId="{987F3CCD-5358-49F2-B4B6-316C97E6459C}" dt="2023-06-19T08:07:37.951" v="696" actId="1076"/>
          <ac:graphicFrameMkLst>
            <pc:docMk/>
            <pc:sldMk cId="1361416781" sldId="2147469996"/>
            <ac:graphicFrameMk id="2" creationId="{743DA750-E386-391F-38BD-83E748B18AEE}"/>
          </ac:graphicFrameMkLst>
        </pc:graphicFrameChg>
        <pc:graphicFrameChg chg="mod modGraphic">
          <ac:chgData name="Judyta Kozlowska" userId="b4dee01e-1dd1-4ace-b126-5b3bd0cf451c" providerId="ADAL" clId="{987F3CCD-5358-49F2-B4B6-316C97E6459C}" dt="2023-06-19T15:12:59.186" v="1168" actId="12385"/>
          <ac:graphicFrameMkLst>
            <pc:docMk/>
            <pc:sldMk cId="1361416781" sldId="2147469996"/>
            <ac:graphicFrameMk id="12" creationId="{26D59C8B-D204-BFA5-1CEA-4CE313D5DD1A}"/>
          </ac:graphicFrameMkLst>
        </pc:graphicFrameChg>
        <pc:graphicFrameChg chg="mod modGraphic">
          <ac:chgData name="Judyta Kozlowska" userId="b4dee01e-1dd1-4ace-b126-5b3bd0cf451c" providerId="ADAL" clId="{987F3CCD-5358-49F2-B4B6-316C97E6459C}" dt="2023-06-19T15:12:55.645" v="1167" actId="12385"/>
          <ac:graphicFrameMkLst>
            <pc:docMk/>
            <pc:sldMk cId="1361416781" sldId="2147469996"/>
            <ac:graphicFrameMk id="14" creationId="{B2FB8147-7BEF-B263-EFA4-E8CA889A458D}"/>
          </ac:graphicFrameMkLst>
        </pc:graphicFrameChg>
      </pc:sldChg>
      <pc:sldChg chg="modSp mod">
        <pc:chgData name="Judyta Kozlowska" userId="b4dee01e-1dd1-4ace-b126-5b3bd0cf451c" providerId="ADAL" clId="{987F3CCD-5358-49F2-B4B6-316C97E6459C}" dt="2023-06-20T08:06:00.498" v="2105" actId="1076"/>
        <pc:sldMkLst>
          <pc:docMk/>
          <pc:sldMk cId="1556072929" sldId="2147469997"/>
        </pc:sldMkLst>
        <pc:spChg chg="mod">
          <ac:chgData name="Judyta Kozlowska" userId="b4dee01e-1dd1-4ace-b126-5b3bd0cf451c" providerId="ADAL" clId="{987F3CCD-5358-49F2-B4B6-316C97E6459C}" dt="2023-06-19T15:10:09.095" v="1133" actId="1076"/>
          <ac:spMkLst>
            <pc:docMk/>
            <pc:sldMk cId="1556072929" sldId="2147469997"/>
            <ac:spMk id="8" creationId="{938CC91B-808B-EB3A-A57D-784915A5ED0A}"/>
          </ac:spMkLst>
        </pc:spChg>
        <pc:graphicFrameChg chg="mod modGraphic">
          <ac:chgData name="Judyta Kozlowska" userId="b4dee01e-1dd1-4ace-b126-5b3bd0cf451c" providerId="ADAL" clId="{987F3CCD-5358-49F2-B4B6-316C97E6459C}" dt="2023-06-20T08:06:00.498" v="2105" actId="1076"/>
          <ac:graphicFrameMkLst>
            <pc:docMk/>
            <pc:sldMk cId="1556072929" sldId="2147469997"/>
            <ac:graphicFrameMk id="12" creationId="{A9247756-7DED-DB5D-C970-6D7CAEE95029}"/>
          </ac:graphicFrameMkLst>
        </pc:graphicFrameChg>
      </pc:sldChg>
      <pc:sldChg chg="delSp modSp mod">
        <pc:chgData name="Judyta Kozlowska" userId="b4dee01e-1dd1-4ace-b126-5b3bd0cf451c" providerId="ADAL" clId="{987F3CCD-5358-49F2-B4B6-316C97E6459C}" dt="2023-06-19T15:13:21.664" v="1171" actId="12385"/>
        <pc:sldMkLst>
          <pc:docMk/>
          <pc:sldMk cId="3954989652" sldId="2147469998"/>
        </pc:sldMkLst>
        <pc:spChg chg="mod">
          <ac:chgData name="Judyta Kozlowska" userId="b4dee01e-1dd1-4ace-b126-5b3bd0cf451c" providerId="ADAL" clId="{987F3CCD-5358-49F2-B4B6-316C97E6459C}" dt="2023-06-19T15:10:18.141" v="1135" actId="207"/>
          <ac:spMkLst>
            <pc:docMk/>
            <pc:sldMk cId="3954989652" sldId="2147469998"/>
            <ac:spMk id="8" creationId="{3D6EDE1C-654B-A7ED-33A8-0E51F53699F4}"/>
          </ac:spMkLst>
        </pc:spChg>
        <pc:spChg chg="mod">
          <ac:chgData name="Judyta Kozlowska" userId="b4dee01e-1dd1-4ace-b126-5b3bd0cf451c" providerId="ADAL" clId="{987F3CCD-5358-49F2-B4B6-316C97E6459C}" dt="2023-06-19T15:10:33.719" v="1141" actId="207"/>
          <ac:spMkLst>
            <pc:docMk/>
            <pc:sldMk cId="3954989652" sldId="2147469998"/>
            <ac:spMk id="10" creationId="{C89F8B5A-C14E-9C18-1A9C-35CC60F0B4F0}"/>
          </ac:spMkLst>
        </pc:spChg>
        <pc:spChg chg="del mod">
          <ac:chgData name="Judyta Kozlowska" userId="b4dee01e-1dd1-4ace-b126-5b3bd0cf451c" providerId="ADAL" clId="{987F3CCD-5358-49F2-B4B6-316C97E6459C}" dt="2023-06-19T15:10:20.547" v="1136" actId="478"/>
          <ac:spMkLst>
            <pc:docMk/>
            <pc:sldMk cId="3954989652" sldId="2147469998"/>
            <ac:spMk id="14" creationId="{E020F866-6AC9-7416-6701-23693DC6FDAA}"/>
          </ac:spMkLst>
        </pc:spChg>
        <pc:graphicFrameChg chg="mod modGraphic">
          <ac:chgData name="Judyta Kozlowska" userId="b4dee01e-1dd1-4ace-b126-5b3bd0cf451c" providerId="ADAL" clId="{987F3CCD-5358-49F2-B4B6-316C97E6459C}" dt="2023-06-19T15:13:21.664" v="1171" actId="12385"/>
          <ac:graphicFrameMkLst>
            <pc:docMk/>
            <pc:sldMk cId="3954989652" sldId="2147469998"/>
            <ac:graphicFrameMk id="12" creationId="{5290F14D-ABFA-C9F8-263B-17403AB61F5E}"/>
          </ac:graphicFrameMkLst>
        </pc:graphicFrameChg>
      </pc:sldChg>
      <pc:sldChg chg="addSp delSp modSp new mod modClrScheme chgLayout">
        <pc:chgData name="Judyta Kozlowska" userId="b4dee01e-1dd1-4ace-b126-5b3bd0cf451c" providerId="ADAL" clId="{987F3CCD-5358-49F2-B4B6-316C97E6459C}" dt="2023-06-20T06:48:19.031" v="1728" actId="14100"/>
        <pc:sldMkLst>
          <pc:docMk/>
          <pc:sldMk cId="1062462279" sldId="2147469999"/>
        </pc:sldMkLst>
        <pc:spChg chg="del mod ord">
          <ac:chgData name="Judyta Kozlowska" userId="b4dee01e-1dd1-4ace-b126-5b3bd0cf451c" providerId="ADAL" clId="{987F3CCD-5358-49F2-B4B6-316C97E6459C}" dt="2023-06-19T06:44:12.374" v="1" actId="700"/>
          <ac:spMkLst>
            <pc:docMk/>
            <pc:sldMk cId="1062462279" sldId="2147469999"/>
            <ac:spMk id="2" creationId="{A97734B9-0A97-738F-4D32-3B34DDE3A207}"/>
          </ac:spMkLst>
        </pc:spChg>
        <pc:spChg chg="mod ord">
          <ac:chgData name="Judyta Kozlowska" userId="b4dee01e-1dd1-4ace-b126-5b3bd0cf451c" providerId="ADAL" clId="{987F3CCD-5358-49F2-B4B6-316C97E6459C}" dt="2023-06-19T06:44:12.374" v="1" actId="700"/>
          <ac:spMkLst>
            <pc:docMk/>
            <pc:sldMk cId="1062462279" sldId="2147469999"/>
            <ac:spMk id="3" creationId="{1127C65E-A4C3-6C9F-FF42-C81771A50D7B}"/>
          </ac:spMkLst>
        </pc:spChg>
        <pc:spChg chg="add mod ord">
          <ac:chgData name="Judyta Kozlowska" userId="b4dee01e-1dd1-4ace-b126-5b3bd0cf451c" providerId="ADAL" clId="{987F3CCD-5358-49F2-B4B6-316C97E6459C}" dt="2023-06-20T06:48:19.031" v="1728" actId="14100"/>
          <ac:spMkLst>
            <pc:docMk/>
            <pc:sldMk cId="1062462279" sldId="2147469999"/>
            <ac:spMk id="4" creationId="{C1A21581-A6D4-49EF-8D25-39B15725785A}"/>
          </ac:spMkLst>
        </pc:spChg>
        <pc:spChg chg="add del mod ord">
          <ac:chgData name="Judyta Kozlowska" userId="b4dee01e-1dd1-4ace-b126-5b3bd0cf451c" providerId="ADAL" clId="{987F3CCD-5358-49F2-B4B6-316C97E6459C}" dt="2023-06-20T06:47:29.647" v="1705" actId="478"/>
          <ac:spMkLst>
            <pc:docMk/>
            <pc:sldMk cId="1062462279" sldId="2147469999"/>
            <ac:spMk id="5" creationId="{4A708B07-BE5B-9C28-ACE5-3AE98A81E562}"/>
          </ac:spMkLst>
        </pc:spChg>
        <pc:picChg chg="add mod">
          <ac:chgData name="Judyta Kozlowska" userId="b4dee01e-1dd1-4ace-b126-5b3bd0cf451c" providerId="ADAL" clId="{987F3CCD-5358-49F2-B4B6-316C97E6459C}" dt="2023-06-20T06:48:12.290" v="1709" actId="1076"/>
          <ac:picMkLst>
            <pc:docMk/>
            <pc:sldMk cId="1062462279" sldId="2147469999"/>
            <ac:picMk id="6" creationId="{584A1F31-F27B-7861-061E-011D397662A0}"/>
          </ac:picMkLst>
        </pc:picChg>
      </pc:sldChg>
      <pc:sldChg chg="addSp delSp modSp add mod">
        <pc:chgData name="Judyta Kozlowska" userId="b4dee01e-1dd1-4ace-b126-5b3bd0cf451c" providerId="ADAL" clId="{987F3CCD-5358-49F2-B4B6-316C97E6459C}" dt="2023-06-20T08:04:03.732" v="2077" actId="207"/>
        <pc:sldMkLst>
          <pc:docMk/>
          <pc:sldMk cId="2735338271" sldId="2147470000"/>
        </pc:sldMkLst>
        <pc:spChg chg="mod">
          <ac:chgData name="Judyta Kozlowska" userId="b4dee01e-1dd1-4ace-b126-5b3bd0cf451c" providerId="ADAL" clId="{987F3CCD-5358-49F2-B4B6-316C97E6459C}" dt="2023-06-19T14:56:30.500" v="1024" actId="1076"/>
          <ac:spMkLst>
            <pc:docMk/>
            <pc:sldMk cId="2735338271" sldId="2147470000"/>
            <ac:spMk id="6" creationId="{B10C311C-EB7C-38C9-8C3C-9D48EE6F303B}"/>
          </ac:spMkLst>
        </pc:spChg>
        <pc:graphicFrameChg chg="add del mod">
          <ac:chgData name="Judyta Kozlowska" userId="b4dee01e-1dd1-4ace-b126-5b3bd0cf451c" providerId="ADAL" clId="{987F3CCD-5358-49F2-B4B6-316C97E6459C}" dt="2023-06-19T14:47:29.431" v="946" actId="478"/>
          <ac:graphicFrameMkLst>
            <pc:docMk/>
            <pc:sldMk cId="2735338271" sldId="2147470000"/>
            <ac:graphicFrameMk id="2" creationId="{4C75228D-1A1D-ADE0-3AE5-F90DA546708C}"/>
          </ac:graphicFrameMkLst>
        </pc:graphicFrameChg>
        <pc:graphicFrameChg chg="add mod">
          <ac:chgData name="Judyta Kozlowska" userId="b4dee01e-1dd1-4ace-b126-5b3bd0cf451c" providerId="ADAL" clId="{987F3CCD-5358-49F2-B4B6-316C97E6459C}" dt="2023-06-19T14:55:47.238" v="984" actId="14100"/>
          <ac:graphicFrameMkLst>
            <pc:docMk/>
            <pc:sldMk cId="2735338271" sldId="2147470000"/>
            <ac:graphicFrameMk id="3" creationId="{33CD829E-8CF2-49B0-B376-976509F8D2EB}"/>
          </ac:graphicFrameMkLst>
        </pc:graphicFrameChg>
        <pc:graphicFrameChg chg="add mod modGraphic">
          <ac:chgData name="Judyta Kozlowska" userId="b4dee01e-1dd1-4ace-b126-5b3bd0cf451c" providerId="ADAL" clId="{987F3CCD-5358-49F2-B4B6-316C97E6459C}" dt="2023-06-20T08:04:03.732" v="2077" actId="207"/>
          <ac:graphicFrameMkLst>
            <pc:docMk/>
            <pc:sldMk cId="2735338271" sldId="2147470000"/>
            <ac:graphicFrameMk id="7" creationId="{139A53B6-D842-D704-3DC7-A1CDA464D6BD}"/>
          </ac:graphicFrameMkLst>
        </pc:graphicFrameChg>
        <pc:graphicFrameChg chg="del">
          <ac:chgData name="Judyta Kozlowska" userId="b4dee01e-1dd1-4ace-b126-5b3bd0cf451c" providerId="ADAL" clId="{987F3CCD-5358-49F2-B4B6-316C97E6459C}" dt="2023-06-19T14:53:40.922" v="972" actId="478"/>
          <ac:graphicFrameMkLst>
            <pc:docMk/>
            <pc:sldMk cId="2735338271" sldId="2147470000"/>
            <ac:graphicFrameMk id="9" creationId="{B7A466F8-E5E9-311E-E998-4465F8148550}"/>
          </ac:graphicFrameMkLst>
        </pc:graphicFrameChg>
      </pc:sldChg>
      <pc:sldChg chg="addSp delSp modSp add mod">
        <pc:chgData name="Judyta Kozlowska" userId="b4dee01e-1dd1-4ace-b126-5b3bd0cf451c" providerId="ADAL" clId="{987F3CCD-5358-49F2-B4B6-316C97E6459C}" dt="2023-06-20T08:04:14.996" v="2079" actId="20577"/>
        <pc:sldMkLst>
          <pc:docMk/>
          <pc:sldMk cId="443538584" sldId="2147470001"/>
        </pc:sldMkLst>
        <pc:spChg chg="mod">
          <ac:chgData name="Judyta Kozlowska" userId="b4dee01e-1dd1-4ace-b126-5b3bd0cf451c" providerId="ADAL" clId="{987F3CCD-5358-49F2-B4B6-316C97E6459C}" dt="2023-06-19T14:56:42.088" v="1040" actId="1076"/>
          <ac:spMkLst>
            <pc:docMk/>
            <pc:sldMk cId="443538584" sldId="2147470001"/>
            <ac:spMk id="6" creationId="{B10C311C-EB7C-38C9-8C3C-9D48EE6F303B}"/>
          </ac:spMkLst>
        </pc:spChg>
        <pc:graphicFrameChg chg="add mod modGraphic">
          <ac:chgData name="Judyta Kozlowska" userId="b4dee01e-1dd1-4ace-b126-5b3bd0cf451c" providerId="ADAL" clId="{987F3CCD-5358-49F2-B4B6-316C97E6459C}" dt="2023-06-20T08:04:14.996" v="2079" actId="20577"/>
          <ac:graphicFrameMkLst>
            <pc:docMk/>
            <pc:sldMk cId="443538584" sldId="2147470001"/>
            <ac:graphicFrameMk id="2" creationId="{181C8F04-D319-C4C1-1760-EF5A4B3FBD7E}"/>
          </ac:graphicFrameMkLst>
        </pc:graphicFrameChg>
        <pc:graphicFrameChg chg="add del mod modGraphic">
          <ac:chgData name="Judyta Kozlowska" userId="b4dee01e-1dd1-4ace-b126-5b3bd0cf451c" providerId="ADAL" clId="{987F3CCD-5358-49F2-B4B6-316C97E6459C}" dt="2023-06-20T07:15:43.244" v="1861" actId="21"/>
          <ac:graphicFrameMkLst>
            <pc:docMk/>
            <pc:sldMk cId="443538584" sldId="2147470001"/>
            <ac:graphicFrameMk id="7" creationId="{E1C8F6E8-ADBB-6CC9-3463-950F076E25B8}"/>
          </ac:graphicFrameMkLst>
        </pc:graphicFrameChg>
        <pc:graphicFrameChg chg="del">
          <ac:chgData name="Judyta Kozlowska" userId="b4dee01e-1dd1-4ace-b126-5b3bd0cf451c" providerId="ADAL" clId="{987F3CCD-5358-49F2-B4B6-316C97E6459C}" dt="2023-06-19T14:56:44.851" v="1041" actId="478"/>
          <ac:graphicFrameMkLst>
            <pc:docMk/>
            <pc:sldMk cId="443538584" sldId="2147470001"/>
            <ac:graphicFrameMk id="9" creationId="{B7A466F8-E5E9-311E-E998-4465F8148550}"/>
          </ac:graphicFrameMkLst>
        </pc:graphicFrameChg>
      </pc:sldChg>
      <pc:sldChg chg="addSp modSp add mod">
        <pc:chgData name="Judyta Kozlowska" userId="b4dee01e-1dd1-4ace-b126-5b3bd0cf451c" providerId="ADAL" clId="{987F3CCD-5358-49F2-B4B6-316C97E6459C}" dt="2023-06-20T07:17:02.307" v="1870" actId="14100"/>
        <pc:sldMkLst>
          <pc:docMk/>
          <pc:sldMk cId="3282062646" sldId="2147470002"/>
        </pc:sldMkLst>
        <pc:spChg chg="mod">
          <ac:chgData name="Judyta Kozlowska" userId="b4dee01e-1dd1-4ace-b126-5b3bd0cf451c" providerId="ADAL" clId="{987F3CCD-5358-49F2-B4B6-316C97E6459C}" dt="2023-06-19T14:56:51.678" v="1046" actId="20577"/>
          <ac:spMkLst>
            <pc:docMk/>
            <pc:sldMk cId="3282062646" sldId="2147470002"/>
            <ac:spMk id="6" creationId="{B10C311C-EB7C-38C9-8C3C-9D48EE6F303B}"/>
          </ac:spMkLst>
        </pc:spChg>
        <pc:graphicFrameChg chg="add mod modGraphic">
          <ac:chgData name="Judyta Kozlowska" userId="b4dee01e-1dd1-4ace-b126-5b3bd0cf451c" providerId="ADAL" clId="{987F3CCD-5358-49F2-B4B6-316C97E6459C}" dt="2023-06-20T07:17:02.307" v="1870" actId="14100"/>
          <ac:graphicFrameMkLst>
            <pc:docMk/>
            <pc:sldMk cId="3282062646" sldId="2147470002"/>
            <ac:graphicFrameMk id="2" creationId="{154C5270-F826-A913-92B8-410695039C29}"/>
          </ac:graphicFrameMkLst>
        </pc:graphicFrameChg>
      </pc:sldChg>
      <pc:sldChg chg="modSp add mod ord">
        <pc:chgData name="Judyta Kozlowska" userId="b4dee01e-1dd1-4ace-b126-5b3bd0cf451c" providerId="ADAL" clId="{987F3CCD-5358-49F2-B4B6-316C97E6459C}" dt="2023-06-19T15:13:44.393" v="1201" actId="5793"/>
        <pc:sldMkLst>
          <pc:docMk/>
          <pc:sldMk cId="2304145534" sldId="2147470003"/>
        </pc:sldMkLst>
        <pc:spChg chg="mod">
          <ac:chgData name="Judyta Kozlowska" userId="b4dee01e-1dd1-4ace-b126-5b3bd0cf451c" providerId="ADAL" clId="{987F3CCD-5358-49F2-B4B6-316C97E6459C}" dt="2023-06-19T15:13:44.393" v="1201" actId="5793"/>
          <ac:spMkLst>
            <pc:docMk/>
            <pc:sldMk cId="2304145534" sldId="2147470003"/>
            <ac:spMk id="2" creationId="{00000000-0000-0000-0000-000000000000}"/>
          </ac:spMkLst>
        </pc:spChg>
      </pc:sldChg>
      <pc:sldChg chg="modSp add mod ord">
        <pc:chgData name="Judyta Kozlowska" userId="b4dee01e-1dd1-4ace-b126-5b3bd0cf451c" providerId="ADAL" clId="{987F3CCD-5358-49F2-B4B6-316C97E6459C}" dt="2023-06-19T14:57:38.504" v="1100" actId="20577"/>
        <pc:sldMkLst>
          <pc:docMk/>
          <pc:sldMk cId="2510085600" sldId="2147470004"/>
        </pc:sldMkLst>
        <pc:spChg chg="mod">
          <ac:chgData name="Judyta Kozlowska" userId="b4dee01e-1dd1-4ace-b126-5b3bd0cf451c" providerId="ADAL" clId="{987F3CCD-5358-49F2-B4B6-316C97E6459C}" dt="2023-06-19T14:57:38.504" v="1100" actId="20577"/>
          <ac:spMkLst>
            <pc:docMk/>
            <pc:sldMk cId="2510085600" sldId="2147470004"/>
            <ac:spMk id="2" creationId="{00000000-0000-0000-0000-000000000000}"/>
          </ac:spMkLst>
        </pc:spChg>
      </pc:sldChg>
      <pc:sldChg chg="modSp add mod ord">
        <pc:chgData name="Judyta Kozlowska" userId="b4dee01e-1dd1-4ace-b126-5b3bd0cf451c" providerId="ADAL" clId="{987F3CCD-5358-49F2-B4B6-316C97E6459C}" dt="2023-06-19T15:19:14.672" v="1233" actId="14100"/>
        <pc:sldMkLst>
          <pc:docMk/>
          <pc:sldMk cId="2784659051" sldId="2147470005"/>
        </pc:sldMkLst>
        <pc:spChg chg="mod">
          <ac:chgData name="Judyta Kozlowska" userId="b4dee01e-1dd1-4ace-b126-5b3bd0cf451c" providerId="ADAL" clId="{987F3CCD-5358-49F2-B4B6-316C97E6459C}" dt="2023-06-19T15:19:14.672" v="1233" actId="14100"/>
          <ac:spMkLst>
            <pc:docMk/>
            <pc:sldMk cId="2784659051" sldId="2147470005"/>
            <ac:spMk id="2" creationId="{00000000-0000-0000-0000-000000000000}"/>
          </ac:spMkLst>
        </pc:spChg>
      </pc:sldChg>
      <pc:sldChg chg="modSp add mod">
        <pc:chgData name="Judyta Kozlowska" userId="b4dee01e-1dd1-4ace-b126-5b3bd0cf451c" providerId="ADAL" clId="{987F3CCD-5358-49F2-B4B6-316C97E6459C}" dt="2023-06-19T15:19:22.609" v="1240" actId="20577"/>
        <pc:sldMkLst>
          <pc:docMk/>
          <pc:sldMk cId="1456015135" sldId="2147470006"/>
        </pc:sldMkLst>
        <pc:spChg chg="mod">
          <ac:chgData name="Judyta Kozlowska" userId="b4dee01e-1dd1-4ace-b126-5b3bd0cf451c" providerId="ADAL" clId="{987F3CCD-5358-49F2-B4B6-316C97E6459C}" dt="2023-06-19T15:19:22.609" v="1240" actId="20577"/>
          <ac:spMkLst>
            <pc:docMk/>
            <pc:sldMk cId="1456015135" sldId="2147470006"/>
            <ac:spMk id="2" creationId="{00000000-0000-0000-0000-000000000000}"/>
          </ac:spMkLst>
        </pc:spChg>
      </pc:sldChg>
      <pc:sldChg chg="modSp add mod">
        <pc:chgData name="Judyta Kozlowska" userId="b4dee01e-1dd1-4ace-b126-5b3bd0cf451c" providerId="ADAL" clId="{987F3CCD-5358-49F2-B4B6-316C97E6459C}" dt="2023-06-19T15:19:31.729" v="1258" actId="20577"/>
        <pc:sldMkLst>
          <pc:docMk/>
          <pc:sldMk cId="800952384" sldId="2147470007"/>
        </pc:sldMkLst>
        <pc:spChg chg="mod">
          <ac:chgData name="Judyta Kozlowska" userId="b4dee01e-1dd1-4ace-b126-5b3bd0cf451c" providerId="ADAL" clId="{987F3CCD-5358-49F2-B4B6-316C97E6459C}" dt="2023-06-19T15:19:31.729" v="1258" actId="20577"/>
          <ac:spMkLst>
            <pc:docMk/>
            <pc:sldMk cId="800952384" sldId="2147470007"/>
            <ac:spMk id="2" creationId="{00000000-0000-0000-0000-000000000000}"/>
          </ac:spMkLst>
        </pc:spChg>
      </pc:sldChg>
      <pc:sldChg chg="modSp add mod">
        <pc:chgData name="Judyta Kozlowska" userId="b4dee01e-1dd1-4ace-b126-5b3bd0cf451c" providerId="ADAL" clId="{987F3CCD-5358-49F2-B4B6-316C97E6459C}" dt="2023-06-19T15:19:41.324" v="1271" actId="14100"/>
        <pc:sldMkLst>
          <pc:docMk/>
          <pc:sldMk cId="1436580615" sldId="2147470008"/>
        </pc:sldMkLst>
        <pc:spChg chg="mod">
          <ac:chgData name="Judyta Kozlowska" userId="b4dee01e-1dd1-4ace-b126-5b3bd0cf451c" providerId="ADAL" clId="{987F3CCD-5358-49F2-B4B6-316C97E6459C}" dt="2023-06-19T15:19:41.324" v="1271" actId="14100"/>
          <ac:spMkLst>
            <pc:docMk/>
            <pc:sldMk cId="1436580615" sldId="2147470008"/>
            <ac:spMk id="2" creationId="{00000000-0000-0000-0000-000000000000}"/>
          </ac:spMkLst>
        </pc:spChg>
      </pc:sldChg>
      <pc:sldChg chg="modSp add mod">
        <pc:chgData name="Judyta Kozlowska" userId="b4dee01e-1dd1-4ace-b126-5b3bd0cf451c" providerId="ADAL" clId="{987F3CCD-5358-49F2-B4B6-316C97E6459C}" dt="2023-06-19T15:19:53.007" v="1291" actId="20577"/>
        <pc:sldMkLst>
          <pc:docMk/>
          <pc:sldMk cId="318253821" sldId="2147470009"/>
        </pc:sldMkLst>
        <pc:spChg chg="mod">
          <ac:chgData name="Judyta Kozlowska" userId="b4dee01e-1dd1-4ace-b126-5b3bd0cf451c" providerId="ADAL" clId="{987F3CCD-5358-49F2-B4B6-316C97E6459C}" dt="2023-06-19T15:19:53.007" v="1291" actId="20577"/>
          <ac:spMkLst>
            <pc:docMk/>
            <pc:sldMk cId="318253821" sldId="2147470009"/>
            <ac:spMk id="2" creationId="{00000000-0000-0000-0000-000000000000}"/>
          </ac:spMkLst>
        </pc:spChg>
      </pc:sldChg>
      <pc:sldChg chg="addSp delSp modSp add mod ord">
        <pc:chgData name="Judyta Kozlowska" userId="b4dee01e-1dd1-4ace-b126-5b3bd0cf451c" providerId="ADAL" clId="{987F3CCD-5358-49F2-B4B6-316C97E6459C}" dt="2023-06-19T15:37:54.800" v="1341" actId="14100"/>
        <pc:sldMkLst>
          <pc:docMk/>
          <pc:sldMk cId="1010294061" sldId="2147470010"/>
        </pc:sldMkLst>
        <pc:spChg chg="mod">
          <ac:chgData name="Judyta Kozlowska" userId="b4dee01e-1dd1-4ace-b126-5b3bd0cf451c" providerId="ADAL" clId="{987F3CCD-5358-49F2-B4B6-316C97E6459C}" dt="2023-06-19T15:30:14.165" v="1319" actId="20577"/>
          <ac:spMkLst>
            <pc:docMk/>
            <pc:sldMk cId="1010294061" sldId="2147470010"/>
            <ac:spMk id="8" creationId="{3D6EDE1C-654B-A7ED-33A8-0E51F53699F4}"/>
          </ac:spMkLst>
        </pc:spChg>
        <pc:spChg chg="del">
          <ac:chgData name="Judyta Kozlowska" userId="b4dee01e-1dd1-4ace-b126-5b3bd0cf451c" providerId="ADAL" clId="{987F3CCD-5358-49F2-B4B6-316C97E6459C}" dt="2023-06-19T15:30:16.901" v="1320" actId="478"/>
          <ac:spMkLst>
            <pc:docMk/>
            <pc:sldMk cId="1010294061" sldId="2147470010"/>
            <ac:spMk id="10" creationId="{C89F8B5A-C14E-9C18-1A9C-35CC60F0B4F0}"/>
          </ac:spMkLst>
        </pc:spChg>
        <pc:graphicFrameChg chg="add mod modGraphic">
          <ac:chgData name="Judyta Kozlowska" userId="b4dee01e-1dd1-4ace-b126-5b3bd0cf451c" providerId="ADAL" clId="{987F3CCD-5358-49F2-B4B6-316C97E6459C}" dt="2023-06-19T15:37:29.050" v="1337" actId="403"/>
          <ac:graphicFrameMkLst>
            <pc:docMk/>
            <pc:sldMk cId="1010294061" sldId="2147470010"/>
            <ac:graphicFrameMk id="2" creationId="{22B51EEB-5565-E092-CD5E-4EC06EA05B5B}"/>
          </ac:graphicFrameMkLst>
        </pc:graphicFrameChg>
        <pc:graphicFrameChg chg="add mod modGraphic">
          <ac:chgData name="Judyta Kozlowska" userId="b4dee01e-1dd1-4ace-b126-5b3bd0cf451c" providerId="ADAL" clId="{987F3CCD-5358-49F2-B4B6-316C97E6459C}" dt="2023-06-19T15:37:54.800" v="1341" actId="14100"/>
          <ac:graphicFrameMkLst>
            <pc:docMk/>
            <pc:sldMk cId="1010294061" sldId="2147470010"/>
            <ac:graphicFrameMk id="3" creationId="{16EF10F9-171B-CCE3-4956-21CBCFDDC440}"/>
          </ac:graphicFrameMkLst>
        </pc:graphicFrameChg>
        <pc:graphicFrameChg chg="add mod modGraphic">
          <ac:chgData name="Judyta Kozlowska" userId="b4dee01e-1dd1-4ace-b126-5b3bd0cf451c" providerId="ADAL" clId="{987F3CCD-5358-49F2-B4B6-316C97E6459C}" dt="2023-06-19T15:37:31.192" v="1338" actId="403"/>
          <ac:graphicFrameMkLst>
            <pc:docMk/>
            <pc:sldMk cId="1010294061" sldId="2147470010"/>
            <ac:graphicFrameMk id="5" creationId="{2D4BF89A-2F87-F4B1-701E-871B6E405A64}"/>
          </ac:graphicFrameMkLst>
        </pc:graphicFrameChg>
        <pc:graphicFrameChg chg="add mod modGraphic">
          <ac:chgData name="Judyta Kozlowska" userId="b4dee01e-1dd1-4ace-b126-5b3bd0cf451c" providerId="ADAL" clId="{987F3CCD-5358-49F2-B4B6-316C97E6459C}" dt="2023-06-19T15:37:34.821" v="1340" actId="403"/>
          <ac:graphicFrameMkLst>
            <pc:docMk/>
            <pc:sldMk cId="1010294061" sldId="2147470010"/>
            <ac:graphicFrameMk id="6" creationId="{00E02034-DC9D-D8D4-8593-13468BFD7504}"/>
          </ac:graphicFrameMkLst>
        </pc:graphicFrameChg>
        <pc:graphicFrameChg chg="del">
          <ac:chgData name="Judyta Kozlowska" userId="b4dee01e-1dd1-4ace-b126-5b3bd0cf451c" providerId="ADAL" clId="{987F3CCD-5358-49F2-B4B6-316C97E6459C}" dt="2023-06-19T15:30:18.069" v="1321" actId="478"/>
          <ac:graphicFrameMkLst>
            <pc:docMk/>
            <pc:sldMk cId="1010294061" sldId="2147470010"/>
            <ac:graphicFrameMk id="12" creationId="{5290F14D-ABFA-C9F8-263B-17403AB61F5E}"/>
          </ac:graphicFrameMkLst>
        </pc:graphicFrameChg>
      </pc:sldChg>
      <pc:sldChg chg="addSp delSp modSp add mod ord">
        <pc:chgData name="Judyta Kozlowska" userId="b4dee01e-1dd1-4ace-b126-5b3bd0cf451c" providerId="ADAL" clId="{987F3CCD-5358-49F2-B4B6-316C97E6459C}" dt="2023-06-19T15:44:39.193" v="1372" actId="12385"/>
        <pc:sldMkLst>
          <pc:docMk/>
          <pc:sldMk cId="97570994" sldId="2147470011"/>
        </pc:sldMkLst>
        <pc:spChg chg="mod">
          <ac:chgData name="Judyta Kozlowska" userId="b4dee01e-1dd1-4ace-b126-5b3bd0cf451c" providerId="ADAL" clId="{987F3CCD-5358-49F2-B4B6-316C97E6459C}" dt="2023-06-19T15:38:07.396" v="1350" actId="20577"/>
          <ac:spMkLst>
            <pc:docMk/>
            <pc:sldMk cId="97570994" sldId="2147470011"/>
            <ac:spMk id="8" creationId="{3D6EDE1C-654B-A7ED-33A8-0E51F53699F4}"/>
          </ac:spMkLst>
        </pc:spChg>
        <pc:graphicFrameChg chg="del">
          <ac:chgData name="Judyta Kozlowska" userId="b4dee01e-1dd1-4ace-b126-5b3bd0cf451c" providerId="ADAL" clId="{987F3CCD-5358-49F2-B4B6-316C97E6459C}" dt="2023-06-19T15:43:28.804" v="1352" actId="478"/>
          <ac:graphicFrameMkLst>
            <pc:docMk/>
            <pc:sldMk cId="97570994" sldId="2147470011"/>
            <ac:graphicFrameMk id="2" creationId="{22B51EEB-5565-E092-CD5E-4EC06EA05B5B}"/>
          </ac:graphicFrameMkLst>
        </pc:graphicFrameChg>
        <pc:graphicFrameChg chg="del">
          <ac:chgData name="Judyta Kozlowska" userId="b4dee01e-1dd1-4ace-b126-5b3bd0cf451c" providerId="ADAL" clId="{987F3CCD-5358-49F2-B4B6-316C97E6459C}" dt="2023-06-19T15:43:44.490" v="1358" actId="478"/>
          <ac:graphicFrameMkLst>
            <pc:docMk/>
            <pc:sldMk cId="97570994" sldId="2147470011"/>
            <ac:graphicFrameMk id="3" creationId="{16EF10F9-171B-CCE3-4956-21CBCFDDC440}"/>
          </ac:graphicFrameMkLst>
        </pc:graphicFrameChg>
        <pc:graphicFrameChg chg="del">
          <ac:chgData name="Judyta Kozlowska" userId="b4dee01e-1dd1-4ace-b126-5b3bd0cf451c" providerId="ADAL" clId="{987F3CCD-5358-49F2-B4B6-316C97E6459C}" dt="2023-06-19T15:43:58.479" v="1362" actId="478"/>
          <ac:graphicFrameMkLst>
            <pc:docMk/>
            <pc:sldMk cId="97570994" sldId="2147470011"/>
            <ac:graphicFrameMk id="5" creationId="{2D4BF89A-2F87-F4B1-701E-871B6E405A64}"/>
          </ac:graphicFrameMkLst>
        </pc:graphicFrameChg>
        <pc:graphicFrameChg chg="del">
          <ac:chgData name="Judyta Kozlowska" userId="b4dee01e-1dd1-4ace-b126-5b3bd0cf451c" providerId="ADAL" clId="{987F3CCD-5358-49F2-B4B6-316C97E6459C}" dt="2023-06-19T15:44:06.485" v="1364" actId="478"/>
          <ac:graphicFrameMkLst>
            <pc:docMk/>
            <pc:sldMk cId="97570994" sldId="2147470011"/>
            <ac:graphicFrameMk id="6" creationId="{00E02034-DC9D-D8D4-8593-13468BFD7504}"/>
          </ac:graphicFrameMkLst>
        </pc:graphicFrameChg>
        <pc:graphicFrameChg chg="add mod modGraphic">
          <ac:chgData name="Judyta Kozlowska" userId="b4dee01e-1dd1-4ace-b126-5b3bd0cf451c" providerId="ADAL" clId="{987F3CCD-5358-49F2-B4B6-316C97E6459C}" dt="2023-06-19T15:44:27.428" v="1369" actId="12385"/>
          <ac:graphicFrameMkLst>
            <pc:docMk/>
            <pc:sldMk cId="97570994" sldId="2147470011"/>
            <ac:graphicFrameMk id="7" creationId="{AE8A9463-5EF6-76B2-C18F-B74A0D6B20B4}"/>
          </ac:graphicFrameMkLst>
        </pc:graphicFrameChg>
        <pc:graphicFrameChg chg="add mod modGraphic">
          <ac:chgData name="Judyta Kozlowska" userId="b4dee01e-1dd1-4ace-b126-5b3bd0cf451c" providerId="ADAL" clId="{987F3CCD-5358-49F2-B4B6-316C97E6459C}" dt="2023-06-19T15:44:36.037" v="1371" actId="12385"/>
          <ac:graphicFrameMkLst>
            <pc:docMk/>
            <pc:sldMk cId="97570994" sldId="2147470011"/>
            <ac:graphicFrameMk id="9" creationId="{F33BED60-C588-B85D-88E2-F5BC24F6BD4F}"/>
          </ac:graphicFrameMkLst>
        </pc:graphicFrameChg>
        <pc:graphicFrameChg chg="add mod modGraphic">
          <ac:chgData name="Judyta Kozlowska" userId="b4dee01e-1dd1-4ace-b126-5b3bd0cf451c" providerId="ADAL" clId="{987F3CCD-5358-49F2-B4B6-316C97E6459C}" dt="2023-06-19T15:44:31.932" v="1370" actId="12385"/>
          <ac:graphicFrameMkLst>
            <pc:docMk/>
            <pc:sldMk cId="97570994" sldId="2147470011"/>
            <ac:graphicFrameMk id="10" creationId="{0CEA76AD-4CD7-52FF-1B48-C1DE0BDFC1B3}"/>
          </ac:graphicFrameMkLst>
        </pc:graphicFrameChg>
        <pc:graphicFrameChg chg="add mod modGraphic">
          <ac:chgData name="Judyta Kozlowska" userId="b4dee01e-1dd1-4ace-b126-5b3bd0cf451c" providerId="ADAL" clId="{987F3CCD-5358-49F2-B4B6-316C97E6459C}" dt="2023-06-19T15:44:39.193" v="1372" actId="12385"/>
          <ac:graphicFrameMkLst>
            <pc:docMk/>
            <pc:sldMk cId="97570994" sldId="2147470011"/>
            <ac:graphicFrameMk id="11" creationId="{55E1DEBB-CE4C-8432-7468-1D27AD32577C}"/>
          </ac:graphicFrameMkLst>
        </pc:graphicFrameChg>
      </pc:sldChg>
      <pc:sldChg chg="addSp delSp modSp add mod ord">
        <pc:chgData name="Judyta Kozlowska" userId="b4dee01e-1dd1-4ace-b126-5b3bd0cf451c" providerId="ADAL" clId="{987F3CCD-5358-49F2-B4B6-316C97E6459C}" dt="2023-06-19T15:48:01.855" v="1402" actId="403"/>
        <pc:sldMkLst>
          <pc:docMk/>
          <pc:sldMk cId="2834835325" sldId="2147470012"/>
        </pc:sldMkLst>
        <pc:spChg chg="mod">
          <ac:chgData name="Judyta Kozlowska" userId="b4dee01e-1dd1-4ace-b126-5b3bd0cf451c" providerId="ADAL" clId="{987F3CCD-5358-49F2-B4B6-316C97E6459C}" dt="2023-06-19T15:44:55.264" v="1382" actId="20577"/>
          <ac:spMkLst>
            <pc:docMk/>
            <pc:sldMk cId="2834835325" sldId="2147470012"/>
            <ac:spMk id="8" creationId="{3D6EDE1C-654B-A7ED-33A8-0E51F53699F4}"/>
          </ac:spMkLst>
        </pc:spChg>
        <pc:graphicFrameChg chg="add mod modGraphic">
          <ac:chgData name="Judyta Kozlowska" userId="b4dee01e-1dd1-4ace-b126-5b3bd0cf451c" providerId="ADAL" clId="{987F3CCD-5358-49F2-B4B6-316C97E6459C}" dt="2023-06-19T15:46:53.829" v="1387" actId="12385"/>
          <ac:graphicFrameMkLst>
            <pc:docMk/>
            <pc:sldMk cId="2834835325" sldId="2147470012"/>
            <ac:graphicFrameMk id="2" creationId="{99AA611C-7C05-CC7F-C8C4-BA8BE0F3CF73}"/>
          </ac:graphicFrameMkLst>
        </pc:graphicFrameChg>
        <pc:graphicFrameChg chg="add mod modGraphic">
          <ac:chgData name="Judyta Kozlowska" userId="b4dee01e-1dd1-4ace-b126-5b3bd0cf451c" providerId="ADAL" clId="{987F3CCD-5358-49F2-B4B6-316C97E6459C}" dt="2023-06-19T15:47:09.909" v="1392" actId="12385"/>
          <ac:graphicFrameMkLst>
            <pc:docMk/>
            <pc:sldMk cId="2834835325" sldId="2147470012"/>
            <ac:graphicFrameMk id="3" creationId="{7862DE04-9C9E-F01E-6716-98A25756DAA4}"/>
          </ac:graphicFrameMkLst>
        </pc:graphicFrameChg>
        <pc:graphicFrameChg chg="add mod modGraphic">
          <ac:chgData name="Judyta Kozlowska" userId="b4dee01e-1dd1-4ace-b126-5b3bd0cf451c" providerId="ADAL" clId="{987F3CCD-5358-49F2-B4B6-316C97E6459C}" dt="2023-06-19T15:47:40.476" v="1397" actId="12385"/>
          <ac:graphicFrameMkLst>
            <pc:docMk/>
            <pc:sldMk cId="2834835325" sldId="2147470012"/>
            <ac:graphicFrameMk id="5" creationId="{32A82B0D-92DC-5883-EE09-7D8D9AE37705}"/>
          </ac:graphicFrameMkLst>
        </pc:graphicFrameChg>
        <pc:graphicFrameChg chg="add mod modGraphic">
          <ac:chgData name="Judyta Kozlowska" userId="b4dee01e-1dd1-4ace-b126-5b3bd0cf451c" providerId="ADAL" clId="{987F3CCD-5358-49F2-B4B6-316C97E6459C}" dt="2023-06-19T15:48:01.855" v="1402" actId="403"/>
          <ac:graphicFrameMkLst>
            <pc:docMk/>
            <pc:sldMk cId="2834835325" sldId="2147470012"/>
            <ac:graphicFrameMk id="6" creationId="{FA3E0C58-709F-1C4C-4F05-106F45104D03}"/>
          </ac:graphicFrameMkLst>
        </pc:graphicFrameChg>
        <pc:graphicFrameChg chg="del">
          <ac:chgData name="Judyta Kozlowska" userId="b4dee01e-1dd1-4ace-b126-5b3bd0cf451c" providerId="ADAL" clId="{987F3CCD-5358-49F2-B4B6-316C97E6459C}" dt="2023-06-19T15:46:43.789" v="1384" actId="478"/>
          <ac:graphicFrameMkLst>
            <pc:docMk/>
            <pc:sldMk cId="2834835325" sldId="2147470012"/>
            <ac:graphicFrameMk id="7" creationId="{AE8A9463-5EF6-76B2-C18F-B74A0D6B20B4}"/>
          </ac:graphicFrameMkLst>
        </pc:graphicFrameChg>
        <pc:graphicFrameChg chg="del">
          <ac:chgData name="Judyta Kozlowska" userId="b4dee01e-1dd1-4ace-b126-5b3bd0cf451c" providerId="ADAL" clId="{987F3CCD-5358-49F2-B4B6-316C97E6459C}" dt="2023-06-19T15:47:00.532" v="1389" actId="478"/>
          <ac:graphicFrameMkLst>
            <pc:docMk/>
            <pc:sldMk cId="2834835325" sldId="2147470012"/>
            <ac:graphicFrameMk id="9" creationId="{F33BED60-C588-B85D-88E2-F5BC24F6BD4F}"/>
          </ac:graphicFrameMkLst>
        </pc:graphicFrameChg>
        <pc:graphicFrameChg chg="del">
          <ac:chgData name="Judyta Kozlowska" userId="b4dee01e-1dd1-4ace-b126-5b3bd0cf451c" providerId="ADAL" clId="{987F3CCD-5358-49F2-B4B6-316C97E6459C}" dt="2023-06-19T15:47:11.532" v="1393" actId="478"/>
          <ac:graphicFrameMkLst>
            <pc:docMk/>
            <pc:sldMk cId="2834835325" sldId="2147470012"/>
            <ac:graphicFrameMk id="10" creationId="{0CEA76AD-4CD7-52FF-1B48-C1DE0BDFC1B3}"/>
          </ac:graphicFrameMkLst>
        </pc:graphicFrameChg>
        <pc:graphicFrameChg chg="del">
          <ac:chgData name="Judyta Kozlowska" userId="b4dee01e-1dd1-4ace-b126-5b3bd0cf451c" providerId="ADAL" clId="{987F3CCD-5358-49F2-B4B6-316C97E6459C}" dt="2023-06-19T15:47:42.258" v="1398" actId="478"/>
          <ac:graphicFrameMkLst>
            <pc:docMk/>
            <pc:sldMk cId="2834835325" sldId="2147470012"/>
            <ac:graphicFrameMk id="11" creationId="{55E1DEBB-CE4C-8432-7468-1D27AD32577C}"/>
          </ac:graphicFrameMkLst>
        </pc:graphicFrameChg>
      </pc:sldChg>
      <pc:sldChg chg="addSp delSp modSp add mod ord">
        <pc:chgData name="Judyta Kozlowska" userId="b4dee01e-1dd1-4ace-b126-5b3bd0cf451c" providerId="ADAL" clId="{987F3CCD-5358-49F2-B4B6-316C97E6459C}" dt="2023-06-19T15:53:07.809" v="1437" actId="12385"/>
        <pc:sldMkLst>
          <pc:docMk/>
          <pc:sldMk cId="3257529617" sldId="2147470013"/>
        </pc:sldMkLst>
        <pc:spChg chg="mod">
          <ac:chgData name="Judyta Kozlowska" userId="b4dee01e-1dd1-4ace-b126-5b3bd0cf451c" providerId="ADAL" clId="{987F3CCD-5358-49F2-B4B6-316C97E6459C}" dt="2023-06-19T15:48:12.255" v="1418" actId="20577"/>
          <ac:spMkLst>
            <pc:docMk/>
            <pc:sldMk cId="3257529617" sldId="2147470013"/>
            <ac:spMk id="8" creationId="{3D6EDE1C-654B-A7ED-33A8-0E51F53699F4}"/>
          </ac:spMkLst>
        </pc:spChg>
        <pc:graphicFrameChg chg="del">
          <ac:chgData name="Judyta Kozlowska" userId="b4dee01e-1dd1-4ace-b126-5b3bd0cf451c" providerId="ADAL" clId="{987F3CCD-5358-49F2-B4B6-316C97E6459C}" dt="2023-06-19T15:52:07.898" v="1419" actId="478"/>
          <ac:graphicFrameMkLst>
            <pc:docMk/>
            <pc:sldMk cId="3257529617" sldId="2147470013"/>
            <ac:graphicFrameMk id="2" creationId="{99AA611C-7C05-CC7F-C8C4-BA8BE0F3CF73}"/>
          </ac:graphicFrameMkLst>
        </pc:graphicFrameChg>
        <pc:graphicFrameChg chg="del">
          <ac:chgData name="Judyta Kozlowska" userId="b4dee01e-1dd1-4ace-b126-5b3bd0cf451c" providerId="ADAL" clId="{987F3CCD-5358-49F2-B4B6-316C97E6459C}" dt="2023-06-19T15:52:23.088" v="1424" actId="478"/>
          <ac:graphicFrameMkLst>
            <pc:docMk/>
            <pc:sldMk cId="3257529617" sldId="2147470013"/>
            <ac:graphicFrameMk id="3" creationId="{7862DE04-9C9E-F01E-6716-98A25756DAA4}"/>
          </ac:graphicFrameMkLst>
        </pc:graphicFrameChg>
        <pc:graphicFrameChg chg="del">
          <ac:chgData name="Judyta Kozlowska" userId="b4dee01e-1dd1-4ace-b126-5b3bd0cf451c" providerId="ADAL" clId="{987F3CCD-5358-49F2-B4B6-316C97E6459C}" dt="2023-06-19T15:52:38.978" v="1428" actId="478"/>
          <ac:graphicFrameMkLst>
            <pc:docMk/>
            <pc:sldMk cId="3257529617" sldId="2147470013"/>
            <ac:graphicFrameMk id="5" creationId="{32A82B0D-92DC-5883-EE09-7D8D9AE37705}"/>
          </ac:graphicFrameMkLst>
        </pc:graphicFrameChg>
        <pc:graphicFrameChg chg="del">
          <ac:chgData name="Judyta Kozlowska" userId="b4dee01e-1dd1-4ace-b126-5b3bd0cf451c" providerId="ADAL" clId="{987F3CCD-5358-49F2-B4B6-316C97E6459C}" dt="2023-06-19T15:52:55.843" v="1433" actId="478"/>
          <ac:graphicFrameMkLst>
            <pc:docMk/>
            <pc:sldMk cId="3257529617" sldId="2147470013"/>
            <ac:graphicFrameMk id="6" creationId="{FA3E0C58-709F-1C4C-4F05-106F45104D03}"/>
          </ac:graphicFrameMkLst>
        </pc:graphicFrameChg>
        <pc:graphicFrameChg chg="add mod modGraphic">
          <ac:chgData name="Judyta Kozlowska" userId="b4dee01e-1dd1-4ace-b126-5b3bd0cf451c" providerId="ADAL" clId="{987F3CCD-5358-49F2-B4B6-316C97E6459C}" dt="2023-06-19T15:52:20.979" v="1423" actId="12385"/>
          <ac:graphicFrameMkLst>
            <pc:docMk/>
            <pc:sldMk cId="3257529617" sldId="2147470013"/>
            <ac:graphicFrameMk id="7" creationId="{D5E35854-8688-9A90-6304-48601B27B5B7}"/>
          </ac:graphicFrameMkLst>
        </pc:graphicFrameChg>
        <pc:graphicFrameChg chg="add mod modGraphic">
          <ac:chgData name="Judyta Kozlowska" userId="b4dee01e-1dd1-4ace-b126-5b3bd0cf451c" providerId="ADAL" clId="{987F3CCD-5358-49F2-B4B6-316C97E6459C}" dt="2023-06-19T15:52:37.656" v="1427" actId="12385"/>
          <ac:graphicFrameMkLst>
            <pc:docMk/>
            <pc:sldMk cId="3257529617" sldId="2147470013"/>
            <ac:graphicFrameMk id="9" creationId="{D0A071C1-EDDF-2F14-CAA9-313C58B2E5C7}"/>
          </ac:graphicFrameMkLst>
        </pc:graphicFrameChg>
        <pc:graphicFrameChg chg="add mod modGraphic">
          <ac:chgData name="Judyta Kozlowska" userId="b4dee01e-1dd1-4ace-b126-5b3bd0cf451c" providerId="ADAL" clId="{987F3CCD-5358-49F2-B4B6-316C97E6459C}" dt="2023-06-19T15:52:51.729" v="1432" actId="12385"/>
          <ac:graphicFrameMkLst>
            <pc:docMk/>
            <pc:sldMk cId="3257529617" sldId="2147470013"/>
            <ac:graphicFrameMk id="10" creationId="{D08FAEC9-3F47-0017-1634-88ED64190078}"/>
          </ac:graphicFrameMkLst>
        </pc:graphicFrameChg>
        <pc:graphicFrameChg chg="add mod modGraphic">
          <ac:chgData name="Judyta Kozlowska" userId="b4dee01e-1dd1-4ace-b126-5b3bd0cf451c" providerId="ADAL" clId="{987F3CCD-5358-49F2-B4B6-316C97E6459C}" dt="2023-06-19T15:53:07.809" v="1437" actId="12385"/>
          <ac:graphicFrameMkLst>
            <pc:docMk/>
            <pc:sldMk cId="3257529617" sldId="2147470013"/>
            <ac:graphicFrameMk id="11" creationId="{3D7B5F1D-87A7-134A-EEB0-6DF6255E20B4}"/>
          </ac:graphicFrameMkLst>
        </pc:graphicFrameChg>
      </pc:sldChg>
      <pc:sldChg chg="modSp add mod ord">
        <pc:chgData name="Judyta Kozlowska" userId="b4dee01e-1dd1-4ace-b126-5b3bd0cf451c" providerId="ADAL" clId="{987F3CCD-5358-49F2-B4B6-316C97E6459C}" dt="2023-06-20T06:47:00.503" v="1645"/>
        <pc:sldMkLst>
          <pc:docMk/>
          <pc:sldMk cId="456756601" sldId="2147470014"/>
        </pc:sldMkLst>
        <pc:spChg chg="mod">
          <ac:chgData name="Judyta Kozlowska" userId="b4dee01e-1dd1-4ace-b126-5b3bd0cf451c" providerId="ADAL" clId="{987F3CCD-5358-49F2-B4B6-316C97E6459C}" dt="2023-06-20T06:46:54.595" v="1643" actId="20577"/>
          <ac:spMkLst>
            <pc:docMk/>
            <pc:sldMk cId="456756601" sldId="2147470014"/>
            <ac:spMk id="5" creationId="{4A708B07-BE5B-9C28-ACE5-3AE98A81E562}"/>
          </ac:spMkLst>
        </pc:spChg>
      </pc:sldChg>
      <pc:sldChg chg="addSp delSp modSp add mod">
        <pc:chgData name="Judyta Kozlowska" userId="b4dee01e-1dd1-4ace-b126-5b3bd0cf451c" providerId="ADAL" clId="{987F3CCD-5358-49F2-B4B6-316C97E6459C}" dt="2023-06-20T06:49:09.307" v="1735" actId="1076"/>
        <pc:sldMkLst>
          <pc:docMk/>
          <pc:sldMk cId="3310612486" sldId="2147470015"/>
        </pc:sldMkLst>
        <pc:spChg chg="mod">
          <ac:chgData name="Judyta Kozlowska" userId="b4dee01e-1dd1-4ace-b126-5b3bd0cf451c" providerId="ADAL" clId="{987F3CCD-5358-49F2-B4B6-316C97E6459C}" dt="2023-06-20T06:48:24.110" v="1732" actId="20577"/>
          <ac:spMkLst>
            <pc:docMk/>
            <pc:sldMk cId="3310612486" sldId="2147470015"/>
            <ac:spMk id="4" creationId="{C1A21581-A6D4-49EF-8D25-39B15725785A}"/>
          </ac:spMkLst>
        </pc:spChg>
        <pc:picChg chg="add mod">
          <ac:chgData name="Judyta Kozlowska" userId="b4dee01e-1dd1-4ace-b126-5b3bd0cf451c" providerId="ADAL" clId="{987F3CCD-5358-49F2-B4B6-316C97E6459C}" dt="2023-06-20T06:49:09.307" v="1735" actId="1076"/>
          <ac:picMkLst>
            <pc:docMk/>
            <pc:sldMk cId="3310612486" sldId="2147470015"/>
            <ac:picMk id="5" creationId="{9E37CB1F-20D3-12DC-3BE4-501D01972794}"/>
          </ac:picMkLst>
        </pc:picChg>
        <pc:picChg chg="del">
          <ac:chgData name="Judyta Kozlowska" userId="b4dee01e-1dd1-4ace-b126-5b3bd0cf451c" providerId="ADAL" clId="{987F3CCD-5358-49F2-B4B6-316C97E6459C}" dt="2023-06-20T06:48:25.593" v="1733" actId="478"/>
          <ac:picMkLst>
            <pc:docMk/>
            <pc:sldMk cId="3310612486" sldId="2147470015"/>
            <ac:picMk id="6" creationId="{584A1F31-F27B-7861-061E-011D397662A0}"/>
          </ac:picMkLst>
        </pc:picChg>
      </pc:sldChg>
      <pc:sldChg chg="addSp delSp modSp add mod">
        <pc:chgData name="Judyta Kozlowska" userId="b4dee01e-1dd1-4ace-b126-5b3bd0cf451c" providerId="ADAL" clId="{987F3CCD-5358-49F2-B4B6-316C97E6459C}" dt="2023-06-20T06:49:48.475" v="1753" actId="1076"/>
        <pc:sldMkLst>
          <pc:docMk/>
          <pc:sldMk cId="3536630472" sldId="2147470016"/>
        </pc:sldMkLst>
        <pc:spChg chg="mod">
          <ac:chgData name="Judyta Kozlowska" userId="b4dee01e-1dd1-4ace-b126-5b3bd0cf451c" providerId="ADAL" clId="{987F3CCD-5358-49F2-B4B6-316C97E6459C}" dt="2023-06-20T06:49:18.752" v="1749" actId="20577"/>
          <ac:spMkLst>
            <pc:docMk/>
            <pc:sldMk cId="3536630472" sldId="2147470016"/>
            <ac:spMk id="4" creationId="{C1A21581-A6D4-49EF-8D25-39B15725785A}"/>
          </ac:spMkLst>
        </pc:spChg>
        <pc:picChg chg="del">
          <ac:chgData name="Judyta Kozlowska" userId="b4dee01e-1dd1-4ace-b126-5b3bd0cf451c" providerId="ADAL" clId="{987F3CCD-5358-49F2-B4B6-316C97E6459C}" dt="2023-06-20T06:49:21.129" v="1750" actId="478"/>
          <ac:picMkLst>
            <pc:docMk/>
            <pc:sldMk cId="3536630472" sldId="2147470016"/>
            <ac:picMk id="5" creationId="{9E37CB1F-20D3-12DC-3BE4-501D01972794}"/>
          </ac:picMkLst>
        </pc:picChg>
        <pc:picChg chg="add mod">
          <ac:chgData name="Judyta Kozlowska" userId="b4dee01e-1dd1-4ace-b126-5b3bd0cf451c" providerId="ADAL" clId="{987F3CCD-5358-49F2-B4B6-316C97E6459C}" dt="2023-06-20T06:49:48.475" v="1753" actId="1076"/>
          <ac:picMkLst>
            <pc:docMk/>
            <pc:sldMk cId="3536630472" sldId="2147470016"/>
            <ac:picMk id="6" creationId="{BEDD1573-4F51-9C81-9BFB-E0256B92A281}"/>
          </ac:picMkLst>
        </pc:picChg>
      </pc:sldChg>
      <pc:sldChg chg="addSp delSp modSp add mod ord">
        <pc:chgData name="Judyta Kozlowska" userId="b4dee01e-1dd1-4ace-b126-5b3bd0cf451c" providerId="ADAL" clId="{987F3CCD-5358-49F2-B4B6-316C97E6459C}" dt="2023-06-20T06:54:32.423" v="1765" actId="1076"/>
        <pc:sldMkLst>
          <pc:docMk/>
          <pc:sldMk cId="2775949433" sldId="2147470017"/>
        </pc:sldMkLst>
        <pc:spChg chg="mod">
          <ac:chgData name="Judyta Kozlowska" userId="b4dee01e-1dd1-4ace-b126-5b3bd0cf451c" providerId="ADAL" clId="{987F3CCD-5358-49F2-B4B6-316C97E6459C}" dt="2023-06-20T06:54:13.005" v="1762" actId="20577"/>
          <ac:spMkLst>
            <pc:docMk/>
            <pc:sldMk cId="2775949433" sldId="2147470017"/>
            <ac:spMk id="4" creationId="{C1A21581-A6D4-49EF-8D25-39B15725785A}"/>
          </ac:spMkLst>
        </pc:spChg>
        <pc:picChg chg="del">
          <ac:chgData name="Judyta Kozlowska" userId="b4dee01e-1dd1-4ace-b126-5b3bd0cf451c" providerId="ADAL" clId="{987F3CCD-5358-49F2-B4B6-316C97E6459C}" dt="2023-06-20T06:54:14.145" v="1763" actId="478"/>
          <ac:picMkLst>
            <pc:docMk/>
            <pc:sldMk cId="2775949433" sldId="2147470017"/>
            <ac:picMk id="5" creationId="{9E37CB1F-20D3-12DC-3BE4-501D01972794}"/>
          </ac:picMkLst>
        </pc:picChg>
        <pc:picChg chg="add mod">
          <ac:chgData name="Judyta Kozlowska" userId="b4dee01e-1dd1-4ace-b126-5b3bd0cf451c" providerId="ADAL" clId="{987F3CCD-5358-49F2-B4B6-316C97E6459C}" dt="2023-06-20T06:54:32.423" v="1765" actId="1076"/>
          <ac:picMkLst>
            <pc:docMk/>
            <pc:sldMk cId="2775949433" sldId="2147470017"/>
            <ac:picMk id="6" creationId="{77497F12-37A5-9413-6B51-5A3146DDFFA3}"/>
          </ac:picMkLst>
        </pc:picChg>
      </pc:sldChg>
      <pc:sldChg chg="addSp delSp modSp add mod ord">
        <pc:chgData name="Judyta Kozlowska" userId="b4dee01e-1dd1-4ace-b126-5b3bd0cf451c" providerId="ADAL" clId="{987F3CCD-5358-49F2-B4B6-316C97E6459C}" dt="2023-06-20T06:59:57.015" v="1808" actId="1076"/>
        <pc:sldMkLst>
          <pc:docMk/>
          <pc:sldMk cId="1757182762" sldId="2147470018"/>
        </pc:sldMkLst>
        <pc:spChg chg="mod">
          <ac:chgData name="Judyta Kozlowska" userId="b4dee01e-1dd1-4ace-b126-5b3bd0cf451c" providerId="ADAL" clId="{987F3CCD-5358-49F2-B4B6-316C97E6459C}" dt="2023-06-20T06:59:57.015" v="1808" actId="1076"/>
          <ac:spMkLst>
            <pc:docMk/>
            <pc:sldMk cId="1757182762" sldId="2147470018"/>
            <ac:spMk id="4" creationId="{65A17B28-218C-0E20-1493-E6DFE4C0E6D8}"/>
          </ac:spMkLst>
        </pc:spChg>
        <pc:spChg chg="mod">
          <ac:chgData name="Judyta Kozlowska" userId="b4dee01e-1dd1-4ace-b126-5b3bd0cf451c" providerId="ADAL" clId="{987F3CCD-5358-49F2-B4B6-316C97E6459C}" dt="2023-06-20T06:58:30.184" v="1782" actId="20577"/>
          <ac:spMkLst>
            <pc:docMk/>
            <pc:sldMk cId="1757182762" sldId="2147470018"/>
            <ac:spMk id="8" creationId="{3D6EDE1C-654B-A7ED-33A8-0E51F53699F4}"/>
          </ac:spMkLst>
        </pc:spChg>
        <pc:graphicFrameChg chg="add mod modGraphic">
          <ac:chgData name="Judyta Kozlowska" userId="b4dee01e-1dd1-4ace-b126-5b3bd0cf451c" providerId="ADAL" clId="{987F3CCD-5358-49F2-B4B6-316C97E6459C}" dt="2023-06-20T06:58:49.971" v="1788" actId="12385"/>
          <ac:graphicFrameMkLst>
            <pc:docMk/>
            <pc:sldMk cId="1757182762" sldId="2147470018"/>
            <ac:graphicFrameMk id="2" creationId="{3C217413-C746-666B-A5F3-B5D9E2FDCA55}"/>
          </ac:graphicFrameMkLst>
        </pc:graphicFrameChg>
        <pc:graphicFrameChg chg="add mod modGraphic">
          <ac:chgData name="Judyta Kozlowska" userId="b4dee01e-1dd1-4ace-b126-5b3bd0cf451c" providerId="ADAL" clId="{987F3CCD-5358-49F2-B4B6-316C97E6459C}" dt="2023-06-20T06:59:14.239" v="1795" actId="12385"/>
          <ac:graphicFrameMkLst>
            <pc:docMk/>
            <pc:sldMk cId="1757182762" sldId="2147470018"/>
            <ac:graphicFrameMk id="3" creationId="{4B986A5C-943D-6496-4828-100C5874EABB}"/>
          </ac:graphicFrameMkLst>
        </pc:graphicFrameChg>
        <pc:graphicFrameChg chg="add mod modGraphic">
          <ac:chgData name="Judyta Kozlowska" userId="b4dee01e-1dd1-4ace-b126-5b3bd0cf451c" providerId="ADAL" clId="{987F3CCD-5358-49F2-B4B6-316C97E6459C}" dt="2023-06-20T06:59:32.339" v="1802" actId="12385"/>
          <ac:graphicFrameMkLst>
            <pc:docMk/>
            <pc:sldMk cId="1757182762" sldId="2147470018"/>
            <ac:graphicFrameMk id="5" creationId="{B368CC2E-3EFD-DC39-F824-1F521E7990A4}"/>
          </ac:graphicFrameMkLst>
        </pc:graphicFrameChg>
        <pc:graphicFrameChg chg="add mod modGraphic">
          <ac:chgData name="Judyta Kozlowska" userId="b4dee01e-1dd1-4ace-b126-5b3bd0cf451c" providerId="ADAL" clId="{987F3CCD-5358-49F2-B4B6-316C97E6459C}" dt="2023-06-20T06:59:56.499" v="1807" actId="12385"/>
          <ac:graphicFrameMkLst>
            <pc:docMk/>
            <pc:sldMk cId="1757182762" sldId="2147470018"/>
            <ac:graphicFrameMk id="6" creationId="{1B966B2A-FC19-D3C0-3DCB-660079BBC5F4}"/>
          </ac:graphicFrameMkLst>
        </pc:graphicFrameChg>
        <pc:graphicFrameChg chg="del">
          <ac:chgData name="Judyta Kozlowska" userId="b4dee01e-1dd1-4ace-b126-5b3bd0cf451c" providerId="ADAL" clId="{987F3CCD-5358-49F2-B4B6-316C97E6459C}" dt="2023-06-20T06:58:32.446" v="1783" actId="478"/>
          <ac:graphicFrameMkLst>
            <pc:docMk/>
            <pc:sldMk cId="1757182762" sldId="2147470018"/>
            <ac:graphicFrameMk id="7" creationId="{D5E35854-8688-9A90-6304-48601B27B5B7}"/>
          </ac:graphicFrameMkLst>
        </pc:graphicFrameChg>
        <pc:graphicFrameChg chg="del">
          <ac:chgData name="Judyta Kozlowska" userId="b4dee01e-1dd1-4ace-b126-5b3bd0cf451c" providerId="ADAL" clId="{987F3CCD-5358-49F2-B4B6-316C97E6459C}" dt="2023-06-20T06:59:15.621" v="1796" actId="478"/>
          <ac:graphicFrameMkLst>
            <pc:docMk/>
            <pc:sldMk cId="1757182762" sldId="2147470018"/>
            <ac:graphicFrameMk id="9" creationId="{D0A071C1-EDDF-2F14-CAA9-313C58B2E5C7}"/>
          </ac:graphicFrameMkLst>
        </pc:graphicFrameChg>
        <pc:graphicFrameChg chg="del">
          <ac:chgData name="Judyta Kozlowska" userId="b4dee01e-1dd1-4ace-b126-5b3bd0cf451c" providerId="ADAL" clId="{987F3CCD-5358-49F2-B4B6-316C97E6459C}" dt="2023-06-20T06:58:56.700" v="1789" actId="478"/>
          <ac:graphicFrameMkLst>
            <pc:docMk/>
            <pc:sldMk cId="1757182762" sldId="2147470018"/>
            <ac:graphicFrameMk id="10" creationId="{D08FAEC9-3F47-0017-1634-88ED64190078}"/>
          </ac:graphicFrameMkLst>
        </pc:graphicFrameChg>
        <pc:graphicFrameChg chg="del">
          <ac:chgData name="Judyta Kozlowska" userId="b4dee01e-1dd1-4ace-b126-5b3bd0cf451c" providerId="ADAL" clId="{987F3CCD-5358-49F2-B4B6-316C97E6459C}" dt="2023-06-20T06:59:33.737" v="1803" actId="478"/>
          <ac:graphicFrameMkLst>
            <pc:docMk/>
            <pc:sldMk cId="1757182762" sldId="2147470018"/>
            <ac:graphicFrameMk id="11" creationId="{3D7B5F1D-87A7-134A-EEB0-6DF6255E20B4}"/>
          </ac:graphicFrameMkLst>
        </pc:graphicFrameChg>
      </pc:sldChg>
      <pc:sldChg chg="addSp delSp modSp add mod">
        <pc:chgData name="Judyta Kozlowska" userId="b4dee01e-1dd1-4ace-b126-5b3bd0cf451c" providerId="ADAL" clId="{987F3CCD-5358-49F2-B4B6-316C97E6459C}" dt="2023-06-20T08:04:36.004" v="2084" actId="14100"/>
        <pc:sldMkLst>
          <pc:docMk/>
          <pc:sldMk cId="1287646680" sldId="2147470019"/>
        </pc:sldMkLst>
        <pc:spChg chg="mod">
          <ac:chgData name="Judyta Kozlowska" userId="b4dee01e-1dd1-4ace-b126-5b3bd0cf451c" providerId="ADAL" clId="{987F3CCD-5358-49F2-B4B6-316C97E6459C}" dt="2023-06-20T07:14:21.342" v="1856" actId="20577"/>
          <ac:spMkLst>
            <pc:docMk/>
            <pc:sldMk cId="1287646680" sldId="2147470019"/>
            <ac:spMk id="6" creationId="{B10C311C-EB7C-38C9-8C3C-9D48EE6F303B}"/>
          </ac:spMkLst>
        </pc:spChg>
        <pc:graphicFrameChg chg="del">
          <ac:chgData name="Judyta Kozlowska" userId="b4dee01e-1dd1-4ace-b126-5b3bd0cf451c" providerId="ADAL" clId="{987F3CCD-5358-49F2-B4B6-316C97E6459C}" dt="2023-06-20T07:12:47.243" v="1817" actId="478"/>
          <ac:graphicFrameMkLst>
            <pc:docMk/>
            <pc:sldMk cId="1287646680" sldId="2147470019"/>
            <ac:graphicFrameMk id="2" creationId="{181C8F04-D319-C4C1-1760-EF5A4B3FBD7E}"/>
          </ac:graphicFrameMkLst>
        </pc:graphicFrameChg>
        <pc:graphicFrameChg chg="add del mod">
          <ac:chgData name="Judyta Kozlowska" userId="b4dee01e-1dd1-4ace-b126-5b3bd0cf451c" providerId="ADAL" clId="{987F3CCD-5358-49F2-B4B6-316C97E6459C}" dt="2023-06-20T08:04:28.825" v="2083" actId="478"/>
          <ac:graphicFrameMkLst>
            <pc:docMk/>
            <pc:sldMk cId="1287646680" sldId="2147470019"/>
            <ac:graphicFrameMk id="3" creationId="{33CD829E-8CF2-49B0-B376-976509F8D2EB}"/>
          </ac:graphicFrameMkLst>
        </pc:graphicFrameChg>
        <pc:graphicFrameChg chg="mod">
          <ac:chgData name="Judyta Kozlowska" userId="b4dee01e-1dd1-4ace-b126-5b3bd0cf451c" providerId="ADAL" clId="{987F3CCD-5358-49F2-B4B6-316C97E6459C}" dt="2023-06-20T08:04:36.004" v="2084" actId="14100"/>
          <ac:graphicFrameMkLst>
            <pc:docMk/>
            <pc:sldMk cId="1287646680" sldId="2147470019"/>
            <ac:graphicFrameMk id="5" creationId="{4C75228D-1A1D-ADE0-3AE5-F90DA546708C}"/>
          </ac:graphicFrameMkLst>
        </pc:graphicFrameChg>
        <pc:graphicFrameChg chg="del">
          <ac:chgData name="Judyta Kozlowska" userId="b4dee01e-1dd1-4ace-b126-5b3bd0cf451c" providerId="ADAL" clId="{987F3CCD-5358-49F2-B4B6-316C97E6459C}" dt="2023-06-20T07:12:47.929" v="1818" actId="478"/>
          <ac:graphicFrameMkLst>
            <pc:docMk/>
            <pc:sldMk cId="1287646680" sldId="2147470019"/>
            <ac:graphicFrameMk id="7" creationId="{E1C8F6E8-ADBB-6CC9-3463-950F076E25B8}"/>
          </ac:graphicFrameMkLst>
        </pc:graphicFrameChg>
        <pc:graphicFrameChg chg="add mod">
          <ac:chgData name="Judyta Kozlowska" userId="b4dee01e-1dd1-4ace-b126-5b3bd0cf451c" providerId="ADAL" clId="{987F3CCD-5358-49F2-B4B6-316C97E6459C}" dt="2023-06-20T07:15:49.772" v="1862" actId="14100"/>
          <ac:graphicFrameMkLst>
            <pc:docMk/>
            <pc:sldMk cId="1287646680" sldId="2147470019"/>
            <ac:graphicFrameMk id="8" creationId="{D0AC8631-043E-4283-A4C1-BE8D95C4C677}"/>
          </ac:graphicFrameMkLst>
        </pc:graphicFrameChg>
      </pc:sldChg>
      <pc:sldChg chg="addSp delSp modSp add mod">
        <pc:chgData name="Judyta Kozlowska" userId="b4dee01e-1dd1-4ace-b126-5b3bd0cf451c" providerId="ADAL" clId="{987F3CCD-5358-49F2-B4B6-316C97E6459C}" dt="2023-06-20T07:23:38.575" v="1918" actId="207"/>
        <pc:sldMkLst>
          <pc:docMk/>
          <pc:sldMk cId="1642174346" sldId="2147470020"/>
        </pc:sldMkLst>
        <pc:spChg chg="mod">
          <ac:chgData name="Judyta Kozlowska" userId="b4dee01e-1dd1-4ace-b126-5b3bd0cf451c" providerId="ADAL" clId="{987F3CCD-5358-49F2-B4B6-316C97E6459C}" dt="2023-06-20T07:17:32.083" v="1883" actId="1076"/>
          <ac:spMkLst>
            <pc:docMk/>
            <pc:sldMk cId="1642174346" sldId="2147470020"/>
            <ac:spMk id="6" creationId="{B10C311C-EB7C-38C9-8C3C-9D48EE6F303B}"/>
          </ac:spMkLst>
        </pc:spChg>
        <pc:graphicFrameChg chg="del">
          <ac:chgData name="Judyta Kozlowska" userId="b4dee01e-1dd1-4ace-b126-5b3bd0cf451c" providerId="ADAL" clId="{987F3CCD-5358-49F2-B4B6-316C97E6459C}" dt="2023-06-20T07:17:13.152" v="1871" actId="478"/>
          <ac:graphicFrameMkLst>
            <pc:docMk/>
            <pc:sldMk cId="1642174346" sldId="2147470020"/>
            <ac:graphicFrameMk id="2" creationId="{154C5270-F826-A913-92B8-410695039C29}"/>
          </ac:graphicFrameMkLst>
        </pc:graphicFrameChg>
        <pc:graphicFrameChg chg="add del mod">
          <ac:chgData name="Judyta Kozlowska" userId="b4dee01e-1dd1-4ace-b126-5b3bd0cf451c" providerId="ADAL" clId="{987F3CCD-5358-49F2-B4B6-316C97E6459C}" dt="2023-06-20T07:20:07.381" v="1886" actId="478"/>
          <ac:graphicFrameMkLst>
            <pc:docMk/>
            <pc:sldMk cId="1642174346" sldId="2147470020"/>
            <ac:graphicFrameMk id="7" creationId="{D0EB1756-E0A1-1BA1-F048-F29ED164CD4A}"/>
          </ac:graphicFrameMkLst>
        </pc:graphicFrameChg>
        <pc:graphicFrameChg chg="add del mod modGraphic">
          <ac:chgData name="Judyta Kozlowska" userId="b4dee01e-1dd1-4ace-b126-5b3bd0cf451c" providerId="ADAL" clId="{987F3CCD-5358-49F2-B4B6-316C97E6459C}" dt="2023-06-20T07:21:08.848" v="1892" actId="478"/>
          <ac:graphicFrameMkLst>
            <pc:docMk/>
            <pc:sldMk cId="1642174346" sldId="2147470020"/>
            <ac:graphicFrameMk id="8" creationId="{9076C3B3-AE9C-12FE-93B9-D4FF2FEAB080}"/>
          </ac:graphicFrameMkLst>
        </pc:graphicFrameChg>
        <pc:graphicFrameChg chg="add del mod modGraphic">
          <ac:chgData name="Judyta Kozlowska" userId="b4dee01e-1dd1-4ace-b126-5b3bd0cf451c" providerId="ADAL" clId="{987F3CCD-5358-49F2-B4B6-316C97E6459C}" dt="2023-06-20T07:22:19.031" v="1908" actId="478"/>
          <ac:graphicFrameMkLst>
            <pc:docMk/>
            <pc:sldMk cId="1642174346" sldId="2147470020"/>
            <ac:graphicFrameMk id="9" creationId="{5A6AD6DD-C8D6-8F51-FB09-248B7C8CF96D}"/>
          </ac:graphicFrameMkLst>
        </pc:graphicFrameChg>
        <pc:graphicFrameChg chg="add mod modGraphic">
          <ac:chgData name="Judyta Kozlowska" userId="b4dee01e-1dd1-4ace-b126-5b3bd0cf451c" providerId="ADAL" clId="{987F3CCD-5358-49F2-B4B6-316C97E6459C}" dt="2023-06-20T07:23:38.575" v="1918" actId="207"/>
          <ac:graphicFrameMkLst>
            <pc:docMk/>
            <pc:sldMk cId="1642174346" sldId="2147470020"/>
            <ac:graphicFrameMk id="10" creationId="{A727AD5F-28E8-0419-8FAE-653ADF1086A1}"/>
          </ac:graphicFrameMkLst>
        </pc:graphicFrameChg>
      </pc:sldChg>
      <pc:sldChg chg="addSp delSp modSp add mod">
        <pc:chgData name="Judyta Kozlowska" userId="b4dee01e-1dd1-4ace-b126-5b3bd0cf451c" providerId="ADAL" clId="{987F3CCD-5358-49F2-B4B6-316C97E6459C}" dt="2023-06-20T07:27:13.999" v="1936" actId="207"/>
        <pc:sldMkLst>
          <pc:docMk/>
          <pc:sldMk cId="1393665096" sldId="2147470021"/>
        </pc:sldMkLst>
        <pc:spChg chg="mod">
          <ac:chgData name="Judyta Kozlowska" userId="b4dee01e-1dd1-4ace-b126-5b3bd0cf451c" providerId="ADAL" clId="{987F3CCD-5358-49F2-B4B6-316C97E6459C}" dt="2023-06-20T07:24:01.297" v="1925" actId="20577"/>
          <ac:spMkLst>
            <pc:docMk/>
            <pc:sldMk cId="1393665096" sldId="2147470021"/>
            <ac:spMk id="6" creationId="{B10C311C-EB7C-38C9-8C3C-9D48EE6F303B}"/>
          </ac:spMkLst>
        </pc:spChg>
        <pc:graphicFrameChg chg="add mod modGraphic">
          <ac:chgData name="Judyta Kozlowska" userId="b4dee01e-1dd1-4ace-b126-5b3bd0cf451c" providerId="ADAL" clId="{987F3CCD-5358-49F2-B4B6-316C97E6459C}" dt="2023-06-20T07:27:13.999" v="1936" actId="207"/>
          <ac:graphicFrameMkLst>
            <pc:docMk/>
            <pc:sldMk cId="1393665096" sldId="2147470021"/>
            <ac:graphicFrameMk id="2" creationId="{77FADBB5-EB89-5C59-6207-BD951D2BF95A}"/>
          </ac:graphicFrameMkLst>
        </pc:graphicFrameChg>
        <pc:graphicFrameChg chg="del">
          <ac:chgData name="Judyta Kozlowska" userId="b4dee01e-1dd1-4ace-b126-5b3bd0cf451c" providerId="ADAL" clId="{987F3CCD-5358-49F2-B4B6-316C97E6459C}" dt="2023-06-20T07:24:03.924" v="1926" actId="478"/>
          <ac:graphicFrameMkLst>
            <pc:docMk/>
            <pc:sldMk cId="1393665096" sldId="2147470021"/>
            <ac:graphicFrameMk id="10" creationId="{A727AD5F-28E8-0419-8FAE-653ADF1086A1}"/>
          </ac:graphicFrameMkLst>
        </pc:graphicFrameChg>
      </pc:sldChg>
      <pc:sldChg chg="addSp delSp modSp add mod">
        <pc:chgData name="Judyta Kozlowska" userId="b4dee01e-1dd1-4ace-b126-5b3bd0cf451c" providerId="ADAL" clId="{987F3CCD-5358-49F2-B4B6-316C97E6459C}" dt="2023-06-20T07:29:48.521" v="1958" actId="207"/>
        <pc:sldMkLst>
          <pc:docMk/>
          <pc:sldMk cId="4150056312" sldId="2147470022"/>
        </pc:sldMkLst>
        <pc:spChg chg="mod">
          <ac:chgData name="Judyta Kozlowska" userId="b4dee01e-1dd1-4ace-b126-5b3bd0cf451c" providerId="ADAL" clId="{987F3CCD-5358-49F2-B4B6-316C97E6459C}" dt="2023-06-20T07:29:06.077" v="1945" actId="20577"/>
          <ac:spMkLst>
            <pc:docMk/>
            <pc:sldMk cId="4150056312" sldId="2147470022"/>
            <ac:spMk id="6" creationId="{B10C311C-EB7C-38C9-8C3C-9D48EE6F303B}"/>
          </ac:spMkLst>
        </pc:spChg>
        <pc:graphicFrameChg chg="del mod">
          <ac:chgData name="Judyta Kozlowska" userId="b4dee01e-1dd1-4ace-b126-5b3bd0cf451c" providerId="ADAL" clId="{987F3CCD-5358-49F2-B4B6-316C97E6459C}" dt="2023-06-20T07:29:14.341" v="1947" actId="478"/>
          <ac:graphicFrameMkLst>
            <pc:docMk/>
            <pc:sldMk cId="4150056312" sldId="2147470022"/>
            <ac:graphicFrameMk id="2" creationId="{77FADBB5-EB89-5C59-6207-BD951D2BF95A}"/>
          </ac:graphicFrameMkLst>
        </pc:graphicFrameChg>
        <pc:graphicFrameChg chg="add mod modGraphic">
          <ac:chgData name="Judyta Kozlowska" userId="b4dee01e-1dd1-4ace-b126-5b3bd0cf451c" providerId="ADAL" clId="{987F3CCD-5358-49F2-B4B6-316C97E6459C}" dt="2023-06-20T07:29:48.521" v="1958" actId="207"/>
          <ac:graphicFrameMkLst>
            <pc:docMk/>
            <pc:sldMk cId="4150056312" sldId="2147470022"/>
            <ac:graphicFrameMk id="7" creationId="{67510A6A-46E5-7D84-D066-FB0F7C36C31A}"/>
          </ac:graphicFrameMkLst>
        </pc:graphicFrameChg>
      </pc:sldChg>
      <pc:sldChg chg="addSp delSp modSp add mod">
        <pc:chgData name="Judyta Kozlowska" userId="b4dee01e-1dd1-4ace-b126-5b3bd0cf451c" providerId="ADAL" clId="{987F3CCD-5358-49F2-B4B6-316C97E6459C}" dt="2023-06-20T07:31:52.682" v="1979" actId="1076"/>
        <pc:sldMkLst>
          <pc:docMk/>
          <pc:sldMk cId="67303848" sldId="2147470023"/>
        </pc:sldMkLst>
        <pc:spChg chg="mod">
          <ac:chgData name="Judyta Kozlowska" userId="b4dee01e-1dd1-4ace-b126-5b3bd0cf451c" providerId="ADAL" clId="{987F3CCD-5358-49F2-B4B6-316C97E6459C}" dt="2023-06-20T07:31:00.143" v="1968" actId="20577"/>
          <ac:spMkLst>
            <pc:docMk/>
            <pc:sldMk cId="67303848" sldId="2147470023"/>
            <ac:spMk id="6" creationId="{B10C311C-EB7C-38C9-8C3C-9D48EE6F303B}"/>
          </ac:spMkLst>
        </pc:spChg>
        <pc:graphicFrameChg chg="add mod modGraphic">
          <ac:chgData name="Judyta Kozlowska" userId="b4dee01e-1dd1-4ace-b126-5b3bd0cf451c" providerId="ADAL" clId="{987F3CCD-5358-49F2-B4B6-316C97E6459C}" dt="2023-06-20T07:31:52.682" v="1979" actId="1076"/>
          <ac:graphicFrameMkLst>
            <pc:docMk/>
            <pc:sldMk cId="67303848" sldId="2147470023"/>
            <ac:graphicFrameMk id="2" creationId="{CA124C39-9247-A964-CBE9-D9D47B3DC1AD}"/>
          </ac:graphicFrameMkLst>
        </pc:graphicFrameChg>
        <pc:graphicFrameChg chg="del">
          <ac:chgData name="Judyta Kozlowska" userId="b4dee01e-1dd1-4ace-b126-5b3bd0cf451c" providerId="ADAL" clId="{987F3CCD-5358-49F2-B4B6-316C97E6459C}" dt="2023-06-20T07:31:03.533" v="1969" actId="478"/>
          <ac:graphicFrameMkLst>
            <pc:docMk/>
            <pc:sldMk cId="67303848" sldId="2147470023"/>
            <ac:graphicFrameMk id="7" creationId="{67510A6A-46E5-7D84-D066-FB0F7C36C31A}"/>
          </ac:graphicFrameMkLst>
        </pc:graphicFrameChg>
      </pc:sldChg>
      <pc:sldChg chg="addSp delSp modSp add mod">
        <pc:chgData name="Judyta Kozlowska" userId="b4dee01e-1dd1-4ace-b126-5b3bd0cf451c" providerId="ADAL" clId="{987F3CCD-5358-49F2-B4B6-316C97E6459C}" dt="2023-06-20T08:03:18.154" v="2073" actId="1076"/>
        <pc:sldMkLst>
          <pc:docMk/>
          <pc:sldMk cId="2661863506" sldId="2147470024"/>
        </pc:sldMkLst>
        <pc:spChg chg="mod">
          <ac:chgData name="Judyta Kozlowska" userId="b4dee01e-1dd1-4ace-b126-5b3bd0cf451c" providerId="ADAL" clId="{987F3CCD-5358-49F2-B4B6-316C97E6459C}" dt="2023-06-20T07:48:45.353" v="2028" actId="1076"/>
          <ac:spMkLst>
            <pc:docMk/>
            <pc:sldMk cId="2661863506" sldId="2147470024"/>
            <ac:spMk id="6" creationId="{B10C311C-EB7C-38C9-8C3C-9D48EE6F303B}"/>
          </ac:spMkLst>
        </pc:spChg>
        <pc:graphicFrameChg chg="del">
          <ac:chgData name="Judyta Kozlowska" userId="b4dee01e-1dd1-4ace-b126-5b3bd0cf451c" providerId="ADAL" clId="{987F3CCD-5358-49F2-B4B6-316C97E6459C}" dt="2023-06-20T07:43:02.742" v="1999" actId="478"/>
          <ac:graphicFrameMkLst>
            <pc:docMk/>
            <pc:sldMk cId="2661863506" sldId="2147470024"/>
            <ac:graphicFrameMk id="2" creationId="{CA124C39-9247-A964-CBE9-D9D47B3DC1AD}"/>
          </ac:graphicFrameMkLst>
        </pc:graphicFrameChg>
        <pc:graphicFrameChg chg="add del mod modGraphic">
          <ac:chgData name="Judyta Kozlowska" userId="b4dee01e-1dd1-4ace-b126-5b3bd0cf451c" providerId="ADAL" clId="{987F3CCD-5358-49F2-B4B6-316C97E6459C}" dt="2023-06-20T07:59:49.039" v="2047" actId="478"/>
          <ac:graphicFrameMkLst>
            <pc:docMk/>
            <pc:sldMk cId="2661863506" sldId="2147470024"/>
            <ac:graphicFrameMk id="7" creationId="{6C3E28F1-5D55-2848-A926-F9A016EBBCFF}"/>
          </ac:graphicFrameMkLst>
        </pc:graphicFrameChg>
        <pc:graphicFrameChg chg="add del mod modGraphic">
          <ac:chgData name="Judyta Kozlowska" userId="b4dee01e-1dd1-4ace-b126-5b3bd0cf451c" providerId="ADAL" clId="{987F3CCD-5358-49F2-B4B6-316C97E6459C}" dt="2023-06-20T08:00:06.697" v="2053" actId="478"/>
          <ac:graphicFrameMkLst>
            <pc:docMk/>
            <pc:sldMk cId="2661863506" sldId="2147470024"/>
            <ac:graphicFrameMk id="8" creationId="{DC723BD9-DAD8-E07E-20B8-79E16F6E24A8}"/>
          </ac:graphicFrameMkLst>
        </pc:graphicFrameChg>
        <pc:graphicFrameChg chg="add mod modGraphic">
          <ac:chgData name="Judyta Kozlowska" userId="b4dee01e-1dd1-4ace-b126-5b3bd0cf451c" providerId="ADAL" clId="{987F3CCD-5358-49F2-B4B6-316C97E6459C}" dt="2023-06-20T08:03:18.154" v="2073" actId="1076"/>
          <ac:graphicFrameMkLst>
            <pc:docMk/>
            <pc:sldMk cId="2661863506" sldId="2147470024"/>
            <ac:graphicFrameMk id="9" creationId="{837F6F8D-7F3E-5E3E-F122-699069C1391D}"/>
          </ac:graphicFrameMkLst>
        </pc:graphicFrameChg>
      </pc:sldChg>
      <pc:sldChg chg="addSp delSp modSp add mod">
        <pc:chgData name="Judyta Kozlowska" userId="b4dee01e-1dd1-4ace-b126-5b3bd0cf451c" providerId="ADAL" clId="{987F3CCD-5358-49F2-B4B6-316C97E6459C}" dt="2023-06-20T08:03:36.061" v="2076" actId="403"/>
        <pc:sldMkLst>
          <pc:docMk/>
          <pc:sldMk cId="3924018643" sldId="2147470025"/>
        </pc:sldMkLst>
        <pc:spChg chg="mod">
          <ac:chgData name="Judyta Kozlowska" userId="b4dee01e-1dd1-4ace-b126-5b3bd0cf451c" providerId="ADAL" clId="{987F3CCD-5358-49F2-B4B6-316C97E6459C}" dt="2023-06-20T07:48:56.761" v="2036" actId="1076"/>
          <ac:spMkLst>
            <pc:docMk/>
            <pc:sldMk cId="3924018643" sldId="2147470025"/>
            <ac:spMk id="6" creationId="{B10C311C-EB7C-38C9-8C3C-9D48EE6F303B}"/>
          </ac:spMkLst>
        </pc:spChg>
        <pc:graphicFrameChg chg="add del mod modGraphic">
          <ac:chgData name="Judyta Kozlowska" userId="b4dee01e-1dd1-4ace-b126-5b3bd0cf451c" providerId="ADAL" clId="{987F3CCD-5358-49F2-B4B6-316C97E6459C}" dt="2023-06-20T08:01:01.805" v="2065" actId="478"/>
          <ac:graphicFrameMkLst>
            <pc:docMk/>
            <pc:sldMk cId="3924018643" sldId="2147470025"/>
            <ac:graphicFrameMk id="2" creationId="{C85DEF4B-BC6A-B089-3195-4D77A80632D1}"/>
          </ac:graphicFrameMkLst>
        </pc:graphicFrameChg>
        <pc:graphicFrameChg chg="del modGraphic">
          <ac:chgData name="Judyta Kozlowska" userId="b4dee01e-1dd1-4ace-b126-5b3bd0cf451c" providerId="ADAL" clId="{987F3CCD-5358-49F2-B4B6-316C97E6459C}" dt="2023-06-20T07:54:54.554" v="2038" actId="478"/>
          <ac:graphicFrameMkLst>
            <pc:docMk/>
            <pc:sldMk cId="3924018643" sldId="2147470025"/>
            <ac:graphicFrameMk id="7" creationId="{6C3E28F1-5D55-2848-A926-F9A016EBBCFF}"/>
          </ac:graphicFrameMkLst>
        </pc:graphicFrameChg>
        <pc:graphicFrameChg chg="add del mod">
          <ac:chgData name="Judyta Kozlowska" userId="b4dee01e-1dd1-4ace-b126-5b3bd0cf451c" providerId="ADAL" clId="{987F3CCD-5358-49F2-B4B6-316C97E6459C}" dt="2023-06-20T07:59:43.671" v="2044" actId="21"/>
          <ac:graphicFrameMkLst>
            <pc:docMk/>
            <pc:sldMk cId="3924018643" sldId="2147470025"/>
            <ac:graphicFrameMk id="8" creationId="{335873E8-0F5A-90D3-7843-A962D415BE55}"/>
          </ac:graphicFrameMkLst>
        </pc:graphicFrameChg>
        <pc:graphicFrameChg chg="add mod modGraphic">
          <ac:chgData name="Judyta Kozlowska" userId="b4dee01e-1dd1-4ace-b126-5b3bd0cf451c" providerId="ADAL" clId="{987F3CCD-5358-49F2-B4B6-316C97E6459C}" dt="2023-06-20T08:03:36.061" v="2076" actId="403"/>
          <ac:graphicFrameMkLst>
            <pc:docMk/>
            <pc:sldMk cId="3924018643" sldId="2147470025"/>
            <ac:graphicFrameMk id="9" creationId="{ED63902D-09C2-BD8A-EBA9-7E4DCC650697}"/>
          </ac:graphicFrameMkLst>
        </pc:graphicFrameChg>
      </pc:sldChg>
    </pc:docChg>
  </pc:docChgLst>
  <pc:docChgLst>
    <pc:chgData name="Judyta Kozlowska" userId="S::judyta.kozlowska@upfieldbrands.com::b4dee01e-1dd1-4ace-b126-5b3bd0cf451c" providerId="AD" clId="Web-{261BCAF7-30AA-46EE-B81C-B8FEB0FCFD50}"/>
    <pc:docChg chg="modSld">
      <pc:chgData name="Judyta Kozlowska" userId="S::judyta.kozlowska@upfieldbrands.com::b4dee01e-1dd1-4ace-b126-5b3bd0cf451c" providerId="AD" clId="Web-{261BCAF7-30AA-46EE-B81C-B8FEB0FCFD50}" dt="2023-06-20T06:45:27.821" v="68" actId="20577"/>
      <pc:docMkLst>
        <pc:docMk/>
      </pc:docMkLst>
      <pc:sldChg chg="modSp">
        <pc:chgData name="Judyta Kozlowska" userId="S::judyta.kozlowska@upfieldbrands.com::b4dee01e-1dd1-4ace-b126-5b3bd0cf451c" providerId="AD" clId="Web-{261BCAF7-30AA-46EE-B81C-B8FEB0FCFD50}" dt="2023-06-20T06:45:27.821" v="68" actId="20577"/>
        <pc:sldMkLst>
          <pc:docMk/>
          <pc:sldMk cId="1062462279" sldId="2147469999"/>
        </pc:sldMkLst>
        <pc:spChg chg="mod">
          <ac:chgData name="Judyta Kozlowska" userId="S::judyta.kozlowska@upfieldbrands.com::b4dee01e-1dd1-4ace-b126-5b3bd0cf451c" providerId="AD" clId="Web-{261BCAF7-30AA-46EE-B81C-B8FEB0FCFD50}" dt="2023-06-20T06:45:27.821" v="68" actId="20577"/>
          <ac:spMkLst>
            <pc:docMk/>
            <pc:sldMk cId="1062462279" sldId="2147469999"/>
            <ac:spMk id="4" creationId="{C1A21581-A6D4-49EF-8D25-39B15725785A}"/>
          </ac:spMkLst>
        </pc:spChg>
        <pc:spChg chg="mod">
          <ac:chgData name="Judyta Kozlowska" userId="S::judyta.kozlowska@upfieldbrands.com::b4dee01e-1dd1-4ace-b126-5b3bd0cf451c" providerId="AD" clId="Web-{261BCAF7-30AA-46EE-B81C-B8FEB0FCFD50}" dt="2023-06-20T06:45:14.586" v="55" actId="20577"/>
          <ac:spMkLst>
            <pc:docMk/>
            <pc:sldMk cId="1062462279" sldId="2147469999"/>
            <ac:spMk id="5" creationId="{4A708B07-BE5B-9C28-ACE5-3AE98A81E562}"/>
          </ac:spMkLst>
        </pc:spChg>
      </pc:sldChg>
    </pc:docChg>
  </pc:docChgLst>
  <pc:docChgLst>
    <pc:chgData name="Dawid Janik" userId="81a947f4-3345-42c0-a461-2bf27ee4639f" providerId="ADAL" clId="{A7B4B8D9-7CBB-4479-B3DB-8A74F7DC6FA5}"/>
    <pc:docChg chg="undo custSel addSld delSld modSld modMainMaster">
      <pc:chgData name="Dawid Janik" userId="81a947f4-3345-42c0-a461-2bf27ee4639f" providerId="ADAL" clId="{A7B4B8D9-7CBB-4479-B3DB-8A74F7DC6FA5}" dt="2023-05-07T11:21:46.288" v="10161" actId="1076"/>
      <pc:docMkLst>
        <pc:docMk/>
      </pc:docMkLst>
      <pc:sldChg chg="modSp mod modTransition">
        <pc:chgData name="Dawid Janik" userId="81a947f4-3345-42c0-a461-2bf27ee4639f" providerId="ADAL" clId="{A7B4B8D9-7CBB-4479-B3DB-8A74F7DC6FA5}" dt="2023-05-02T11:59:18.203" v="7860" actId="20577"/>
        <pc:sldMkLst>
          <pc:docMk/>
          <pc:sldMk cId="387532369" sldId="262"/>
        </pc:sldMkLst>
        <pc:spChg chg="mod">
          <ac:chgData name="Dawid Janik" userId="81a947f4-3345-42c0-a461-2bf27ee4639f" providerId="ADAL" clId="{A7B4B8D9-7CBB-4479-B3DB-8A74F7DC6FA5}" dt="2023-05-02T11:59:18.203" v="7860" actId="20577"/>
          <ac:spMkLst>
            <pc:docMk/>
            <pc:sldMk cId="387532369" sldId="262"/>
            <ac:spMk id="2" creationId="{00000000-0000-0000-0000-000000000000}"/>
          </ac:spMkLst>
        </pc:spChg>
        <pc:spChg chg="mod">
          <ac:chgData name="Dawid Janik" userId="81a947f4-3345-42c0-a461-2bf27ee4639f" providerId="ADAL" clId="{A7B4B8D9-7CBB-4479-B3DB-8A74F7DC6FA5}" dt="2023-04-26T12:42:19.234" v="2334"/>
          <ac:spMkLst>
            <pc:docMk/>
            <pc:sldMk cId="387532369" sldId="262"/>
            <ac:spMk id="5" creationId="{00000000-0000-0000-0000-000000000000}"/>
          </ac:spMkLst>
        </pc:spChg>
      </pc:sldChg>
      <pc:sldChg chg="modSp del mod">
        <pc:chgData name="Dawid Janik" userId="81a947f4-3345-42c0-a461-2bf27ee4639f" providerId="ADAL" clId="{A7B4B8D9-7CBB-4479-B3DB-8A74F7DC6FA5}" dt="2023-04-26T12:47:57.716" v="2370" actId="47"/>
        <pc:sldMkLst>
          <pc:docMk/>
          <pc:sldMk cId="289989424" sldId="2858"/>
        </pc:sldMkLst>
        <pc:spChg chg="mod">
          <ac:chgData name="Dawid Janik" userId="81a947f4-3345-42c0-a461-2bf27ee4639f" providerId="ADAL" clId="{A7B4B8D9-7CBB-4479-B3DB-8A74F7DC6FA5}" dt="2023-04-26T12:42:19.604" v="2345" actId="27636"/>
          <ac:spMkLst>
            <pc:docMk/>
            <pc:sldMk cId="289989424" sldId="2858"/>
            <ac:spMk id="2" creationId="{CF04DB44-42D0-7DDA-052D-69EE10190E3D}"/>
          </ac:spMkLst>
        </pc:spChg>
        <pc:spChg chg="mod">
          <ac:chgData name="Dawid Janik" userId="81a947f4-3345-42c0-a461-2bf27ee4639f" providerId="ADAL" clId="{A7B4B8D9-7CBB-4479-B3DB-8A74F7DC6FA5}" dt="2023-04-26T12:42:19.234" v="2334"/>
          <ac:spMkLst>
            <pc:docMk/>
            <pc:sldMk cId="289989424" sldId="2858"/>
            <ac:spMk id="4" creationId="{289C02AD-DF25-0292-B4AE-A196E2D3D8AB}"/>
          </ac:spMkLst>
        </pc:spChg>
      </pc:sldChg>
      <pc:sldChg chg="modSp del mod">
        <pc:chgData name="Dawid Janik" userId="81a947f4-3345-42c0-a461-2bf27ee4639f" providerId="ADAL" clId="{A7B4B8D9-7CBB-4479-B3DB-8A74F7DC6FA5}" dt="2023-04-26T12:47:54.320" v="2364" actId="47"/>
        <pc:sldMkLst>
          <pc:docMk/>
          <pc:sldMk cId="3969372951" sldId="2860"/>
        </pc:sldMkLst>
        <pc:spChg chg="mod">
          <ac:chgData name="Dawid Janik" userId="81a947f4-3345-42c0-a461-2bf27ee4639f" providerId="ADAL" clId="{A7B4B8D9-7CBB-4479-B3DB-8A74F7DC6FA5}" dt="2023-04-26T12:42:19.587" v="2342" actId="27636"/>
          <ac:spMkLst>
            <pc:docMk/>
            <pc:sldMk cId="3969372951" sldId="2860"/>
            <ac:spMk id="3" creationId="{70A29806-3FA9-55EB-A5A4-937C2FBA0C72}"/>
          </ac:spMkLst>
        </pc:spChg>
        <pc:spChg chg="mod">
          <ac:chgData name="Dawid Janik" userId="81a947f4-3345-42c0-a461-2bf27ee4639f" providerId="ADAL" clId="{A7B4B8D9-7CBB-4479-B3DB-8A74F7DC6FA5}" dt="2023-04-26T12:42:19.234" v="2334"/>
          <ac:spMkLst>
            <pc:docMk/>
            <pc:sldMk cId="3969372951" sldId="2860"/>
            <ac:spMk id="4" creationId="{37B3156C-964A-0A54-D71E-271E1DAEB811}"/>
          </ac:spMkLst>
        </pc:spChg>
      </pc:sldChg>
      <pc:sldChg chg="modSp del">
        <pc:chgData name="Dawid Janik" userId="81a947f4-3345-42c0-a461-2bf27ee4639f" providerId="ADAL" clId="{A7B4B8D9-7CBB-4479-B3DB-8A74F7DC6FA5}" dt="2023-04-26T12:47:54.837" v="2365" actId="47"/>
        <pc:sldMkLst>
          <pc:docMk/>
          <pc:sldMk cId="773440969" sldId="2861"/>
        </pc:sldMkLst>
        <pc:spChg chg="mod">
          <ac:chgData name="Dawid Janik" userId="81a947f4-3345-42c0-a461-2bf27ee4639f" providerId="ADAL" clId="{A7B4B8D9-7CBB-4479-B3DB-8A74F7DC6FA5}" dt="2023-04-26T12:42:19.234" v="2334"/>
          <ac:spMkLst>
            <pc:docMk/>
            <pc:sldMk cId="773440969" sldId="2861"/>
            <ac:spMk id="4" creationId="{37B3156C-964A-0A54-D71E-271E1DAEB811}"/>
          </ac:spMkLst>
        </pc:spChg>
      </pc:sldChg>
      <pc:sldChg chg="addSp delSp modSp mod modTransition">
        <pc:chgData name="Dawid Janik" userId="81a947f4-3345-42c0-a461-2bf27ee4639f" providerId="ADAL" clId="{A7B4B8D9-7CBB-4479-B3DB-8A74F7DC6FA5}" dt="2023-05-07T11:14:01.407" v="10098" actId="113"/>
        <pc:sldMkLst>
          <pc:docMk/>
          <pc:sldMk cId="1531271792" sldId="2864"/>
        </pc:sldMkLst>
        <pc:spChg chg="mod">
          <ac:chgData name="Dawid Janik" userId="81a947f4-3345-42c0-a461-2bf27ee4639f" providerId="ADAL" clId="{A7B4B8D9-7CBB-4479-B3DB-8A74F7DC6FA5}" dt="2023-05-02T11:53:21.861" v="7784" actId="1076"/>
          <ac:spMkLst>
            <pc:docMk/>
            <pc:sldMk cId="1531271792" sldId="2864"/>
            <ac:spMk id="2" creationId="{FCB2BE31-96F6-E7E8-A043-2B3908624B8A}"/>
          </ac:spMkLst>
        </pc:spChg>
        <pc:spChg chg="mod">
          <ac:chgData name="Dawid Janik" userId="81a947f4-3345-42c0-a461-2bf27ee4639f" providerId="ADAL" clId="{A7B4B8D9-7CBB-4479-B3DB-8A74F7DC6FA5}" dt="2023-04-26T12:42:19.234" v="2334"/>
          <ac:spMkLst>
            <pc:docMk/>
            <pc:sldMk cId="1531271792" sldId="2864"/>
            <ac:spMk id="4" creationId="{3DEFBBFE-829F-D339-3D89-3FACEF49E5AC}"/>
          </ac:spMkLst>
        </pc:spChg>
        <pc:spChg chg="mod">
          <ac:chgData name="Dawid Janik" userId="81a947f4-3345-42c0-a461-2bf27ee4639f" providerId="ADAL" clId="{A7B4B8D9-7CBB-4479-B3DB-8A74F7DC6FA5}" dt="2023-04-26T10:04:21.530" v="1270" actId="20577"/>
          <ac:spMkLst>
            <pc:docMk/>
            <pc:sldMk cId="1531271792" sldId="2864"/>
            <ac:spMk id="7" creationId="{26CB480A-83AA-4501-762B-2484F15EB6A6}"/>
          </ac:spMkLst>
        </pc:spChg>
        <pc:graphicFrameChg chg="add del mod modGraphic">
          <ac:chgData name="Dawid Janik" userId="81a947f4-3345-42c0-a461-2bf27ee4639f" providerId="ADAL" clId="{A7B4B8D9-7CBB-4479-B3DB-8A74F7DC6FA5}" dt="2023-05-02T07:56:05.980" v="7385" actId="478"/>
          <ac:graphicFrameMkLst>
            <pc:docMk/>
            <pc:sldMk cId="1531271792" sldId="2864"/>
            <ac:graphicFrameMk id="3" creationId="{4544963A-3270-E018-C080-B49722E60030}"/>
          </ac:graphicFrameMkLst>
        </pc:graphicFrameChg>
        <pc:graphicFrameChg chg="add del mod modGraphic">
          <ac:chgData name="Dawid Janik" userId="81a947f4-3345-42c0-a461-2bf27ee4639f" providerId="ADAL" clId="{A7B4B8D9-7CBB-4479-B3DB-8A74F7DC6FA5}" dt="2023-04-26T10:21:49.368" v="1356" actId="478"/>
          <ac:graphicFrameMkLst>
            <pc:docMk/>
            <pc:sldMk cId="1531271792" sldId="2864"/>
            <ac:graphicFrameMk id="3" creationId="{90EF554E-75E6-37A4-2D87-2677CA7BA192}"/>
          </ac:graphicFrameMkLst>
        </pc:graphicFrameChg>
        <pc:graphicFrameChg chg="add del mod modGraphic">
          <ac:chgData name="Dawid Janik" userId="81a947f4-3345-42c0-a461-2bf27ee4639f" providerId="ADAL" clId="{A7B4B8D9-7CBB-4479-B3DB-8A74F7DC6FA5}" dt="2023-05-02T07:56:27.597" v="7391" actId="478"/>
          <ac:graphicFrameMkLst>
            <pc:docMk/>
            <pc:sldMk cId="1531271792" sldId="2864"/>
            <ac:graphicFrameMk id="5" creationId="{1036EE20-0C9F-7D86-C6D1-998CA77616F2}"/>
          </ac:graphicFrameMkLst>
        </pc:graphicFrameChg>
        <pc:graphicFrameChg chg="add del mod modGraphic">
          <ac:chgData name="Dawid Janik" userId="81a947f4-3345-42c0-a461-2bf27ee4639f" providerId="ADAL" clId="{A7B4B8D9-7CBB-4479-B3DB-8A74F7DC6FA5}" dt="2023-04-26T10:26:03.175" v="1401" actId="478"/>
          <ac:graphicFrameMkLst>
            <pc:docMk/>
            <pc:sldMk cId="1531271792" sldId="2864"/>
            <ac:graphicFrameMk id="5" creationId="{4554A0CD-359D-68D9-F825-12EEEB4EB95D}"/>
          </ac:graphicFrameMkLst>
        </pc:graphicFrameChg>
        <pc:graphicFrameChg chg="add del mod modGraphic">
          <ac:chgData name="Dawid Janik" userId="81a947f4-3345-42c0-a461-2bf27ee4639f" providerId="ADAL" clId="{A7B4B8D9-7CBB-4479-B3DB-8A74F7DC6FA5}" dt="2023-05-02T08:13:00.078" v="7402" actId="478"/>
          <ac:graphicFrameMkLst>
            <pc:docMk/>
            <pc:sldMk cId="1531271792" sldId="2864"/>
            <ac:graphicFrameMk id="6" creationId="{06966AD3-4956-0FF5-3E31-4CAD56F4F77F}"/>
          </ac:graphicFrameMkLst>
        </pc:graphicFrameChg>
        <pc:graphicFrameChg chg="add del mod modGraphic">
          <ac:chgData name="Dawid Janik" userId="81a947f4-3345-42c0-a461-2bf27ee4639f" providerId="ADAL" clId="{A7B4B8D9-7CBB-4479-B3DB-8A74F7DC6FA5}" dt="2023-04-26T11:51:28.263" v="1530" actId="478"/>
          <ac:graphicFrameMkLst>
            <pc:docMk/>
            <pc:sldMk cId="1531271792" sldId="2864"/>
            <ac:graphicFrameMk id="6" creationId="{7AC83A9F-782A-FDAA-F0CD-030DFDFE4BFD}"/>
          </ac:graphicFrameMkLst>
        </pc:graphicFrameChg>
        <pc:graphicFrameChg chg="add mod modGraphic">
          <ac:chgData name="Dawid Janik" userId="81a947f4-3345-42c0-a461-2bf27ee4639f" providerId="ADAL" clId="{A7B4B8D9-7CBB-4479-B3DB-8A74F7DC6FA5}" dt="2023-05-07T11:14:01.407" v="10098" actId="113"/>
          <ac:graphicFrameMkLst>
            <pc:docMk/>
            <pc:sldMk cId="1531271792" sldId="2864"/>
            <ac:graphicFrameMk id="8" creationId="{53394972-BBA9-CA40-E8EC-AC5DBE6C6452}"/>
          </ac:graphicFrameMkLst>
        </pc:graphicFrameChg>
        <pc:picChg chg="del">
          <ac:chgData name="Dawid Janik" userId="81a947f4-3345-42c0-a461-2bf27ee4639f" providerId="ADAL" clId="{A7B4B8D9-7CBB-4479-B3DB-8A74F7DC6FA5}" dt="2023-04-26T10:04:18.054" v="1268" actId="478"/>
          <ac:picMkLst>
            <pc:docMk/>
            <pc:sldMk cId="1531271792" sldId="2864"/>
            <ac:picMk id="1026" creationId="{F020534E-24A5-CA23-7681-B26E0EEE32CD}"/>
          </ac:picMkLst>
        </pc:picChg>
      </pc:sldChg>
      <pc:sldChg chg="modSp del mod">
        <pc:chgData name="Dawid Janik" userId="81a947f4-3345-42c0-a461-2bf27ee4639f" providerId="ADAL" clId="{A7B4B8D9-7CBB-4479-B3DB-8A74F7DC6FA5}" dt="2023-04-26T12:47:56.527" v="2368" actId="47"/>
        <pc:sldMkLst>
          <pc:docMk/>
          <pc:sldMk cId="4281873408" sldId="2868"/>
        </pc:sldMkLst>
        <pc:spChg chg="mod">
          <ac:chgData name="Dawid Janik" userId="81a947f4-3345-42c0-a461-2bf27ee4639f" providerId="ADAL" clId="{A7B4B8D9-7CBB-4479-B3DB-8A74F7DC6FA5}" dt="2023-04-26T12:42:19.234" v="2334"/>
          <ac:spMkLst>
            <pc:docMk/>
            <pc:sldMk cId="4281873408" sldId="2868"/>
            <ac:spMk id="4" creationId="{37B3156C-964A-0A54-D71E-271E1DAEB811}"/>
          </ac:spMkLst>
        </pc:spChg>
        <pc:spChg chg="mod">
          <ac:chgData name="Dawid Janik" userId="81a947f4-3345-42c0-a461-2bf27ee4639f" providerId="ADAL" clId="{A7B4B8D9-7CBB-4479-B3DB-8A74F7DC6FA5}" dt="2023-04-26T12:42:19.604" v="2343" actId="27636"/>
          <ac:spMkLst>
            <pc:docMk/>
            <pc:sldMk cId="4281873408" sldId="2868"/>
            <ac:spMk id="5" creationId="{ABB7EFFD-62DD-FC6E-99E5-79D113FAEAA2}"/>
          </ac:spMkLst>
        </pc:spChg>
      </pc:sldChg>
      <pc:sldChg chg="modSp del mod">
        <pc:chgData name="Dawid Janik" userId="81a947f4-3345-42c0-a461-2bf27ee4639f" providerId="ADAL" clId="{A7B4B8D9-7CBB-4479-B3DB-8A74F7DC6FA5}" dt="2023-04-26T12:47:57.176" v="2369" actId="47"/>
        <pc:sldMkLst>
          <pc:docMk/>
          <pc:sldMk cId="3716441291" sldId="2869"/>
        </pc:sldMkLst>
        <pc:spChg chg="mod">
          <ac:chgData name="Dawid Janik" userId="81a947f4-3345-42c0-a461-2bf27ee4639f" providerId="ADAL" clId="{A7B4B8D9-7CBB-4479-B3DB-8A74F7DC6FA5}" dt="2023-04-26T12:42:19.234" v="2334"/>
          <ac:spMkLst>
            <pc:docMk/>
            <pc:sldMk cId="3716441291" sldId="2869"/>
            <ac:spMk id="4" creationId="{37B3156C-964A-0A54-D71E-271E1DAEB811}"/>
          </ac:spMkLst>
        </pc:spChg>
        <pc:spChg chg="mod">
          <ac:chgData name="Dawid Janik" userId="81a947f4-3345-42c0-a461-2bf27ee4639f" providerId="ADAL" clId="{A7B4B8D9-7CBB-4479-B3DB-8A74F7DC6FA5}" dt="2023-04-26T12:42:19.604" v="2344" actId="27636"/>
          <ac:spMkLst>
            <pc:docMk/>
            <pc:sldMk cId="3716441291" sldId="2869"/>
            <ac:spMk id="5" creationId="{81607E81-3099-15AA-7538-53CE92E5517B}"/>
          </ac:spMkLst>
        </pc:spChg>
      </pc:sldChg>
      <pc:sldChg chg="modSp del mod">
        <pc:chgData name="Dawid Janik" userId="81a947f4-3345-42c0-a461-2bf27ee4639f" providerId="ADAL" clId="{A7B4B8D9-7CBB-4479-B3DB-8A74F7DC6FA5}" dt="2023-04-26T12:47:52.864" v="2362" actId="47"/>
        <pc:sldMkLst>
          <pc:docMk/>
          <pc:sldMk cId="977520493" sldId="2871"/>
        </pc:sldMkLst>
        <pc:spChg chg="mod">
          <ac:chgData name="Dawid Janik" userId="81a947f4-3345-42c0-a461-2bf27ee4639f" providerId="ADAL" clId="{A7B4B8D9-7CBB-4479-B3DB-8A74F7DC6FA5}" dt="2023-04-26T12:42:19.234" v="2334"/>
          <ac:spMkLst>
            <pc:docMk/>
            <pc:sldMk cId="977520493" sldId="2871"/>
            <ac:spMk id="4" creationId="{D2D8B72F-FFBC-765B-03EA-28851077C424}"/>
          </ac:spMkLst>
        </pc:spChg>
        <pc:spChg chg="mod">
          <ac:chgData name="Dawid Janik" userId="81a947f4-3345-42c0-a461-2bf27ee4639f" providerId="ADAL" clId="{A7B4B8D9-7CBB-4479-B3DB-8A74F7DC6FA5}" dt="2023-04-26T12:42:19.587" v="2341" actId="27636"/>
          <ac:spMkLst>
            <pc:docMk/>
            <pc:sldMk cId="977520493" sldId="2871"/>
            <ac:spMk id="5" creationId="{46038FB7-675A-432D-0796-C0AF3BBB48A7}"/>
          </ac:spMkLst>
        </pc:spChg>
      </pc:sldChg>
      <pc:sldChg chg="addSp delSp modSp mod modTransition">
        <pc:chgData name="Dawid Janik" userId="81a947f4-3345-42c0-a461-2bf27ee4639f" providerId="ADAL" clId="{A7B4B8D9-7CBB-4479-B3DB-8A74F7DC6FA5}" dt="2023-05-05T12:28:15.591" v="9751"/>
        <pc:sldMkLst>
          <pc:docMk/>
          <pc:sldMk cId="4104552231" sldId="2872"/>
        </pc:sldMkLst>
        <pc:spChg chg="add mod">
          <ac:chgData name="Dawid Janik" userId="81a947f4-3345-42c0-a461-2bf27ee4639f" providerId="ADAL" clId="{A7B4B8D9-7CBB-4479-B3DB-8A74F7DC6FA5}" dt="2023-05-02T12:14:41.937" v="7862" actId="1076"/>
          <ac:spMkLst>
            <pc:docMk/>
            <pc:sldMk cId="4104552231" sldId="2872"/>
            <ac:spMk id="3" creationId="{EA9924C7-D6CD-26DA-C661-412790E332E9}"/>
          </ac:spMkLst>
        </pc:spChg>
        <pc:spChg chg="mod">
          <ac:chgData name="Dawid Janik" userId="81a947f4-3345-42c0-a461-2bf27ee4639f" providerId="ADAL" clId="{A7B4B8D9-7CBB-4479-B3DB-8A74F7DC6FA5}" dt="2023-04-26T12:42:19.234" v="2334"/>
          <ac:spMkLst>
            <pc:docMk/>
            <pc:sldMk cId="4104552231" sldId="2872"/>
            <ac:spMk id="4" creationId="{D2D8B72F-FFBC-765B-03EA-28851077C424}"/>
          </ac:spMkLst>
        </pc:spChg>
        <pc:spChg chg="mod">
          <ac:chgData name="Dawid Janik" userId="81a947f4-3345-42c0-a461-2bf27ee4639f" providerId="ADAL" clId="{A7B4B8D9-7CBB-4479-B3DB-8A74F7DC6FA5}" dt="2023-04-26T12:42:19.467" v="2337" actId="27636"/>
          <ac:spMkLst>
            <pc:docMk/>
            <pc:sldMk cId="4104552231" sldId="2872"/>
            <ac:spMk id="5" creationId="{46038FB7-675A-432D-0796-C0AF3BBB48A7}"/>
          </ac:spMkLst>
        </pc:spChg>
        <pc:graphicFrameChg chg="add mod">
          <ac:chgData name="Dawid Janik" userId="81a947f4-3345-42c0-a461-2bf27ee4639f" providerId="ADAL" clId="{A7B4B8D9-7CBB-4479-B3DB-8A74F7DC6FA5}" dt="2023-05-03T12:49:43.635" v="8875" actId="2085"/>
          <ac:graphicFrameMkLst>
            <pc:docMk/>
            <pc:sldMk cId="4104552231" sldId="2872"/>
            <ac:graphicFrameMk id="2" creationId="{07238943-271E-528F-4A78-6CC0C12A8CEF}"/>
          </ac:graphicFrameMkLst>
        </pc:graphicFrameChg>
        <pc:graphicFrameChg chg="add del mod">
          <ac:chgData name="Dawid Janik" userId="81a947f4-3345-42c0-a461-2bf27ee4639f" providerId="ADAL" clId="{A7B4B8D9-7CBB-4479-B3DB-8A74F7DC6FA5}" dt="2023-05-02T10:43:50.244" v="7538" actId="478"/>
          <ac:graphicFrameMkLst>
            <pc:docMk/>
            <pc:sldMk cId="4104552231" sldId="2872"/>
            <ac:graphicFrameMk id="2" creationId="{6517CE8D-CE80-6DE3-6145-9D80607BE5D2}"/>
          </ac:graphicFrameMkLst>
        </pc:graphicFrameChg>
        <pc:graphicFrameChg chg="add del mod">
          <ac:chgData name="Dawid Janik" userId="81a947f4-3345-42c0-a461-2bf27ee4639f" providerId="ADAL" clId="{A7B4B8D9-7CBB-4479-B3DB-8A74F7DC6FA5}" dt="2023-05-02T10:45:25.620" v="7542" actId="478"/>
          <ac:graphicFrameMkLst>
            <pc:docMk/>
            <pc:sldMk cId="4104552231" sldId="2872"/>
            <ac:graphicFrameMk id="7" creationId="{99DC8ED3-B215-06CA-B228-A8E99EAFCFDC}"/>
          </ac:graphicFrameMkLst>
        </pc:graphicFrameChg>
        <pc:graphicFrameChg chg="add mod">
          <ac:chgData name="Dawid Janik" userId="81a947f4-3345-42c0-a461-2bf27ee4639f" providerId="ADAL" clId="{A7B4B8D9-7CBB-4479-B3DB-8A74F7DC6FA5}" dt="2023-05-02T10:45:29.517" v="7544" actId="1076"/>
          <ac:graphicFrameMkLst>
            <pc:docMk/>
            <pc:sldMk cId="4104552231" sldId="2872"/>
            <ac:graphicFrameMk id="8" creationId="{39AEA113-6558-535B-7CE7-1918E890939C}"/>
          </ac:graphicFrameMkLst>
        </pc:graphicFrameChg>
        <pc:graphicFrameChg chg="add del mod modGraphic">
          <ac:chgData name="Dawid Janik" userId="81a947f4-3345-42c0-a461-2bf27ee4639f" providerId="ADAL" clId="{A7B4B8D9-7CBB-4479-B3DB-8A74F7DC6FA5}" dt="2023-05-02T11:13:23.306" v="7770" actId="478"/>
          <ac:graphicFrameMkLst>
            <pc:docMk/>
            <pc:sldMk cId="4104552231" sldId="2872"/>
            <ac:graphicFrameMk id="9" creationId="{7255676E-83BF-C6DD-A93A-5AB8DBCDF719}"/>
          </ac:graphicFrameMkLst>
        </pc:graphicFrameChg>
        <pc:graphicFrameChg chg="add mod">
          <ac:chgData name="Dawid Janik" userId="81a947f4-3345-42c0-a461-2bf27ee4639f" providerId="ADAL" clId="{A7B4B8D9-7CBB-4479-B3DB-8A74F7DC6FA5}" dt="2023-05-02T11:13:29.563" v="7772" actId="1076"/>
          <ac:graphicFrameMkLst>
            <pc:docMk/>
            <pc:sldMk cId="4104552231" sldId="2872"/>
            <ac:graphicFrameMk id="10" creationId="{0AD01F3F-D5BB-3550-87D0-FD01A48F19EB}"/>
          </ac:graphicFrameMkLst>
        </pc:graphicFrameChg>
        <pc:picChg chg="del">
          <ac:chgData name="Dawid Janik" userId="81a947f4-3345-42c0-a461-2bf27ee4639f" providerId="ADAL" clId="{A7B4B8D9-7CBB-4479-B3DB-8A74F7DC6FA5}" dt="2023-04-26T12:06:24.062" v="1993" actId="478"/>
          <ac:picMkLst>
            <pc:docMk/>
            <pc:sldMk cId="4104552231" sldId="2872"/>
            <ac:picMk id="8" creationId="{3A0183F4-1440-8CB6-AA9E-A3B10129EF80}"/>
          </ac:picMkLst>
        </pc:picChg>
        <pc:picChg chg="add del mod">
          <ac:chgData name="Dawid Janik" userId="81a947f4-3345-42c0-a461-2bf27ee4639f" providerId="ADAL" clId="{A7B4B8D9-7CBB-4479-B3DB-8A74F7DC6FA5}" dt="2023-05-02T10:13:14.253" v="7530" actId="478"/>
          <ac:picMkLst>
            <pc:docMk/>
            <pc:sldMk cId="4104552231" sldId="2872"/>
            <ac:picMk id="5121" creationId="{B843E6C3-2D8C-5214-3B1A-706FAA6B9953}"/>
          </ac:picMkLst>
        </pc:picChg>
        <pc:picChg chg="add del mod">
          <ac:chgData name="Dawid Janik" userId="81a947f4-3345-42c0-a461-2bf27ee4639f" providerId="ADAL" clId="{A7B4B8D9-7CBB-4479-B3DB-8A74F7DC6FA5}" dt="2023-05-03T12:49:32.387" v="8870" actId="478"/>
          <ac:picMkLst>
            <pc:docMk/>
            <pc:sldMk cId="4104552231" sldId="2872"/>
            <ac:picMk id="5122" creationId="{DE609907-39DD-F596-6D4E-FD2D5C399701}"/>
          </ac:picMkLst>
        </pc:picChg>
      </pc:sldChg>
      <pc:sldChg chg="addSp delSp modSp mod modTransition">
        <pc:chgData name="Dawid Janik" userId="81a947f4-3345-42c0-a461-2bf27ee4639f" providerId="ADAL" clId="{A7B4B8D9-7CBB-4479-B3DB-8A74F7DC6FA5}" dt="2023-05-03T14:28:03.936" v="9080" actId="20577"/>
        <pc:sldMkLst>
          <pc:docMk/>
          <pc:sldMk cId="4087466394" sldId="2873"/>
        </pc:sldMkLst>
        <pc:spChg chg="add mod">
          <ac:chgData name="Dawid Janik" userId="81a947f4-3345-42c0-a461-2bf27ee4639f" providerId="ADAL" clId="{A7B4B8D9-7CBB-4479-B3DB-8A74F7DC6FA5}" dt="2023-05-02T10:51:16.546" v="7641" actId="20577"/>
          <ac:spMkLst>
            <pc:docMk/>
            <pc:sldMk cId="4087466394" sldId="2873"/>
            <ac:spMk id="2" creationId="{52AEE46A-C70E-E262-7D9C-E24A8E15F13F}"/>
          </ac:spMkLst>
        </pc:spChg>
        <pc:spChg chg="mod">
          <ac:chgData name="Dawid Janik" userId="81a947f4-3345-42c0-a461-2bf27ee4639f" providerId="ADAL" clId="{A7B4B8D9-7CBB-4479-B3DB-8A74F7DC6FA5}" dt="2023-04-26T12:42:19.234" v="2334"/>
          <ac:spMkLst>
            <pc:docMk/>
            <pc:sldMk cId="4087466394" sldId="2873"/>
            <ac:spMk id="4" creationId="{D2D8B72F-FFBC-765B-03EA-28851077C424}"/>
          </ac:spMkLst>
        </pc:spChg>
        <pc:spChg chg="mod">
          <ac:chgData name="Dawid Janik" userId="81a947f4-3345-42c0-a461-2bf27ee4639f" providerId="ADAL" clId="{A7B4B8D9-7CBB-4479-B3DB-8A74F7DC6FA5}" dt="2023-04-26T12:42:19.582" v="2339" actId="27636"/>
          <ac:spMkLst>
            <pc:docMk/>
            <pc:sldMk cId="4087466394" sldId="2873"/>
            <ac:spMk id="5" creationId="{46038FB7-675A-432D-0796-C0AF3BBB48A7}"/>
          </ac:spMkLst>
        </pc:spChg>
        <pc:spChg chg="add mod">
          <ac:chgData name="Dawid Janik" userId="81a947f4-3345-42c0-a461-2bf27ee4639f" providerId="ADAL" clId="{A7B4B8D9-7CBB-4479-B3DB-8A74F7DC6FA5}" dt="2023-05-02T10:54:25.046" v="7699" actId="20577"/>
          <ac:spMkLst>
            <pc:docMk/>
            <pc:sldMk cId="4087466394" sldId="2873"/>
            <ac:spMk id="6" creationId="{442D72B7-F6A9-835F-66B7-98920150976B}"/>
          </ac:spMkLst>
        </pc:spChg>
        <pc:spChg chg="del mod">
          <ac:chgData name="Dawid Janik" userId="81a947f4-3345-42c0-a461-2bf27ee4639f" providerId="ADAL" clId="{A7B4B8D9-7CBB-4479-B3DB-8A74F7DC6FA5}" dt="2023-04-26T12:08:37.953" v="2016" actId="478"/>
          <ac:spMkLst>
            <pc:docMk/>
            <pc:sldMk cId="4087466394" sldId="2873"/>
            <ac:spMk id="6" creationId="{A970C547-B9F9-37A5-36DC-CF45A3FE60CE}"/>
          </ac:spMkLst>
        </pc:spChg>
        <pc:graphicFrameChg chg="add del mod">
          <ac:chgData name="Dawid Janik" userId="81a947f4-3345-42c0-a461-2bf27ee4639f" providerId="ADAL" clId="{A7B4B8D9-7CBB-4479-B3DB-8A74F7DC6FA5}" dt="2023-05-02T10:55:40.685" v="7701"/>
          <ac:graphicFrameMkLst>
            <pc:docMk/>
            <pc:sldMk cId="4087466394" sldId="2873"/>
            <ac:graphicFrameMk id="7" creationId="{F306FF15-F25E-6EDA-3680-9401D7D8CFF6}"/>
          </ac:graphicFrameMkLst>
        </pc:graphicFrameChg>
        <pc:graphicFrameChg chg="add del mod">
          <ac:chgData name="Dawid Janik" userId="81a947f4-3345-42c0-a461-2bf27ee4639f" providerId="ADAL" clId="{A7B4B8D9-7CBB-4479-B3DB-8A74F7DC6FA5}" dt="2023-05-02T10:56:32.563" v="7704" actId="478"/>
          <ac:graphicFrameMkLst>
            <pc:docMk/>
            <pc:sldMk cId="4087466394" sldId="2873"/>
            <ac:graphicFrameMk id="8" creationId="{0BB347AB-667F-FC71-03E1-2CEEB3390903}"/>
          </ac:graphicFrameMkLst>
        </pc:graphicFrameChg>
        <pc:graphicFrameChg chg="add del mod modGraphic">
          <ac:chgData name="Dawid Janik" userId="81a947f4-3345-42c0-a461-2bf27ee4639f" providerId="ADAL" clId="{A7B4B8D9-7CBB-4479-B3DB-8A74F7DC6FA5}" dt="2023-05-02T11:03:45.006" v="7741" actId="14734"/>
          <ac:graphicFrameMkLst>
            <pc:docMk/>
            <pc:sldMk cId="4087466394" sldId="2873"/>
            <ac:graphicFrameMk id="9" creationId="{B9613B51-3DDF-A3FF-FAB1-F17815583E33}"/>
          </ac:graphicFrameMkLst>
        </pc:graphicFrameChg>
        <pc:graphicFrameChg chg="add del mod">
          <ac:chgData name="Dawid Janik" userId="81a947f4-3345-42c0-a461-2bf27ee4639f" providerId="ADAL" clId="{A7B4B8D9-7CBB-4479-B3DB-8A74F7DC6FA5}" dt="2023-05-02T11:00:45.029" v="7734"/>
          <ac:graphicFrameMkLst>
            <pc:docMk/>
            <pc:sldMk cId="4087466394" sldId="2873"/>
            <ac:graphicFrameMk id="10" creationId="{79904F66-14A4-DF00-BAFA-F6C7B716B48E}"/>
          </ac:graphicFrameMkLst>
        </pc:graphicFrameChg>
        <pc:graphicFrameChg chg="add mod modGraphic">
          <ac:chgData name="Dawid Janik" userId="81a947f4-3345-42c0-a461-2bf27ee4639f" providerId="ADAL" clId="{A7B4B8D9-7CBB-4479-B3DB-8A74F7DC6FA5}" dt="2023-05-03T14:28:03.936" v="9080" actId="20577"/>
          <ac:graphicFrameMkLst>
            <pc:docMk/>
            <pc:sldMk cId="4087466394" sldId="2873"/>
            <ac:graphicFrameMk id="11" creationId="{C5555963-1AAD-0DF0-1856-AFB975A7E4B0}"/>
          </ac:graphicFrameMkLst>
        </pc:graphicFrameChg>
        <pc:picChg chg="del">
          <ac:chgData name="Dawid Janik" userId="81a947f4-3345-42c0-a461-2bf27ee4639f" providerId="ADAL" clId="{A7B4B8D9-7CBB-4479-B3DB-8A74F7DC6FA5}" dt="2023-04-26T12:08:21.924" v="2010" actId="478"/>
          <ac:picMkLst>
            <pc:docMk/>
            <pc:sldMk cId="4087466394" sldId="2873"/>
            <ac:picMk id="8" creationId="{F238B691-7489-4505-CE53-1771AF384D50}"/>
          </ac:picMkLst>
        </pc:picChg>
      </pc:sldChg>
      <pc:sldChg chg="modSp del mod">
        <pc:chgData name="Dawid Janik" userId="81a947f4-3345-42c0-a461-2bf27ee4639f" providerId="ADAL" clId="{A7B4B8D9-7CBB-4479-B3DB-8A74F7DC6FA5}" dt="2023-04-26T12:47:59.669" v="2375" actId="47"/>
        <pc:sldMkLst>
          <pc:docMk/>
          <pc:sldMk cId="895411874" sldId="2877"/>
        </pc:sldMkLst>
        <pc:spChg chg="mod">
          <ac:chgData name="Dawid Janik" userId="81a947f4-3345-42c0-a461-2bf27ee4639f" providerId="ADAL" clId="{A7B4B8D9-7CBB-4479-B3DB-8A74F7DC6FA5}" dt="2023-04-26T12:42:19.234" v="2334"/>
          <ac:spMkLst>
            <pc:docMk/>
            <pc:sldMk cId="895411874" sldId="2877"/>
            <ac:spMk id="4" creationId="{A1B2677C-2C32-DFB7-0202-9F52FB53B750}"/>
          </ac:spMkLst>
        </pc:spChg>
        <pc:spChg chg="mod">
          <ac:chgData name="Dawid Janik" userId="81a947f4-3345-42c0-a461-2bf27ee4639f" providerId="ADAL" clId="{A7B4B8D9-7CBB-4479-B3DB-8A74F7DC6FA5}" dt="2023-04-26T12:42:19.635" v="2349" actId="27636"/>
          <ac:spMkLst>
            <pc:docMk/>
            <pc:sldMk cId="895411874" sldId="2877"/>
            <ac:spMk id="5" creationId="{8F34C24A-4DB1-BAA6-C705-069CFA2CBD19}"/>
          </ac:spMkLst>
        </pc:spChg>
        <pc:spChg chg="mod">
          <ac:chgData name="Dawid Janik" userId="81a947f4-3345-42c0-a461-2bf27ee4639f" providerId="ADAL" clId="{A7B4B8D9-7CBB-4479-B3DB-8A74F7DC6FA5}" dt="2023-04-26T12:42:19.635" v="2348" actId="27636"/>
          <ac:spMkLst>
            <pc:docMk/>
            <pc:sldMk cId="895411874" sldId="2877"/>
            <ac:spMk id="6" creationId="{3CF23B17-7A57-84F9-4912-9479A93BB5D8}"/>
          </ac:spMkLst>
        </pc:spChg>
      </pc:sldChg>
      <pc:sldChg chg="addSp delSp modSp mod modTransition modClrScheme chgLayout">
        <pc:chgData name="Dawid Janik" userId="81a947f4-3345-42c0-a461-2bf27ee4639f" providerId="ADAL" clId="{A7B4B8D9-7CBB-4479-B3DB-8A74F7DC6FA5}" dt="2023-04-26T12:59:00.196" v="5104" actId="255"/>
        <pc:sldMkLst>
          <pc:docMk/>
          <pc:sldMk cId="2561586527" sldId="2880"/>
        </pc:sldMkLst>
        <pc:spChg chg="mod ord">
          <ac:chgData name="Dawid Janik" userId="81a947f4-3345-42c0-a461-2bf27ee4639f" providerId="ADAL" clId="{A7B4B8D9-7CBB-4479-B3DB-8A74F7DC6FA5}" dt="2023-04-26T12:42:19.234" v="2334"/>
          <ac:spMkLst>
            <pc:docMk/>
            <pc:sldMk cId="2561586527" sldId="2880"/>
            <ac:spMk id="4" creationId="{DE99B869-2665-4C6D-B991-A57813821674}"/>
          </ac:spMkLst>
        </pc:spChg>
        <pc:spChg chg="mod">
          <ac:chgData name="Dawid Janik" userId="81a947f4-3345-42c0-a461-2bf27ee4639f" providerId="ADAL" clId="{A7B4B8D9-7CBB-4479-B3DB-8A74F7DC6FA5}" dt="2023-04-26T12:59:00.196" v="5104" actId="255"/>
          <ac:spMkLst>
            <pc:docMk/>
            <pc:sldMk cId="2561586527" sldId="2880"/>
            <ac:spMk id="5" creationId="{0273C515-273B-4A52-93A2-AF69298D6266}"/>
          </ac:spMkLst>
        </pc:spChg>
        <pc:spChg chg="add del mod">
          <ac:chgData name="Dawid Janik" userId="81a947f4-3345-42c0-a461-2bf27ee4639f" providerId="ADAL" clId="{A7B4B8D9-7CBB-4479-B3DB-8A74F7DC6FA5}" dt="2023-04-26T12:40:31.406" v="2315" actId="26606"/>
          <ac:spMkLst>
            <pc:docMk/>
            <pc:sldMk cId="2561586527" sldId="2880"/>
            <ac:spMk id="6" creationId="{B3953017-58C0-4B73-BD7C-6A3501B81345}"/>
          </ac:spMkLst>
        </pc:spChg>
        <pc:spChg chg="add del mod">
          <ac:chgData name="Dawid Janik" userId="81a947f4-3345-42c0-a461-2bf27ee4639f" providerId="ADAL" clId="{A7B4B8D9-7CBB-4479-B3DB-8A74F7DC6FA5}" dt="2023-04-26T12:40:19.243" v="2298" actId="26606"/>
          <ac:spMkLst>
            <pc:docMk/>
            <pc:sldMk cId="2561586527" sldId="2880"/>
            <ac:spMk id="12" creationId="{501095BF-D3FA-E334-78C5-8D723BB347F6}"/>
          </ac:spMkLst>
        </pc:spChg>
        <pc:spChg chg="add del mod">
          <ac:chgData name="Dawid Janik" userId="81a947f4-3345-42c0-a461-2bf27ee4639f" providerId="ADAL" clId="{A7B4B8D9-7CBB-4479-B3DB-8A74F7DC6FA5}" dt="2023-04-26T12:40:24.794" v="2308" actId="26606"/>
          <ac:spMkLst>
            <pc:docMk/>
            <pc:sldMk cId="2561586527" sldId="2880"/>
            <ac:spMk id="22" creationId="{501095BF-D3FA-E334-78C5-8D723BB347F6}"/>
          </ac:spMkLst>
        </pc:spChg>
        <pc:spChg chg="add del mod">
          <ac:chgData name="Dawid Janik" userId="81a947f4-3345-42c0-a461-2bf27ee4639f" providerId="ADAL" clId="{A7B4B8D9-7CBB-4479-B3DB-8A74F7DC6FA5}" dt="2023-04-26T12:40:31.390" v="2314" actId="26606"/>
          <ac:spMkLst>
            <pc:docMk/>
            <pc:sldMk cId="2561586527" sldId="2880"/>
            <ac:spMk id="29" creationId="{B3953017-58C0-4B73-BD7C-6A3501B81345}"/>
          </ac:spMkLst>
        </pc:spChg>
        <pc:graphicFrameChg chg="add del mod">
          <ac:chgData name="Dawid Janik" userId="81a947f4-3345-42c0-a461-2bf27ee4639f" providerId="ADAL" clId="{A7B4B8D9-7CBB-4479-B3DB-8A74F7DC6FA5}" dt="2023-04-26T12:40:19.243" v="2298" actId="26606"/>
          <ac:graphicFrameMkLst>
            <pc:docMk/>
            <pc:sldMk cId="2561586527" sldId="2880"/>
            <ac:graphicFrameMk id="8" creationId="{6659BFEC-432E-BCC3-1AA6-B6F750E87089}"/>
          </ac:graphicFrameMkLst>
        </pc:graphicFrameChg>
        <pc:graphicFrameChg chg="add del mod">
          <ac:chgData name="Dawid Janik" userId="81a947f4-3345-42c0-a461-2bf27ee4639f" providerId="ADAL" clId="{A7B4B8D9-7CBB-4479-B3DB-8A74F7DC6FA5}" dt="2023-04-26T12:40:20.341" v="2300" actId="26606"/>
          <ac:graphicFrameMkLst>
            <pc:docMk/>
            <pc:sldMk cId="2561586527" sldId="2880"/>
            <ac:graphicFrameMk id="14" creationId="{D1FB28CA-BD97-1E5E-145C-40F18C2314DD}"/>
          </ac:graphicFrameMkLst>
        </pc:graphicFrameChg>
        <pc:graphicFrameChg chg="add del mod">
          <ac:chgData name="Dawid Janik" userId="81a947f4-3345-42c0-a461-2bf27ee4639f" providerId="ADAL" clId="{A7B4B8D9-7CBB-4479-B3DB-8A74F7DC6FA5}" dt="2023-04-26T12:40:22.210" v="2302" actId="26606"/>
          <ac:graphicFrameMkLst>
            <pc:docMk/>
            <pc:sldMk cId="2561586527" sldId="2880"/>
            <ac:graphicFrameMk id="16" creationId="{1632DF1F-49B2-AA2E-1C81-145FAA86D212}"/>
          </ac:graphicFrameMkLst>
        </pc:graphicFrameChg>
        <pc:graphicFrameChg chg="add del mod">
          <ac:chgData name="Dawid Janik" userId="81a947f4-3345-42c0-a461-2bf27ee4639f" providerId="ADAL" clId="{A7B4B8D9-7CBB-4479-B3DB-8A74F7DC6FA5}" dt="2023-04-26T12:40:23.528" v="2304" actId="26606"/>
          <ac:graphicFrameMkLst>
            <pc:docMk/>
            <pc:sldMk cId="2561586527" sldId="2880"/>
            <ac:graphicFrameMk id="18" creationId="{BA07A4B8-E827-99EE-62D2-6315AE0627B3}"/>
          </ac:graphicFrameMkLst>
        </pc:graphicFrameChg>
        <pc:graphicFrameChg chg="add del mod">
          <ac:chgData name="Dawid Janik" userId="81a947f4-3345-42c0-a461-2bf27ee4639f" providerId="ADAL" clId="{A7B4B8D9-7CBB-4479-B3DB-8A74F7DC6FA5}" dt="2023-04-26T12:40:24.330" v="2306" actId="26606"/>
          <ac:graphicFrameMkLst>
            <pc:docMk/>
            <pc:sldMk cId="2561586527" sldId="2880"/>
            <ac:graphicFrameMk id="20" creationId="{2960BB7F-6772-CF49-4F97-595F9F1B5858}"/>
          </ac:graphicFrameMkLst>
        </pc:graphicFrameChg>
        <pc:graphicFrameChg chg="add del mod">
          <ac:chgData name="Dawid Janik" userId="81a947f4-3345-42c0-a461-2bf27ee4639f" providerId="ADAL" clId="{A7B4B8D9-7CBB-4479-B3DB-8A74F7DC6FA5}" dt="2023-04-26T12:40:24.794" v="2308" actId="26606"/>
          <ac:graphicFrameMkLst>
            <pc:docMk/>
            <pc:sldMk cId="2561586527" sldId="2880"/>
            <ac:graphicFrameMk id="23" creationId="{6659BFEC-432E-BCC3-1AA6-B6F750E87089}"/>
          </ac:graphicFrameMkLst>
        </pc:graphicFrameChg>
        <pc:graphicFrameChg chg="add del mod">
          <ac:chgData name="Dawid Janik" userId="81a947f4-3345-42c0-a461-2bf27ee4639f" providerId="ADAL" clId="{A7B4B8D9-7CBB-4479-B3DB-8A74F7DC6FA5}" dt="2023-04-26T12:40:25.761" v="2310" actId="26606"/>
          <ac:graphicFrameMkLst>
            <pc:docMk/>
            <pc:sldMk cId="2561586527" sldId="2880"/>
            <ac:graphicFrameMk id="25" creationId="{D1FB28CA-BD97-1E5E-145C-40F18C2314DD}"/>
          </ac:graphicFrameMkLst>
        </pc:graphicFrameChg>
        <pc:graphicFrameChg chg="add del mod">
          <ac:chgData name="Dawid Janik" userId="81a947f4-3345-42c0-a461-2bf27ee4639f" providerId="ADAL" clId="{A7B4B8D9-7CBB-4479-B3DB-8A74F7DC6FA5}" dt="2023-04-26T12:40:29.451" v="2312" actId="26606"/>
          <ac:graphicFrameMkLst>
            <pc:docMk/>
            <pc:sldMk cId="2561586527" sldId="2880"/>
            <ac:graphicFrameMk id="27" creationId="{2AFB3DA8-85AA-4195-FFD7-8DBF566AFDD5}"/>
          </ac:graphicFrameMkLst>
        </pc:graphicFrameChg>
        <pc:graphicFrameChg chg="add mod">
          <ac:chgData name="Dawid Janik" userId="81a947f4-3345-42c0-a461-2bf27ee4639f" providerId="ADAL" clId="{A7B4B8D9-7CBB-4479-B3DB-8A74F7DC6FA5}" dt="2023-04-26T12:40:45.378" v="2326" actId="20577"/>
          <ac:graphicFrameMkLst>
            <pc:docMk/>
            <pc:sldMk cId="2561586527" sldId="2880"/>
            <ac:graphicFrameMk id="31" creationId="{D1FB28CA-BD97-1E5E-145C-40F18C2314DD}"/>
          </ac:graphicFrameMkLst>
        </pc:graphicFrameChg>
      </pc:sldChg>
      <pc:sldChg chg="del">
        <pc:chgData name="Dawid Janik" userId="81a947f4-3345-42c0-a461-2bf27ee4639f" providerId="ADAL" clId="{A7B4B8D9-7CBB-4479-B3DB-8A74F7DC6FA5}" dt="2023-04-26T10:23:02.619" v="1400" actId="47"/>
        <pc:sldMkLst>
          <pc:docMk/>
          <pc:sldMk cId="2835097437" sldId="2890"/>
        </pc:sldMkLst>
      </pc:sldChg>
      <pc:sldChg chg="addSp delSp modSp mod modTransition">
        <pc:chgData name="Dawid Janik" userId="81a947f4-3345-42c0-a461-2bf27ee4639f" providerId="ADAL" clId="{A7B4B8D9-7CBB-4479-B3DB-8A74F7DC6FA5}" dt="2023-05-03T13:26:29.517" v="9058"/>
        <pc:sldMkLst>
          <pc:docMk/>
          <pc:sldMk cId="1303653633" sldId="2896"/>
        </pc:sldMkLst>
        <pc:spChg chg="add mod">
          <ac:chgData name="Dawid Janik" userId="81a947f4-3345-42c0-a461-2bf27ee4639f" providerId="ADAL" clId="{A7B4B8D9-7CBB-4479-B3DB-8A74F7DC6FA5}" dt="2023-05-02T12:14:37.723" v="7861" actId="1076"/>
          <ac:spMkLst>
            <pc:docMk/>
            <pc:sldMk cId="1303653633" sldId="2896"/>
            <ac:spMk id="3" creationId="{0109081B-6DEB-92F3-C40C-42B3B0CAC3C5}"/>
          </ac:spMkLst>
        </pc:spChg>
        <pc:spChg chg="mod">
          <ac:chgData name="Dawid Janik" userId="81a947f4-3345-42c0-a461-2bf27ee4639f" providerId="ADAL" clId="{A7B4B8D9-7CBB-4479-B3DB-8A74F7DC6FA5}" dt="2023-04-26T12:42:19.234" v="2334"/>
          <ac:spMkLst>
            <pc:docMk/>
            <pc:sldMk cId="1303653633" sldId="2896"/>
            <ac:spMk id="4" creationId="{D2D8B72F-FFBC-765B-03EA-28851077C424}"/>
          </ac:spMkLst>
        </pc:spChg>
        <pc:spChg chg="mod">
          <ac:chgData name="Dawid Janik" userId="81a947f4-3345-42c0-a461-2bf27ee4639f" providerId="ADAL" clId="{A7B4B8D9-7CBB-4479-B3DB-8A74F7DC6FA5}" dt="2023-04-26T12:42:19.551" v="2338" actId="27636"/>
          <ac:spMkLst>
            <pc:docMk/>
            <pc:sldMk cId="1303653633" sldId="2896"/>
            <ac:spMk id="5" creationId="{46038FB7-675A-432D-0796-C0AF3BBB48A7}"/>
          </ac:spMkLst>
        </pc:spChg>
        <pc:graphicFrameChg chg="add mod">
          <ac:chgData name="Dawid Janik" userId="81a947f4-3345-42c0-a461-2bf27ee4639f" providerId="ADAL" clId="{A7B4B8D9-7CBB-4479-B3DB-8A74F7DC6FA5}" dt="2023-05-02T12:23:07.271" v="8202" actId="1076"/>
          <ac:graphicFrameMkLst>
            <pc:docMk/>
            <pc:sldMk cId="1303653633" sldId="2896"/>
            <ac:graphicFrameMk id="2" creationId="{DFAE901E-D395-0F86-5A6C-7E7C64FFF2B8}"/>
          </ac:graphicFrameMkLst>
        </pc:graphicFrameChg>
        <pc:graphicFrameChg chg="add del mod modGraphic">
          <ac:chgData name="Dawid Janik" userId="81a947f4-3345-42c0-a461-2bf27ee4639f" providerId="ADAL" clId="{A7B4B8D9-7CBB-4479-B3DB-8A74F7DC6FA5}" dt="2023-05-02T10:48:50.403" v="7569" actId="478"/>
          <ac:graphicFrameMkLst>
            <pc:docMk/>
            <pc:sldMk cId="1303653633" sldId="2896"/>
            <ac:graphicFrameMk id="2" creationId="{E91E01C9-F522-0E45-847B-779CB6487C86}"/>
          </ac:graphicFrameMkLst>
        </pc:graphicFrameChg>
        <pc:graphicFrameChg chg="add mod">
          <ac:chgData name="Dawid Janik" userId="81a947f4-3345-42c0-a461-2bf27ee4639f" providerId="ADAL" clId="{A7B4B8D9-7CBB-4479-B3DB-8A74F7DC6FA5}" dt="2023-05-02T11:49:32.687" v="7776" actId="1076"/>
          <ac:graphicFrameMkLst>
            <pc:docMk/>
            <pc:sldMk cId="1303653633" sldId="2896"/>
            <ac:graphicFrameMk id="7" creationId="{38A8AF42-E64B-C0BC-F353-1D835092E197}"/>
          </ac:graphicFrameMkLst>
        </pc:graphicFrameChg>
        <pc:graphicFrameChg chg="add mod">
          <ac:chgData name="Dawid Janik" userId="81a947f4-3345-42c0-a461-2bf27ee4639f" providerId="ADAL" clId="{A7B4B8D9-7CBB-4479-B3DB-8A74F7DC6FA5}" dt="2023-05-03T12:50:24.475" v="8880" actId="2085"/>
          <ac:graphicFrameMkLst>
            <pc:docMk/>
            <pc:sldMk cId="1303653633" sldId="2896"/>
            <ac:graphicFrameMk id="8" creationId="{FE82502A-3D12-CAF7-9BD3-55519D32D555}"/>
          </ac:graphicFrameMkLst>
        </pc:graphicFrameChg>
        <pc:picChg chg="del">
          <ac:chgData name="Dawid Janik" userId="81a947f4-3345-42c0-a461-2bf27ee4639f" providerId="ADAL" clId="{A7B4B8D9-7CBB-4479-B3DB-8A74F7DC6FA5}" dt="2023-04-26T12:08:16.392" v="2007" actId="478"/>
          <ac:picMkLst>
            <pc:docMk/>
            <pc:sldMk cId="1303653633" sldId="2896"/>
            <ac:picMk id="8" creationId="{D37BA4D5-D534-ACB8-3BD0-677A36A75768}"/>
          </ac:picMkLst>
        </pc:picChg>
        <pc:picChg chg="add del mod">
          <ac:chgData name="Dawid Janik" userId="81a947f4-3345-42c0-a461-2bf27ee4639f" providerId="ADAL" clId="{A7B4B8D9-7CBB-4479-B3DB-8A74F7DC6FA5}" dt="2023-05-03T12:50:15.161" v="8876" actId="478"/>
          <ac:picMkLst>
            <pc:docMk/>
            <pc:sldMk cId="1303653633" sldId="2896"/>
            <ac:picMk id="2049" creationId="{0B25F762-83E9-B4A4-A9A8-076519EF6F50}"/>
          </ac:picMkLst>
        </pc:picChg>
      </pc:sldChg>
      <pc:sldChg chg="modSp del">
        <pc:chgData name="Dawid Janik" userId="81a947f4-3345-42c0-a461-2bf27ee4639f" providerId="ADAL" clId="{A7B4B8D9-7CBB-4479-B3DB-8A74F7DC6FA5}" dt="2023-04-26T12:47:58.875" v="2373" actId="47"/>
        <pc:sldMkLst>
          <pc:docMk/>
          <pc:sldMk cId="1501911350" sldId="2898"/>
        </pc:sldMkLst>
        <pc:spChg chg="mod">
          <ac:chgData name="Dawid Janik" userId="81a947f4-3345-42c0-a461-2bf27ee4639f" providerId="ADAL" clId="{A7B4B8D9-7CBB-4479-B3DB-8A74F7DC6FA5}" dt="2023-04-26T12:42:19.234" v="2334"/>
          <ac:spMkLst>
            <pc:docMk/>
            <pc:sldMk cId="1501911350" sldId="2898"/>
            <ac:spMk id="4" creationId="{A1B2677C-2C32-DFB7-0202-9F52FB53B750}"/>
          </ac:spMkLst>
        </pc:spChg>
      </pc:sldChg>
      <pc:sldChg chg="modSp del">
        <pc:chgData name="Dawid Janik" userId="81a947f4-3345-42c0-a461-2bf27ee4639f" providerId="ADAL" clId="{A7B4B8D9-7CBB-4479-B3DB-8A74F7DC6FA5}" dt="2023-04-26T12:47:55.771" v="2367" actId="47"/>
        <pc:sldMkLst>
          <pc:docMk/>
          <pc:sldMk cId="3200011237" sldId="2900"/>
        </pc:sldMkLst>
        <pc:spChg chg="mod">
          <ac:chgData name="Dawid Janik" userId="81a947f4-3345-42c0-a461-2bf27ee4639f" providerId="ADAL" clId="{A7B4B8D9-7CBB-4479-B3DB-8A74F7DC6FA5}" dt="2023-04-26T12:42:19.234" v="2334"/>
          <ac:spMkLst>
            <pc:docMk/>
            <pc:sldMk cId="3200011237" sldId="2900"/>
            <ac:spMk id="4" creationId="{37B3156C-964A-0A54-D71E-271E1DAEB811}"/>
          </ac:spMkLst>
        </pc:spChg>
      </pc:sldChg>
      <pc:sldChg chg="modSp del mod">
        <pc:chgData name="Dawid Janik" userId="81a947f4-3345-42c0-a461-2bf27ee4639f" providerId="ADAL" clId="{A7B4B8D9-7CBB-4479-B3DB-8A74F7DC6FA5}" dt="2023-04-26T12:47:58.535" v="2372" actId="47"/>
        <pc:sldMkLst>
          <pc:docMk/>
          <pc:sldMk cId="1994188391" sldId="2901"/>
        </pc:sldMkLst>
        <pc:spChg chg="mod">
          <ac:chgData name="Dawid Janik" userId="81a947f4-3345-42c0-a461-2bf27ee4639f" providerId="ADAL" clId="{A7B4B8D9-7CBB-4479-B3DB-8A74F7DC6FA5}" dt="2023-04-26T12:42:19.620" v="2347" actId="27636"/>
          <ac:spMkLst>
            <pc:docMk/>
            <pc:sldMk cId="1994188391" sldId="2901"/>
            <ac:spMk id="2" creationId="{8EEDAC2E-F15E-B79F-9619-C10F38F0CAD7}"/>
          </ac:spMkLst>
        </pc:spChg>
        <pc:spChg chg="mod">
          <ac:chgData name="Dawid Janik" userId="81a947f4-3345-42c0-a461-2bf27ee4639f" providerId="ADAL" clId="{A7B4B8D9-7CBB-4479-B3DB-8A74F7DC6FA5}" dt="2023-04-26T12:42:19.234" v="2334"/>
          <ac:spMkLst>
            <pc:docMk/>
            <pc:sldMk cId="1994188391" sldId="2901"/>
            <ac:spMk id="4" creationId="{E34EF0B1-4A00-A6A8-930C-46A85023FB63}"/>
          </ac:spMkLst>
        </pc:spChg>
      </pc:sldChg>
      <pc:sldChg chg="addSp delSp modSp mod modTransition setBg">
        <pc:chgData name="Dawid Janik" userId="81a947f4-3345-42c0-a461-2bf27ee4639f" providerId="ADAL" clId="{A7B4B8D9-7CBB-4479-B3DB-8A74F7DC6FA5}" dt="2023-05-02T13:47:24.283" v="8805" actId="20577"/>
        <pc:sldMkLst>
          <pc:docMk/>
          <pc:sldMk cId="1468761031" sldId="4084"/>
        </pc:sldMkLst>
        <pc:spChg chg="add del mod">
          <ac:chgData name="Dawid Janik" userId="81a947f4-3345-42c0-a461-2bf27ee4639f" providerId="ADAL" clId="{A7B4B8D9-7CBB-4479-B3DB-8A74F7DC6FA5}" dt="2023-04-26T09:53:17.689" v="867" actId="478"/>
          <ac:spMkLst>
            <pc:docMk/>
            <pc:sldMk cId="1468761031" sldId="4084"/>
            <ac:spMk id="5" creationId="{7F40205C-8BD0-ABFE-3059-4E3538B72DE3}"/>
          </ac:spMkLst>
        </pc:spChg>
        <pc:spChg chg="add mod">
          <ac:chgData name="Dawid Janik" userId="81a947f4-3345-42c0-a461-2bf27ee4639f" providerId="ADAL" clId="{A7B4B8D9-7CBB-4479-B3DB-8A74F7DC6FA5}" dt="2023-05-02T11:17:21.840" v="7775" actId="20577"/>
          <ac:spMkLst>
            <pc:docMk/>
            <pc:sldMk cId="1468761031" sldId="4084"/>
            <ac:spMk id="7" creationId="{A51B1E21-7A77-F7CA-8142-785DFD3B3FBD}"/>
          </ac:spMkLst>
        </pc:spChg>
        <pc:spChg chg="add mod">
          <ac:chgData name="Dawid Janik" userId="81a947f4-3345-42c0-a461-2bf27ee4639f" providerId="ADAL" clId="{A7B4B8D9-7CBB-4479-B3DB-8A74F7DC6FA5}" dt="2023-05-02T13:47:24.283" v="8805" actId="20577"/>
          <ac:spMkLst>
            <pc:docMk/>
            <pc:sldMk cId="1468761031" sldId="4084"/>
            <ac:spMk id="9" creationId="{EFD17DF9-9D8C-6BDC-E89B-434D1C846D77}"/>
          </ac:spMkLst>
        </pc:spChg>
        <pc:spChg chg="add mod">
          <ac:chgData name="Dawid Janik" userId="81a947f4-3345-42c0-a461-2bf27ee4639f" providerId="ADAL" clId="{A7B4B8D9-7CBB-4479-B3DB-8A74F7DC6FA5}" dt="2023-05-02T12:34:18.794" v="8511" actId="20577"/>
          <ac:spMkLst>
            <pc:docMk/>
            <pc:sldMk cId="1468761031" sldId="4084"/>
            <ac:spMk id="10" creationId="{16C47392-DCC6-A4AF-F38D-9229C89D1A15}"/>
          </ac:spMkLst>
        </pc:spChg>
        <pc:spChg chg="add mod">
          <ac:chgData name="Dawid Janik" userId="81a947f4-3345-42c0-a461-2bf27ee4639f" providerId="ADAL" clId="{A7B4B8D9-7CBB-4479-B3DB-8A74F7DC6FA5}" dt="2023-05-02T12:34:24.505" v="8515" actId="20577"/>
          <ac:spMkLst>
            <pc:docMk/>
            <pc:sldMk cId="1468761031" sldId="4084"/>
            <ac:spMk id="11" creationId="{A4FD3847-C17E-B8F1-B131-F1C3E1AEF4F6}"/>
          </ac:spMkLst>
        </pc:spChg>
        <pc:spChg chg="add mod">
          <ac:chgData name="Dawid Janik" userId="81a947f4-3345-42c0-a461-2bf27ee4639f" providerId="ADAL" clId="{A7B4B8D9-7CBB-4479-B3DB-8A74F7DC6FA5}" dt="2023-04-26T13:06:02.894" v="7350" actId="12"/>
          <ac:spMkLst>
            <pc:docMk/>
            <pc:sldMk cId="1468761031" sldId="4084"/>
            <ac:spMk id="13" creationId="{D2A6B8D2-624F-9560-C8F6-9B5B5D4CE946}"/>
          </ac:spMkLst>
        </pc:spChg>
        <pc:spChg chg="del mod">
          <ac:chgData name="Dawid Janik" userId="81a947f4-3345-42c0-a461-2bf27ee4639f" providerId="ADAL" clId="{A7B4B8D9-7CBB-4479-B3DB-8A74F7DC6FA5}" dt="2023-04-24T12:03:23.436" v="572"/>
          <ac:spMkLst>
            <pc:docMk/>
            <pc:sldMk cId="1468761031" sldId="4084"/>
            <ac:spMk id="206" creationId="{7F77DBB9-BF8E-4B68-B489-3A480081B9AA}"/>
          </ac:spMkLst>
        </pc:spChg>
        <pc:spChg chg="mod">
          <ac:chgData name="Dawid Janik" userId="81a947f4-3345-42c0-a461-2bf27ee4639f" providerId="ADAL" clId="{A7B4B8D9-7CBB-4479-B3DB-8A74F7DC6FA5}" dt="2023-04-26T13:06:11.566" v="7351" actId="1076"/>
          <ac:spMkLst>
            <pc:docMk/>
            <pc:sldMk cId="1468761031" sldId="4084"/>
            <ac:spMk id="207" creationId="{22F9CE32-447B-4F4D-8C7B-95F76C035BB1}"/>
          </ac:spMkLst>
        </pc:spChg>
        <pc:picChg chg="del mod">
          <ac:chgData name="Dawid Janik" userId="81a947f4-3345-42c0-a461-2bf27ee4639f" providerId="ADAL" clId="{A7B4B8D9-7CBB-4479-B3DB-8A74F7DC6FA5}" dt="2023-04-26T09:53:13.769" v="866" actId="478"/>
          <ac:picMkLst>
            <pc:docMk/>
            <pc:sldMk cId="1468761031" sldId="4084"/>
            <ac:picMk id="4" creationId="{0919409D-1317-5C9E-DDD3-3D7582E281B8}"/>
          </ac:picMkLst>
        </pc:picChg>
        <pc:picChg chg="add del">
          <ac:chgData name="Dawid Janik" userId="81a947f4-3345-42c0-a461-2bf27ee4639f" providerId="ADAL" clId="{A7B4B8D9-7CBB-4479-B3DB-8A74F7DC6FA5}" dt="2023-04-26T13:03:46.542" v="7303" actId="478"/>
          <ac:picMkLst>
            <pc:docMk/>
            <pc:sldMk cId="1468761031" sldId="4084"/>
            <ac:picMk id="1026" creationId="{D95600CD-03C3-EDD4-DC8B-DFD3755D3FF8}"/>
          </ac:picMkLst>
        </pc:picChg>
      </pc:sldChg>
      <pc:sldChg chg="addSp delSp modSp mod modTransition">
        <pc:chgData name="Dawid Janik" userId="81a947f4-3345-42c0-a461-2bf27ee4639f" providerId="ADAL" clId="{A7B4B8D9-7CBB-4479-B3DB-8A74F7DC6FA5}" dt="2023-05-05T12:35:23.745" v="9758" actId="1076"/>
        <pc:sldMkLst>
          <pc:docMk/>
          <pc:sldMk cId="1464430320" sldId="4087"/>
        </pc:sldMkLst>
        <pc:spChg chg="mod">
          <ac:chgData name="Dawid Janik" userId="81a947f4-3345-42c0-a461-2bf27ee4639f" providerId="ADAL" clId="{A7B4B8D9-7CBB-4479-B3DB-8A74F7DC6FA5}" dt="2023-05-03T12:42:59.714" v="8846" actId="1076"/>
          <ac:spMkLst>
            <pc:docMk/>
            <pc:sldMk cId="1464430320" sldId="4087"/>
            <ac:spMk id="2" creationId="{FCB2BE31-96F6-E7E8-A043-2B3908624B8A}"/>
          </ac:spMkLst>
        </pc:spChg>
        <pc:spChg chg="mod">
          <ac:chgData name="Dawid Janik" userId="81a947f4-3345-42c0-a461-2bf27ee4639f" providerId="ADAL" clId="{A7B4B8D9-7CBB-4479-B3DB-8A74F7DC6FA5}" dt="2023-04-26T12:42:19.234" v="2334"/>
          <ac:spMkLst>
            <pc:docMk/>
            <pc:sldMk cId="1464430320" sldId="4087"/>
            <ac:spMk id="4" creationId="{3DEFBBFE-829F-D339-3D89-3FACEF49E5AC}"/>
          </ac:spMkLst>
        </pc:spChg>
        <pc:graphicFrameChg chg="add del mod modGraphic">
          <ac:chgData name="Dawid Janik" userId="81a947f4-3345-42c0-a461-2bf27ee4639f" providerId="ADAL" clId="{A7B4B8D9-7CBB-4479-B3DB-8A74F7DC6FA5}" dt="2023-05-02T11:03:11.034" v="7738" actId="478"/>
          <ac:graphicFrameMkLst>
            <pc:docMk/>
            <pc:sldMk cId="1464430320" sldId="4087"/>
            <ac:graphicFrameMk id="3" creationId="{11B71FF3-0F0F-9CDB-5A7A-64A7A305D5F0}"/>
          </ac:graphicFrameMkLst>
        </pc:graphicFrameChg>
        <pc:graphicFrameChg chg="add del mod modGraphic">
          <ac:chgData name="Dawid Janik" userId="81a947f4-3345-42c0-a461-2bf27ee4639f" providerId="ADAL" clId="{A7B4B8D9-7CBB-4479-B3DB-8A74F7DC6FA5}" dt="2023-04-26T11:50:35.199" v="1526" actId="478"/>
          <ac:graphicFrameMkLst>
            <pc:docMk/>
            <pc:sldMk cId="1464430320" sldId="4087"/>
            <ac:graphicFrameMk id="3" creationId="{63583AE7-68A7-E0D5-049D-6DEAA432273C}"/>
          </ac:graphicFrameMkLst>
        </pc:graphicFrameChg>
        <pc:graphicFrameChg chg="add mod">
          <ac:chgData name="Dawid Janik" userId="81a947f4-3345-42c0-a461-2bf27ee4639f" providerId="ADAL" clId="{A7B4B8D9-7CBB-4479-B3DB-8A74F7DC6FA5}" dt="2023-05-05T12:35:23.745" v="9758" actId="1076"/>
          <ac:graphicFrameMkLst>
            <pc:docMk/>
            <pc:sldMk cId="1464430320" sldId="4087"/>
            <ac:graphicFrameMk id="3" creationId="{6C015335-60A9-473D-BAB2-43F42FF79631}"/>
          </ac:graphicFrameMkLst>
        </pc:graphicFrameChg>
        <pc:graphicFrameChg chg="add mod modGraphic">
          <ac:chgData name="Dawid Janik" userId="81a947f4-3345-42c0-a461-2bf27ee4639f" providerId="ADAL" clId="{A7B4B8D9-7CBB-4479-B3DB-8A74F7DC6FA5}" dt="2023-05-05T12:35:20.721" v="9757" actId="1076"/>
          <ac:graphicFrameMkLst>
            <pc:docMk/>
            <pc:sldMk cId="1464430320" sldId="4087"/>
            <ac:graphicFrameMk id="5" creationId="{21ECC11B-A183-E7DD-7698-AE36E3FD2F76}"/>
          </ac:graphicFrameMkLst>
        </pc:graphicFrameChg>
        <pc:graphicFrameChg chg="add del mod modGraphic">
          <ac:chgData name="Dawid Janik" userId="81a947f4-3345-42c0-a461-2bf27ee4639f" providerId="ADAL" clId="{A7B4B8D9-7CBB-4479-B3DB-8A74F7DC6FA5}" dt="2023-05-02T08:31:12.760" v="7475" actId="478"/>
          <ac:graphicFrameMkLst>
            <pc:docMk/>
            <pc:sldMk cId="1464430320" sldId="4087"/>
            <ac:graphicFrameMk id="5" creationId="{98CB79FB-180B-2C4A-C225-1807435159DC}"/>
          </ac:graphicFrameMkLst>
        </pc:graphicFrameChg>
        <pc:picChg chg="del">
          <ac:chgData name="Dawid Janik" userId="81a947f4-3345-42c0-a461-2bf27ee4639f" providerId="ADAL" clId="{A7B4B8D9-7CBB-4479-B3DB-8A74F7DC6FA5}" dt="2023-04-26T10:22:59.022" v="1399" actId="478"/>
          <ac:picMkLst>
            <pc:docMk/>
            <pc:sldMk cId="1464430320" sldId="4087"/>
            <ac:picMk id="5" creationId="{13CE515C-6B64-139F-C4AB-732593929AC7}"/>
          </ac:picMkLst>
        </pc:picChg>
        <pc:picChg chg="add del mod">
          <ac:chgData name="Dawid Janik" userId="81a947f4-3345-42c0-a461-2bf27ee4639f" providerId="ADAL" clId="{A7B4B8D9-7CBB-4479-B3DB-8A74F7DC6FA5}" dt="2023-05-02T08:31:25.400" v="7479" actId="478"/>
          <ac:picMkLst>
            <pc:docMk/>
            <pc:sldMk cId="1464430320" sldId="4087"/>
            <ac:picMk id="1025" creationId="{5DD661A8-604A-F0CF-11BF-814B3736860D}"/>
          </ac:picMkLst>
        </pc:picChg>
        <pc:picChg chg="add del mod">
          <ac:chgData name="Dawid Janik" userId="81a947f4-3345-42c0-a461-2bf27ee4639f" providerId="ADAL" clId="{A7B4B8D9-7CBB-4479-B3DB-8A74F7DC6FA5}" dt="2023-05-03T12:42:46.059" v="8840" actId="478"/>
          <ac:picMkLst>
            <pc:docMk/>
            <pc:sldMk cId="1464430320" sldId="4087"/>
            <ac:picMk id="4097" creationId="{C44C93B6-67D8-123C-3B80-E2649F347D49}"/>
          </ac:picMkLst>
        </pc:picChg>
      </pc:sldChg>
      <pc:sldChg chg="modSp del mod">
        <pc:chgData name="Dawid Janik" userId="81a947f4-3345-42c0-a461-2bf27ee4639f" providerId="ADAL" clId="{A7B4B8D9-7CBB-4479-B3DB-8A74F7DC6FA5}" dt="2023-04-26T12:47:58.218" v="2371" actId="47"/>
        <pc:sldMkLst>
          <pc:docMk/>
          <pc:sldMk cId="941718428" sldId="4088"/>
        </pc:sldMkLst>
        <pc:spChg chg="mod">
          <ac:chgData name="Dawid Janik" userId="81a947f4-3345-42c0-a461-2bf27ee4639f" providerId="ADAL" clId="{A7B4B8D9-7CBB-4479-B3DB-8A74F7DC6FA5}" dt="2023-04-26T12:42:19.620" v="2346" actId="27636"/>
          <ac:spMkLst>
            <pc:docMk/>
            <pc:sldMk cId="941718428" sldId="4088"/>
            <ac:spMk id="2" creationId="{CF04DB44-42D0-7DDA-052D-69EE10190E3D}"/>
          </ac:spMkLst>
        </pc:spChg>
        <pc:spChg chg="mod">
          <ac:chgData name="Dawid Janik" userId="81a947f4-3345-42c0-a461-2bf27ee4639f" providerId="ADAL" clId="{A7B4B8D9-7CBB-4479-B3DB-8A74F7DC6FA5}" dt="2023-04-26T12:42:19.234" v="2334"/>
          <ac:spMkLst>
            <pc:docMk/>
            <pc:sldMk cId="941718428" sldId="4088"/>
            <ac:spMk id="4" creationId="{289C02AD-DF25-0292-B4AE-A196E2D3D8AB}"/>
          </ac:spMkLst>
        </pc:spChg>
      </pc:sldChg>
      <pc:sldChg chg="addSp delSp modSp mod modTransition">
        <pc:chgData name="Dawid Janik" userId="81a947f4-3345-42c0-a461-2bf27ee4639f" providerId="ADAL" clId="{A7B4B8D9-7CBB-4479-B3DB-8A74F7DC6FA5}" dt="2023-05-07T11:18:34.809" v="10160" actId="14734"/>
        <pc:sldMkLst>
          <pc:docMk/>
          <pc:sldMk cId="2774137710" sldId="4091"/>
        </pc:sldMkLst>
        <pc:spChg chg="add del mod">
          <ac:chgData name="Dawid Janik" userId="81a947f4-3345-42c0-a461-2bf27ee4639f" providerId="ADAL" clId="{A7B4B8D9-7CBB-4479-B3DB-8A74F7DC6FA5}" dt="2023-04-26T10:00:23.384" v="1227" actId="478"/>
          <ac:spMkLst>
            <pc:docMk/>
            <pc:sldMk cId="2774137710" sldId="4091"/>
            <ac:spMk id="5" creationId="{44DDB406-51C4-F5FA-0668-46F348C28B9D}"/>
          </ac:spMkLst>
        </pc:spChg>
        <pc:spChg chg="del mod">
          <ac:chgData name="Dawid Janik" userId="81a947f4-3345-42c0-a461-2bf27ee4639f" providerId="ADAL" clId="{A7B4B8D9-7CBB-4479-B3DB-8A74F7DC6FA5}" dt="2023-04-26T10:04:10.237" v="1267"/>
          <ac:spMkLst>
            <pc:docMk/>
            <pc:sldMk cId="2774137710" sldId="4091"/>
            <ac:spMk id="6" creationId="{89851F52-88DC-F463-3409-A596E2E03FE7}"/>
          </ac:spMkLst>
        </pc:spChg>
        <pc:spChg chg="add mod">
          <ac:chgData name="Dawid Janik" userId="81a947f4-3345-42c0-a461-2bf27ee4639f" providerId="ADAL" clId="{A7B4B8D9-7CBB-4479-B3DB-8A74F7DC6FA5}" dt="2023-05-05T09:53:11.083" v="9155" actId="1076"/>
          <ac:spMkLst>
            <pc:docMk/>
            <pc:sldMk cId="2774137710" sldId="4091"/>
            <ac:spMk id="8" creationId="{0DE9C986-642D-7F4C-10FA-BF7896D9FD5E}"/>
          </ac:spMkLst>
        </pc:spChg>
        <pc:graphicFrameChg chg="add mod">
          <ac:chgData name="Dawid Janik" userId="81a947f4-3345-42c0-a461-2bf27ee4639f" providerId="ADAL" clId="{A7B4B8D9-7CBB-4479-B3DB-8A74F7DC6FA5}" dt="2023-05-05T12:34:14.012" v="9755" actId="1076"/>
          <ac:graphicFrameMkLst>
            <pc:docMk/>
            <pc:sldMk cId="2774137710" sldId="4091"/>
            <ac:graphicFrameMk id="3" creationId="{35E22E7F-DFBC-ADB1-BE58-70DDB760D012}"/>
          </ac:graphicFrameMkLst>
        </pc:graphicFrameChg>
        <pc:graphicFrameChg chg="add del mod">
          <ac:chgData name="Dawid Janik" userId="81a947f4-3345-42c0-a461-2bf27ee4639f" providerId="ADAL" clId="{A7B4B8D9-7CBB-4479-B3DB-8A74F7DC6FA5}" dt="2023-05-02T07:55:52.580" v="7382" actId="478"/>
          <ac:graphicFrameMkLst>
            <pc:docMk/>
            <pc:sldMk cId="2774137710" sldId="4091"/>
            <ac:graphicFrameMk id="3" creationId="{CC513F1F-40E3-0C6B-5830-F60605ED6D17}"/>
          </ac:graphicFrameMkLst>
        </pc:graphicFrameChg>
        <pc:graphicFrameChg chg="add mod modGraphic">
          <ac:chgData name="Dawid Janik" userId="81a947f4-3345-42c0-a461-2bf27ee4639f" providerId="ADAL" clId="{A7B4B8D9-7CBB-4479-B3DB-8A74F7DC6FA5}" dt="2023-05-07T11:18:34.809" v="10160" actId="14734"/>
          <ac:graphicFrameMkLst>
            <pc:docMk/>
            <pc:sldMk cId="2774137710" sldId="4091"/>
            <ac:graphicFrameMk id="4" creationId="{EEBDFE58-3FB7-DB2A-624B-0214EC5783B3}"/>
          </ac:graphicFrameMkLst>
        </pc:graphicFrameChg>
        <pc:graphicFrameChg chg="add del mod">
          <ac:chgData name="Dawid Janik" userId="81a947f4-3345-42c0-a461-2bf27ee4639f" providerId="ADAL" clId="{A7B4B8D9-7CBB-4479-B3DB-8A74F7DC6FA5}" dt="2023-04-26T10:17:42.220" v="1311" actId="478"/>
          <ac:graphicFrameMkLst>
            <pc:docMk/>
            <pc:sldMk cId="2774137710" sldId="4091"/>
            <ac:graphicFrameMk id="9" creationId="{96C6F9E1-3040-9B8E-7587-0754C81CF405}"/>
          </ac:graphicFrameMkLst>
        </pc:graphicFrameChg>
        <pc:graphicFrameChg chg="add del mod modGraphic">
          <ac:chgData name="Dawid Janik" userId="81a947f4-3345-42c0-a461-2bf27ee4639f" providerId="ADAL" clId="{A7B4B8D9-7CBB-4479-B3DB-8A74F7DC6FA5}" dt="2023-05-02T07:54:10.322" v="7376" actId="478"/>
          <ac:graphicFrameMkLst>
            <pc:docMk/>
            <pc:sldMk cId="2774137710" sldId="4091"/>
            <ac:graphicFrameMk id="10" creationId="{EB17FD5B-AF79-CC1F-B99E-CFE331E16559}"/>
          </ac:graphicFrameMkLst>
        </pc:graphicFrameChg>
        <pc:picChg chg="del">
          <ac:chgData name="Dawid Janik" userId="81a947f4-3345-42c0-a461-2bf27ee4639f" providerId="ADAL" clId="{A7B4B8D9-7CBB-4479-B3DB-8A74F7DC6FA5}" dt="2023-04-26T10:00:18.315" v="1224" actId="478"/>
          <ac:picMkLst>
            <pc:docMk/>
            <pc:sldMk cId="2774137710" sldId="4091"/>
            <ac:picMk id="4" creationId="{0919409D-1317-5C9E-DDD3-3D7582E281B8}"/>
          </ac:picMkLst>
        </pc:picChg>
        <pc:picChg chg="add del mod">
          <ac:chgData name="Dawid Janik" userId="81a947f4-3345-42c0-a461-2bf27ee4639f" providerId="ADAL" clId="{A7B4B8D9-7CBB-4479-B3DB-8A74F7DC6FA5}" dt="2023-05-03T12:06:25.094" v="8818" actId="478"/>
          <ac:picMkLst>
            <pc:docMk/>
            <pc:sldMk cId="2774137710" sldId="4091"/>
            <ac:picMk id="1025" creationId="{65871AC9-0112-4F23-E4A3-A2F03B4FB13C}"/>
          </ac:picMkLst>
        </pc:picChg>
        <pc:picChg chg="add del">
          <ac:chgData name="Dawid Janik" userId="81a947f4-3345-42c0-a461-2bf27ee4639f" providerId="ADAL" clId="{A7B4B8D9-7CBB-4479-B3DB-8A74F7DC6FA5}" dt="2023-05-05T09:53:06.227" v="9154" actId="478"/>
          <ac:picMkLst>
            <pc:docMk/>
            <pc:sldMk cId="2774137710" sldId="4091"/>
            <ac:picMk id="1026" creationId="{D95600CD-03C3-EDD4-DC8B-DFD3755D3FF8}"/>
          </ac:picMkLst>
        </pc:picChg>
        <pc:picChg chg="add del mod">
          <ac:chgData name="Dawid Janik" userId="81a947f4-3345-42c0-a461-2bf27ee4639f" providerId="ADAL" clId="{A7B4B8D9-7CBB-4479-B3DB-8A74F7DC6FA5}" dt="2023-05-02T07:54:27.220" v="7379" actId="478"/>
          <ac:picMkLst>
            <pc:docMk/>
            <pc:sldMk cId="2774137710" sldId="4091"/>
            <ac:picMk id="77826" creationId="{AA99C827-FFAD-ABF9-BC01-916F5422E3DB}"/>
          </ac:picMkLst>
        </pc:picChg>
      </pc:sldChg>
      <pc:sldChg chg="modSp del mod">
        <pc:chgData name="Dawid Janik" userId="81a947f4-3345-42c0-a461-2bf27ee4639f" providerId="ADAL" clId="{A7B4B8D9-7CBB-4479-B3DB-8A74F7DC6FA5}" dt="2023-04-26T12:47:59.869" v="2376" actId="47"/>
        <pc:sldMkLst>
          <pc:docMk/>
          <pc:sldMk cId="3400850130" sldId="4092"/>
        </pc:sldMkLst>
        <pc:spChg chg="mod">
          <ac:chgData name="Dawid Janik" userId="81a947f4-3345-42c0-a461-2bf27ee4639f" providerId="ADAL" clId="{A7B4B8D9-7CBB-4479-B3DB-8A74F7DC6FA5}" dt="2023-04-26T12:42:19.234" v="2334"/>
          <ac:spMkLst>
            <pc:docMk/>
            <pc:sldMk cId="3400850130" sldId="4092"/>
            <ac:spMk id="4" creationId="{A1B2677C-2C32-DFB7-0202-9F52FB53B750}"/>
          </ac:spMkLst>
        </pc:spChg>
        <pc:spChg chg="mod">
          <ac:chgData name="Dawid Janik" userId="81a947f4-3345-42c0-a461-2bf27ee4639f" providerId="ADAL" clId="{A7B4B8D9-7CBB-4479-B3DB-8A74F7DC6FA5}" dt="2023-04-26T12:42:19.635" v="2350" actId="27636"/>
          <ac:spMkLst>
            <pc:docMk/>
            <pc:sldMk cId="3400850130" sldId="4092"/>
            <ac:spMk id="5" creationId="{8F34C24A-4DB1-BAA6-C705-069CFA2CBD19}"/>
          </ac:spMkLst>
        </pc:spChg>
      </pc:sldChg>
      <pc:sldChg chg="modSp del">
        <pc:chgData name="Dawid Janik" userId="81a947f4-3345-42c0-a461-2bf27ee4639f" providerId="ADAL" clId="{A7B4B8D9-7CBB-4479-B3DB-8A74F7DC6FA5}" dt="2023-04-26T12:47:55.323" v="2366" actId="47"/>
        <pc:sldMkLst>
          <pc:docMk/>
          <pc:sldMk cId="35842721" sldId="4093"/>
        </pc:sldMkLst>
        <pc:spChg chg="mod">
          <ac:chgData name="Dawid Janik" userId="81a947f4-3345-42c0-a461-2bf27ee4639f" providerId="ADAL" clId="{A7B4B8D9-7CBB-4479-B3DB-8A74F7DC6FA5}" dt="2023-04-26T12:42:19.234" v="2334"/>
          <ac:spMkLst>
            <pc:docMk/>
            <pc:sldMk cId="35842721" sldId="4093"/>
            <ac:spMk id="4" creationId="{37B3156C-964A-0A54-D71E-271E1DAEB811}"/>
          </ac:spMkLst>
        </pc:spChg>
      </pc:sldChg>
      <pc:sldChg chg="modSp del">
        <pc:chgData name="Dawid Janik" userId="81a947f4-3345-42c0-a461-2bf27ee4639f" providerId="ADAL" clId="{A7B4B8D9-7CBB-4479-B3DB-8A74F7DC6FA5}" dt="2023-04-26T12:47:59.121" v="2374" actId="47"/>
        <pc:sldMkLst>
          <pc:docMk/>
          <pc:sldMk cId="2760141480" sldId="4094"/>
        </pc:sldMkLst>
        <pc:spChg chg="mod">
          <ac:chgData name="Dawid Janik" userId="81a947f4-3345-42c0-a461-2bf27ee4639f" providerId="ADAL" clId="{A7B4B8D9-7CBB-4479-B3DB-8A74F7DC6FA5}" dt="2023-04-26T12:42:19.234" v="2334"/>
          <ac:spMkLst>
            <pc:docMk/>
            <pc:sldMk cId="2760141480" sldId="4094"/>
            <ac:spMk id="4" creationId="{A1B2677C-2C32-DFB7-0202-9F52FB53B750}"/>
          </ac:spMkLst>
        </pc:spChg>
      </pc:sldChg>
      <pc:sldChg chg="modSp del mod">
        <pc:chgData name="Dawid Janik" userId="81a947f4-3345-42c0-a461-2bf27ee4639f" providerId="ADAL" clId="{A7B4B8D9-7CBB-4479-B3DB-8A74F7DC6FA5}" dt="2023-04-26T12:48:00.070" v="2377" actId="47"/>
        <pc:sldMkLst>
          <pc:docMk/>
          <pc:sldMk cId="2615143445" sldId="4095"/>
        </pc:sldMkLst>
        <pc:spChg chg="mod">
          <ac:chgData name="Dawid Janik" userId="81a947f4-3345-42c0-a461-2bf27ee4639f" providerId="ADAL" clId="{A7B4B8D9-7CBB-4479-B3DB-8A74F7DC6FA5}" dt="2023-04-26T12:42:19.234" v="2334"/>
          <ac:spMkLst>
            <pc:docMk/>
            <pc:sldMk cId="2615143445" sldId="4095"/>
            <ac:spMk id="4" creationId="{A1B2677C-2C32-DFB7-0202-9F52FB53B750}"/>
          </ac:spMkLst>
        </pc:spChg>
        <pc:spChg chg="mod">
          <ac:chgData name="Dawid Janik" userId="81a947f4-3345-42c0-a461-2bf27ee4639f" providerId="ADAL" clId="{A7B4B8D9-7CBB-4479-B3DB-8A74F7DC6FA5}" dt="2023-04-26T12:42:19.635" v="2351" actId="27636"/>
          <ac:spMkLst>
            <pc:docMk/>
            <pc:sldMk cId="2615143445" sldId="4095"/>
            <ac:spMk id="5" creationId="{8F34C24A-4DB1-BAA6-C705-069CFA2CBD19}"/>
          </ac:spMkLst>
        </pc:spChg>
      </pc:sldChg>
      <pc:sldChg chg="modSp del mod">
        <pc:chgData name="Dawid Janik" userId="81a947f4-3345-42c0-a461-2bf27ee4639f" providerId="ADAL" clId="{A7B4B8D9-7CBB-4479-B3DB-8A74F7DC6FA5}" dt="2023-04-26T12:48:00.626" v="2378" actId="47"/>
        <pc:sldMkLst>
          <pc:docMk/>
          <pc:sldMk cId="1438476031" sldId="4096"/>
        </pc:sldMkLst>
        <pc:spChg chg="mod">
          <ac:chgData name="Dawid Janik" userId="81a947f4-3345-42c0-a461-2bf27ee4639f" providerId="ADAL" clId="{A7B4B8D9-7CBB-4479-B3DB-8A74F7DC6FA5}" dt="2023-04-26T12:42:19.234" v="2334"/>
          <ac:spMkLst>
            <pc:docMk/>
            <pc:sldMk cId="1438476031" sldId="4096"/>
            <ac:spMk id="4" creationId="{A1B2677C-2C32-DFB7-0202-9F52FB53B750}"/>
          </ac:spMkLst>
        </pc:spChg>
        <pc:spChg chg="mod">
          <ac:chgData name="Dawid Janik" userId="81a947f4-3345-42c0-a461-2bf27ee4639f" providerId="ADAL" clId="{A7B4B8D9-7CBB-4479-B3DB-8A74F7DC6FA5}" dt="2023-04-26T12:42:19.651" v="2352" actId="27636"/>
          <ac:spMkLst>
            <pc:docMk/>
            <pc:sldMk cId="1438476031" sldId="4096"/>
            <ac:spMk id="5" creationId="{8F34C24A-4DB1-BAA6-C705-069CFA2CBD19}"/>
          </ac:spMkLst>
        </pc:spChg>
      </pc:sldChg>
      <pc:sldChg chg="del">
        <pc:chgData name="Dawid Janik" userId="81a947f4-3345-42c0-a461-2bf27ee4639f" providerId="ADAL" clId="{A7B4B8D9-7CBB-4479-B3DB-8A74F7DC6FA5}" dt="2023-04-26T12:47:53.691" v="2363" actId="47"/>
        <pc:sldMkLst>
          <pc:docMk/>
          <pc:sldMk cId="1713371450" sldId="2147377982"/>
        </pc:sldMkLst>
      </pc:sldChg>
      <pc:sldChg chg="addSp delSp modSp mod modTransition setBg">
        <pc:chgData name="Dawid Janik" userId="81a947f4-3345-42c0-a461-2bf27ee4639f" providerId="ADAL" clId="{A7B4B8D9-7CBB-4479-B3DB-8A74F7DC6FA5}" dt="2023-05-03T13:26:20.229" v="9056"/>
        <pc:sldMkLst>
          <pc:docMk/>
          <pc:sldMk cId="1489363635" sldId="2147469970"/>
        </pc:sldMkLst>
        <pc:spChg chg="del">
          <ac:chgData name="Dawid Janik" userId="81a947f4-3345-42c0-a461-2bf27ee4639f" providerId="ADAL" clId="{A7B4B8D9-7CBB-4479-B3DB-8A74F7DC6FA5}" dt="2023-04-26T11:49:25.175" v="1510" actId="478"/>
          <ac:spMkLst>
            <pc:docMk/>
            <pc:sldMk cId="1489363635" sldId="2147469970"/>
            <ac:spMk id="2" creationId="{7F2AE58F-EC7D-FDDF-184F-AB98F19979A7}"/>
          </ac:spMkLst>
        </pc:spChg>
        <pc:spChg chg="mod">
          <ac:chgData name="Dawid Janik" userId="81a947f4-3345-42c0-a461-2bf27ee4639f" providerId="ADAL" clId="{A7B4B8D9-7CBB-4479-B3DB-8A74F7DC6FA5}" dt="2023-04-26T12:40:02.622" v="2296"/>
          <ac:spMkLst>
            <pc:docMk/>
            <pc:sldMk cId="1489363635" sldId="2147469970"/>
            <ac:spMk id="3" creationId="{47904D2D-4A6B-EA0E-11B4-75FB5A750CB0}"/>
          </ac:spMkLst>
        </pc:spChg>
        <pc:spChg chg="del mod">
          <ac:chgData name="Dawid Janik" userId="81a947f4-3345-42c0-a461-2bf27ee4639f" providerId="ADAL" clId="{A7B4B8D9-7CBB-4479-B3DB-8A74F7DC6FA5}" dt="2023-04-26T11:49:33.214" v="1513" actId="478"/>
          <ac:spMkLst>
            <pc:docMk/>
            <pc:sldMk cId="1489363635" sldId="2147469970"/>
            <ac:spMk id="5" creationId="{103DA8D3-A045-9EC4-77B3-E897093E06E9}"/>
          </ac:spMkLst>
        </pc:spChg>
        <pc:spChg chg="add del">
          <ac:chgData name="Dawid Janik" userId="81a947f4-3345-42c0-a461-2bf27ee4639f" providerId="ADAL" clId="{A7B4B8D9-7CBB-4479-B3DB-8A74F7DC6FA5}" dt="2023-04-26T11:56:05.297" v="1558" actId="22"/>
          <ac:spMkLst>
            <pc:docMk/>
            <pc:sldMk cId="1489363635" sldId="2147469970"/>
            <ac:spMk id="5" creationId="{532E10B8-A927-1F1E-DC8F-FAB688804F4C}"/>
          </ac:spMkLst>
        </pc:spChg>
        <pc:spChg chg="del">
          <ac:chgData name="Dawid Janik" userId="81a947f4-3345-42c0-a461-2bf27ee4639f" providerId="ADAL" clId="{A7B4B8D9-7CBB-4479-B3DB-8A74F7DC6FA5}" dt="2023-04-26T11:49:29.231" v="1511" actId="478"/>
          <ac:spMkLst>
            <pc:docMk/>
            <pc:sldMk cId="1489363635" sldId="2147469970"/>
            <ac:spMk id="6" creationId="{60D517CD-3404-10B7-282A-5E256178ADD5}"/>
          </ac:spMkLst>
        </pc:spChg>
        <pc:spChg chg="add mod">
          <ac:chgData name="Dawid Janik" userId="81a947f4-3345-42c0-a461-2bf27ee4639f" providerId="ADAL" clId="{A7B4B8D9-7CBB-4479-B3DB-8A74F7DC6FA5}" dt="2023-04-26T12:43:39.814" v="2360" actId="1076"/>
          <ac:spMkLst>
            <pc:docMk/>
            <pc:sldMk cId="1489363635" sldId="2147469970"/>
            <ac:spMk id="7" creationId="{5B13451E-B4CC-23F7-434E-A11C7D0B9DE5}"/>
          </ac:spMkLst>
        </pc:spChg>
        <pc:spChg chg="del mod">
          <ac:chgData name="Dawid Janik" userId="81a947f4-3345-42c0-a461-2bf27ee4639f" providerId="ADAL" clId="{A7B4B8D9-7CBB-4479-B3DB-8A74F7DC6FA5}" dt="2023-04-26T11:49:34.799" v="1514" actId="478"/>
          <ac:spMkLst>
            <pc:docMk/>
            <pc:sldMk cId="1489363635" sldId="2147469970"/>
            <ac:spMk id="7" creationId="{FB6B4A0C-672E-92D6-4281-2CBBB7331C3D}"/>
          </ac:spMkLst>
        </pc:spChg>
        <pc:spChg chg="add del mod">
          <ac:chgData name="Dawid Janik" userId="81a947f4-3345-42c0-a461-2bf27ee4639f" providerId="ADAL" clId="{A7B4B8D9-7CBB-4479-B3DB-8A74F7DC6FA5}" dt="2023-04-26T12:00:09.686" v="1703"/>
          <ac:spMkLst>
            <pc:docMk/>
            <pc:sldMk cId="1489363635" sldId="2147469970"/>
            <ac:spMk id="9" creationId="{6F155A0B-D7A9-26AA-85D3-F963A9AC140E}"/>
          </ac:spMkLst>
        </pc:spChg>
        <pc:spChg chg="del mod">
          <ac:chgData name="Dawid Janik" userId="81a947f4-3345-42c0-a461-2bf27ee4639f" providerId="ADAL" clId="{A7B4B8D9-7CBB-4479-B3DB-8A74F7DC6FA5}" dt="2023-04-26T11:49:44.065" v="1520"/>
          <ac:spMkLst>
            <pc:docMk/>
            <pc:sldMk cId="1489363635" sldId="2147469970"/>
            <ac:spMk id="9" creationId="{C13FBE37-5B12-99C4-9DCB-21A25311E473}"/>
          </ac:spMkLst>
        </pc:spChg>
        <pc:spChg chg="add del">
          <ac:chgData name="Dawid Janik" userId="81a947f4-3345-42c0-a461-2bf27ee4639f" providerId="ADAL" clId="{A7B4B8D9-7CBB-4479-B3DB-8A74F7DC6FA5}" dt="2023-04-26T11:58:54.422" v="1695" actId="478"/>
          <ac:spMkLst>
            <pc:docMk/>
            <pc:sldMk cId="1489363635" sldId="2147469970"/>
            <ac:spMk id="10" creationId="{9B679B51-6F46-CB1C-63F4-6B582BD0D425}"/>
          </ac:spMkLst>
        </pc:spChg>
        <pc:spChg chg="add del mod">
          <ac:chgData name="Dawid Janik" userId="81a947f4-3345-42c0-a461-2bf27ee4639f" providerId="ADAL" clId="{A7B4B8D9-7CBB-4479-B3DB-8A74F7DC6FA5}" dt="2023-04-26T12:00:09.685" v="1701" actId="478"/>
          <ac:spMkLst>
            <pc:docMk/>
            <pc:sldMk cId="1489363635" sldId="2147469970"/>
            <ac:spMk id="11" creationId="{A626C483-9F56-4430-D6B1-4A7120976DD4}"/>
          </ac:spMkLst>
        </pc:spChg>
        <pc:spChg chg="add mod">
          <ac:chgData name="Dawid Janik" userId="81a947f4-3345-42c0-a461-2bf27ee4639f" providerId="ADAL" clId="{A7B4B8D9-7CBB-4479-B3DB-8A74F7DC6FA5}" dt="2023-05-02T12:20:14.378" v="8197" actId="1076"/>
          <ac:spMkLst>
            <pc:docMk/>
            <pc:sldMk cId="1489363635" sldId="2147469970"/>
            <ac:spMk id="13" creationId="{309E1260-0CC3-87BD-6A62-2C65D995833E}"/>
          </ac:spMkLst>
        </pc:spChg>
        <pc:spChg chg="mod">
          <ac:chgData name="Dawid Janik" userId="81a947f4-3345-42c0-a461-2bf27ee4639f" providerId="ADAL" clId="{A7B4B8D9-7CBB-4479-B3DB-8A74F7DC6FA5}" dt="2023-04-26T11:49:08.781" v="1503" actId="20577"/>
          <ac:spMkLst>
            <pc:docMk/>
            <pc:sldMk cId="1489363635" sldId="2147469970"/>
            <ac:spMk id="18" creationId="{67288395-A982-493B-0C26-0C9FAEF5995F}"/>
          </ac:spMkLst>
        </pc:spChg>
        <pc:spChg chg="del mod">
          <ac:chgData name="Dawid Janik" userId="81a947f4-3345-42c0-a461-2bf27ee4639f" providerId="ADAL" clId="{A7B4B8D9-7CBB-4479-B3DB-8A74F7DC6FA5}" dt="2023-04-26T11:49:18.614" v="1507" actId="478"/>
          <ac:spMkLst>
            <pc:docMk/>
            <pc:sldMk cId="1489363635" sldId="2147469970"/>
            <ac:spMk id="19" creationId="{8019DE62-F249-C085-1235-91633AFAE511}"/>
          </ac:spMkLst>
        </pc:spChg>
        <pc:graphicFrameChg chg="add del mod">
          <ac:chgData name="Dawid Janik" userId="81a947f4-3345-42c0-a461-2bf27ee4639f" providerId="ADAL" clId="{A7B4B8D9-7CBB-4479-B3DB-8A74F7DC6FA5}" dt="2023-05-03T12:45:44.289" v="8856" actId="478"/>
          <ac:graphicFrameMkLst>
            <pc:docMk/>
            <pc:sldMk cId="1489363635" sldId="2147469970"/>
            <ac:graphicFrameMk id="2" creationId="{2097EBF2-3426-D635-C9EC-D73927C2E13E}"/>
          </ac:graphicFrameMkLst>
        </pc:graphicFrameChg>
        <pc:graphicFrameChg chg="mod modGraphic">
          <ac:chgData name="Dawid Janik" userId="81a947f4-3345-42c0-a461-2bf27ee4639f" providerId="ADAL" clId="{A7B4B8D9-7CBB-4479-B3DB-8A74F7DC6FA5}" dt="2023-04-26T12:00:24.311" v="1704" actId="14100"/>
          <ac:graphicFrameMkLst>
            <pc:docMk/>
            <pc:sldMk cId="1489363635" sldId="2147469970"/>
            <ac:graphicFrameMk id="4" creationId="{F087AA33-C8AB-D758-35DA-5606AE09DBC6}"/>
          </ac:graphicFrameMkLst>
        </pc:graphicFrameChg>
        <pc:graphicFrameChg chg="add mod">
          <ac:chgData name="Dawid Janik" userId="81a947f4-3345-42c0-a461-2bf27ee4639f" providerId="ADAL" clId="{A7B4B8D9-7CBB-4479-B3DB-8A74F7DC6FA5}" dt="2023-05-03T12:46:00.524" v="8861" actId="2085"/>
          <ac:graphicFrameMkLst>
            <pc:docMk/>
            <pc:sldMk cId="1489363635" sldId="2147469970"/>
            <ac:graphicFrameMk id="5" creationId="{2097EBF2-3426-D635-C9EC-D73927C2E13E}"/>
          </ac:graphicFrameMkLst>
        </pc:graphicFrameChg>
        <pc:picChg chg="del">
          <ac:chgData name="Dawid Janik" userId="81a947f4-3345-42c0-a461-2bf27ee4639f" providerId="ADAL" clId="{A7B4B8D9-7CBB-4479-B3DB-8A74F7DC6FA5}" dt="2023-04-26T11:49:38.758" v="1516" actId="478"/>
          <ac:picMkLst>
            <pc:docMk/>
            <pc:sldMk cId="1489363635" sldId="2147469970"/>
            <ac:picMk id="14" creationId="{77B00B1F-66BF-2ACC-8C93-3368710CDA57}"/>
          </ac:picMkLst>
        </pc:picChg>
        <pc:picChg chg="add del mod">
          <ac:chgData name="Dawid Janik" userId="81a947f4-3345-42c0-a461-2bf27ee4639f" providerId="ADAL" clId="{A7B4B8D9-7CBB-4479-B3DB-8A74F7DC6FA5}" dt="2023-05-03T12:45:14.426" v="8852" actId="478"/>
          <ac:picMkLst>
            <pc:docMk/>
            <pc:sldMk cId="1489363635" sldId="2147469970"/>
            <ac:picMk id="1025" creationId="{2B0C2E0D-3CD3-627A-4439-A2A02AA69726}"/>
          </ac:picMkLst>
        </pc:picChg>
        <pc:picChg chg="add del">
          <ac:chgData name="Dawid Janik" userId="81a947f4-3345-42c0-a461-2bf27ee4639f" providerId="ADAL" clId="{A7B4B8D9-7CBB-4479-B3DB-8A74F7DC6FA5}" dt="2023-04-26T11:57:22.177" v="1596"/>
          <ac:picMkLst>
            <pc:docMk/>
            <pc:sldMk cId="1489363635" sldId="2147469970"/>
            <ac:picMk id="1026" creationId="{2D49D614-21FE-D8A0-3647-D188F0AE8E17}"/>
          </ac:picMkLst>
        </pc:picChg>
        <pc:cxnChg chg="del">
          <ac:chgData name="Dawid Janik" userId="81a947f4-3345-42c0-a461-2bf27ee4639f" providerId="ADAL" clId="{A7B4B8D9-7CBB-4479-B3DB-8A74F7DC6FA5}" dt="2023-04-26T11:49:36.822" v="1515" actId="478"/>
          <ac:cxnSpMkLst>
            <pc:docMk/>
            <pc:sldMk cId="1489363635" sldId="2147469970"/>
            <ac:cxnSpMk id="17" creationId="{CB6CC381-6A38-C986-A68F-AAEA96C5ED7F}"/>
          </ac:cxnSpMkLst>
        </pc:cxnChg>
      </pc:sldChg>
      <pc:sldChg chg="del">
        <pc:chgData name="Dawid Janik" userId="81a947f4-3345-42c0-a461-2bf27ee4639f" providerId="ADAL" clId="{A7B4B8D9-7CBB-4479-B3DB-8A74F7DC6FA5}" dt="2023-04-26T11:49:03.836" v="1502" actId="47"/>
        <pc:sldMkLst>
          <pc:docMk/>
          <pc:sldMk cId="2552806603" sldId="2147469973"/>
        </pc:sldMkLst>
      </pc:sldChg>
      <pc:sldChg chg="addSp delSp modSp del mod setBg">
        <pc:chgData name="Dawid Janik" userId="81a947f4-3345-42c0-a461-2bf27ee4639f" providerId="ADAL" clId="{A7B4B8D9-7CBB-4479-B3DB-8A74F7DC6FA5}" dt="2023-04-26T12:32:43.880" v="2185" actId="47"/>
        <pc:sldMkLst>
          <pc:docMk/>
          <pc:sldMk cId="4122844954" sldId="2147469974"/>
        </pc:sldMkLst>
        <pc:spChg chg="mod ord">
          <ac:chgData name="Dawid Janik" userId="81a947f4-3345-42c0-a461-2bf27ee4639f" providerId="ADAL" clId="{A7B4B8D9-7CBB-4479-B3DB-8A74F7DC6FA5}" dt="2023-04-26T12:31:42.188" v="2145" actId="6549"/>
          <ac:spMkLst>
            <pc:docMk/>
            <pc:sldMk cId="4122844954" sldId="2147469974"/>
            <ac:spMk id="2" creationId="{5BE6C5DA-04AE-23C6-8659-1C06E67C1704}"/>
          </ac:spMkLst>
        </pc:spChg>
        <pc:spChg chg="mod ord">
          <ac:chgData name="Dawid Janik" userId="81a947f4-3345-42c0-a461-2bf27ee4639f" providerId="ADAL" clId="{A7B4B8D9-7CBB-4479-B3DB-8A74F7DC6FA5}" dt="2023-04-26T12:31:34.147" v="2142" actId="26606"/>
          <ac:spMkLst>
            <pc:docMk/>
            <pc:sldMk cId="4122844954" sldId="2147469974"/>
            <ac:spMk id="3" creationId="{986B9795-BA11-C986-9941-1987C013496F}"/>
          </ac:spMkLst>
        </pc:spChg>
        <pc:spChg chg="del mod">
          <ac:chgData name="Dawid Janik" userId="81a947f4-3345-42c0-a461-2bf27ee4639f" providerId="ADAL" clId="{A7B4B8D9-7CBB-4479-B3DB-8A74F7DC6FA5}" dt="2023-04-26T11:53:26.176" v="1548"/>
          <ac:spMkLst>
            <pc:docMk/>
            <pc:sldMk cId="4122844954" sldId="2147469974"/>
            <ac:spMk id="4" creationId="{DCCEF7A6-64E7-EBED-2B09-D19A234F2C03}"/>
          </ac:spMkLst>
        </pc:spChg>
        <pc:spChg chg="add del">
          <ac:chgData name="Dawid Janik" userId="81a947f4-3345-42c0-a461-2bf27ee4639f" providerId="ADAL" clId="{A7B4B8D9-7CBB-4479-B3DB-8A74F7DC6FA5}" dt="2023-04-26T12:31:04.947" v="2136" actId="26606"/>
          <ac:spMkLst>
            <pc:docMk/>
            <pc:sldMk cId="4122844954" sldId="2147469974"/>
            <ac:spMk id="1030" creationId="{6753252F-4873-4F63-801D-CC719279A7D5}"/>
          </ac:spMkLst>
        </pc:spChg>
        <pc:spChg chg="add del">
          <ac:chgData name="Dawid Janik" userId="81a947f4-3345-42c0-a461-2bf27ee4639f" providerId="ADAL" clId="{A7B4B8D9-7CBB-4479-B3DB-8A74F7DC6FA5}" dt="2023-04-26T12:31:04.947" v="2136" actId="26606"/>
          <ac:spMkLst>
            <pc:docMk/>
            <pc:sldMk cId="4122844954" sldId="2147469974"/>
            <ac:spMk id="1032" creationId="{047C8CCB-F95D-4249-92DD-651249D3535A}"/>
          </ac:spMkLst>
        </pc:spChg>
        <pc:spChg chg="add del">
          <ac:chgData name="Dawid Janik" userId="81a947f4-3345-42c0-a461-2bf27ee4639f" providerId="ADAL" clId="{A7B4B8D9-7CBB-4479-B3DB-8A74F7DC6FA5}" dt="2023-04-26T12:31:34.147" v="2142" actId="26606"/>
          <ac:spMkLst>
            <pc:docMk/>
            <pc:sldMk cId="4122844954" sldId="2147469974"/>
            <ac:spMk id="1037" creationId="{AF1E5E62-9EB9-408E-AE53-A04A4C8110DE}"/>
          </ac:spMkLst>
        </pc:spChg>
        <pc:spChg chg="add del">
          <ac:chgData name="Dawid Janik" userId="81a947f4-3345-42c0-a461-2bf27ee4639f" providerId="ADAL" clId="{A7B4B8D9-7CBB-4479-B3DB-8A74F7DC6FA5}" dt="2023-04-26T12:31:34.147" v="2142" actId="26606"/>
          <ac:spMkLst>
            <pc:docMk/>
            <pc:sldMk cId="4122844954" sldId="2147469974"/>
            <ac:spMk id="1039" creationId="{9C5704B2-7C5B-4738-AF0D-4A2756A69FA1}"/>
          </ac:spMkLst>
        </pc:spChg>
        <pc:spChg chg="add del">
          <ac:chgData name="Dawid Janik" userId="81a947f4-3345-42c0-a461-2bf27ee4639f" providerId="ADAL" clId="{A7B4B8D9-7CBB-4479-B3DB-8A74F7DC6FA5}" dt="2023-04-26T12:31:34.147" v="2142" actId="26606"/>
          <ac:spMkLst>
            <pc:docMk/>
            <pc:sldMk cId="4122844954" sldId="2147469974"/>
            <ac:spMk id="1041" creationId="{DFB36DC4-A410-4DF1-8453-1D85743F5E07}"/>
          </ac:spMkLst>
        </pc:spChg>
        <pc:spChg chg="add del">
          <ac:chgData name="Dawid Janik" userId="81a947f4-3345-42c0-a461-2bf27ee4639f" providerId="ADAL" clId="{A7B4B8D9-7CBB-4479-B3DB-8A74F7DC6FA5}" dt="2023-04-26T12:31:28.878" v="2139" actId="26606"/>
          <ac:spMkLst>
            <pc:docMk/>
            <pc:sldMk cId="4122844954" sldId="2147469974"/>
            <ac:spMk id="1046" creationId="{FB5B0058-AF13-4859-B429-4EDDE2A26F7F}"/>
          </ac:spMkLst>
        </pc:spChg>
        <pc:spChg chg="add del">
          <ac:chgData name="Dawid Janik" userId="81a947f4-3345-42c0-a461-2bf27ee4639f" providerId="ADAL" clId="{A7B4B8D9-7CBB-4479-B3DB-8A74F7DC6FA5}" dt="2023-04-26T12:31:28.878" v="2139" actId="26606"/>
          <ac:spMkLst>
            <pc:docMk/>
            <pc:sldMk cId="4122844954" sldId="2147469974"/>
            <ac:spMk id="1048" creationId="{D84C2E9E-0B5D-4B5F-9A1F-70EBDCE39034}"/>
          </ac:spMkLst>
        </pc:spChg>
        <pc:spChg chg="add del">
          <ac:chgData name="Dawid Janik" userId="81a947f4-3345-42c0-a461-2bf27ee4639f" providerId="ADAL" clId="{A7B4B8D9-7CBB-4479-B3DB-8A74F7DC6FA5}" dt="2023-04-26T12:31:28.878" v="2139" actId="26606"/>
          <ac:spMkLst>
            <pc:docMk/>
            <pc:sldMk cId="4122844954" sldId="2147469974"/>
            <ac:spMk id="1050" creationId="{EF36B2BE-65F4-46E3-AFDD-A9AE9E885071}"/>
          </ac:spMkLst>
        </pc:spChg>
        <pc:spChg chg="add del">
          <ac:chgData name="Dawid Janik" userId="81a947f4-3345-42c0-a461-2bf27ee4639f" providerId="ADAL" clId="{A7B4B8D9-7CBB-4479-B3DB-8A74F7DC6FA5}" dt="2023-04-26T12:31:34.143" v="2141" actId="26606"/>
          <ac:spMkLst>
            <pc:docMk/>
            <pc:sldMk cId="4122844954" sldId="2147469974"/>
            <ac:spMk id="1052" creationId="{6D0A83AF-007F-4D9C-91CC-1BF617BA75AC}"/>
          </ac:spMkLst>
        </pc:spChg>
        <pc:spChg chg="add del">
          <ac:chgData name="Dawid Janik" userId="81a947f4-3345-42c0-a461-2bf27ee4639f" providerId="ADAL" clId="{A7B4B8D9-7CBB-4479-B3DB-8A74F7DC6FA5}" dt="2023-04-26T12:31:34.143" v="2141" actId="26606"/>
          <ac:spMkLst>
            <pc:docMk/>
            <pc:sldMk cId="4122844954" sldId="2147469974"/>
            <ac:spMk id="1053" creationId="{74ECAE55-685A-4305-A4B4-37C08C7C752F}"/>
          </ac:spMkLst>
        </pc:spChg>
        <pc:spChg chg="add">
          <ac:chgData name="Dawid Janik" userId="81a947f4-3345-42c0-a461-2bf27ee4639f" providerId="ADAL" clId="{A7B4B8D9-7CBB-4479-B3DB-8A74F7DC6FA5}" dt="2023-04-26T12:31:34.147" v="2142" actId="26606"/>
          <ac:spMkLst>
            <pc:docMk/>
            <pc:sldMk cId="4122844954" sldId="2147469974"/>
            <ac:spMk id="1055" creationId="{D4771268-CB57-404A-9271-370EB28F6090}"/>
          </ac:spMkLst>
        </pc:spChg>
        <pc:picChg chg="add mod">
          <ac:chgData name="Dawid Janik" userId="81a947f4-3345-42c0-a461-2bf27ee4639f" providerId="ADAL" clId="{A7B4B8D9-7CBB-4479-B3DB-8A74F7DC6FA5}" dt="2023-04-26T12:31:40.666" v="2144" actId="962"/>
          <ac:picMkLst>
            <pc:docMk/>
            <pc:sldMk cId="4122844954" sldId="2147469974"/>
            <ac:picMk id="1025" creationId="{D63C3C1A-ECB3-3A18-541E-B48FA1AC0B9A}"/>
          </ac:picMkLst>
        </pc:picChg>
      </pc:sldChg>
      <pc:sldChg chg="addSp delSp modSp mod modTransition">
        <pc:chgData name="Dawid Janik" userId="81a947f4-3345-42c0-a461-2bf27ee4639f" providerId="ADAL" clId="{A7B4B8D9-7CBB-4479-B3DB-8A74F7DC6FA5}" dt="2023-05-03T13:26:33.626" v="9060"/>
        <pc:sldMkLst>
          <pc:docMk/>
          <pc:sldMk cId="2927461264" sldId="2147469975"/>
        </pc:sldMkLst>
        <pc:spChg chg="add mod">
          <ac:chgData name="Dawid Janik" userId="81a947f4-3345-42c0-a461-2bf27ee4639f" providerId="ADAL" clId="{A7B4B8D9-7CBB-4479-B3DB-8A74F7DC6FA5}" dt="2023-05-02T12:38:44.250" v="8517" actId="122"/>
          <ac:spMkLst>
            <pc:docMk/>
            <pc:sldMk cId="2927461264" sldId="2147469975"/>
            <ac:spMk id="3" creationId="{B304A0AC-E7EF-CF8F-1073-59913C84ED75}"/>
          </ac:spMkLst>
        </pc:spChg>
        <pc:spChg chg="mod">
          <ac:chgData name="Dawid Janik" userId="81a947f4-3345-42c0-a461-2bf27ee4639f" providerId="ADAL" clId="{A7B4B8D9-7CBB-4479-B3DB-8A74F7DC6FA5}" dt="2023-04-26T12:42:19.234" v="2334"/>
          <ac:spMkLst>
            <pc:docMk/>
            <pc:sldMk cId="2927461264" sldId="2147469975"/>
            <ac:spMk id="4" creationId="{D2D8B72F-FFBC-765B-03EA-28851077C424}"/>
          </ac:spMkLst>
        </pc:spChg>
        <pc:spChg chg="mod">
          <ac:chgData name="Dawid Janik" userId="81a947f4-3345-42c0-a461-2bf27ee4639f" providerId="ADAL" clId="{A7B4B8D9-7CBB-4479-B3DB-8A74F7DC6FA5}" dt="2023-04-26T12:42:19.587" v="2340" actId="27636"/>
          <ac:spMkLst>
            <pc:docMk/>
            <pc:sldMk cId="2927461264" sldId="2147469975"/>
            <ac:spMk id="5" creationId="{46038FB7-675A-432D-0796-C0AF3BBB48A7}"/>
          </ac:spMkLst>
        </pc:spChg>
        <pc:spChg chg="add mod">
          <ac:chgData name="Dawid Janik" userId="81a947f4-3345-42c0-a461-2bf27ee4639f" providerId="ADAL" clId="{A7B4B8D9-7CBB-4479-B3DB-8A74F7DC6FA5}" dt="2023-05-02T12:48:54.810" v="8576" actId="1076"/>
          <ac:spMkLst>
            <pc:docMk/>
            <pc:sldMk cId="2927461264" sldId="2147469975"/>
            <ac:spMk id="10" creationId="{44E4AEA1-3726-B5EE-24E5-0E2038E9DE35}"/>
          </ac:spMkLst>
        </pc:spChg>
        <pc:spChg chg="add del mod">
          <ac:chgData name="Dawid Janik" userId="81a947f4-3345-42c0-a461-2bf27ee4639f" providerId="ADAL" clId="{A7B4B8D9-7CBB-4479-B3DB-8A74F7DC6FA5}" dt="2023-05-02T12:44:46.706" v="8552"/>
          <ac:spMkLst>
            <pc:docMk/>
            <pc:sldMk cId="2927461264" sldId="2147469975"/>
            <ac:spMk id="11" creationId="{5880562D-50C6-39DA-D73E-9D805DF6054C}"/>
          </ac:spMkLst>
        </pc:spChg>
        <pc:spChg chg="add del mod">
          <ac:chgData name="Dawid Janik" userId="81a947f4-3345-42c0-a461-2bf27ee4639f" providerId="ADAL" clId="{A7B4B8D9-7CBB-4479-B3DB-8A74F7DC6FA5}" dt="2023-05-02T12:44:49.220" v="8554"/>
          <ac:spMkLst>
            <pc:docMk/>
            <pc:sldMk cId="2927461264" sldId="2147469975"/>
            <ac:spMk id="12" creationId="{13CCF1C1-543C-5CFF-4778-ED67679761A2}"/>
          </ac:spMkLst>
        </pc:spChg>
        <pc:spChg chg="add mod">
          <ac:chgData name="Dawid Janik" userId="81a947f4-3345-42c0-a461-2bf27ee4639f" providerId="ADAL" clId="{A7B4B8D9-7CBB-4479-B3DB-8A74F7DC6FA5}" dt="2023-05-02T12:48:57.959" v="8577" actId="1076"/>
          <ac:spMkLst>
            <pc:docMk/>
            <pc:sldMk cId="2927461264" sldId="2147469975"/>
            <ac:spMk id="13" creationId="{F5D5F78E-85D6-D5C6-16CA-8DC10F172D9A}"/>
          </ac:spMkLst>
        </pc:spChg>
        <pc:graphicFrameChg chg="add mod modGraphic">
          <ac:chgData name="Dawid Janik" userId="81a947f4-3345-42c0-a461-2bf27ee4639f" providerId="ADAL" clId="{A7B4B8D9-7CBB-4479-B3DB-8A74F7DC6FA5}" dt="2023-05-02T12:42:44.789" v="8527" actId="13926"/>
          <ac:graphicFrameMkLst>
            <pc:docMk/>
            <pc:sldMk cId="2927461264" sldId="2147469975"/>
            <ac:graphicFrameMk id="6" creationId="{B14216D7-3ACF-AA2C-D49B-A4A825E0AC6B}"/>
          </ac:graphicFrameMkLst>
        </pc:graphicFrameChg>
        <pc:graphicFrameChg chg="add mod modGraphic">
          <ac:chgData name="Dawid Janik" userId="81a947f4-3345-42c0-a461-2bf27ee4639f" providerId="ADAL" clId="{A7B4B8D9-7CBB-4479-B3DB-8A74F7DC6FA5}" dt="2023-05-03T11:52:14.090" v="8806" actId="20577"/>
          <ac:graphicFrameMkLst>
            <pc:docMk/>
            <pc:sldMk cId="2927461264" sldId="2147469975"/>
            <ac:graphicFrameMk id="7" creationId="{43647491-D41F-2960-E824-B735976A7A12}"/>
          </ac:graphicFrameMkLst>
        </pc:graphicFrameChg>
        <pc:graphicFrameChg chg="add del mod modGraphic">
          <ac:chgData name="Dawid Janik" userId="81a947f4-3345-42c0-a461-2bf27ee4639f" providerId="ADAL" clId="{A7B4B8D9-7CBB-4479-B3DB-8A74F7DC6FA5}" dt="2023-05-02T12:48:14.778" v="8569" actId="478"/>
          <ac:graphicFrameMkLst>
            <pc:docMk/>
            <pc:sldMk cId="2927461264" sldId="2147469975"/>
            <ac:graphicFrameMk id="8" creationId="{80C1AEDD-F76C-2C27-9787-FF3FAFAB59C1}"/>
          </ac:graphicFrameMkLst>
        </pc:graphicFrameChg>
        <pc:graphicFrameChg chg="add del mod">
          <ac:chgData name="Dawid Janik" userId="81a947f4-3345-42c0-a461-2bf27ee4639f" providerId="ADAL" clId="{A7B4B8D9-7CBB-4479-B3DB-8A74F7DC6FA5}" dt="2023-05-02T12:43:37.308" v="8533"/>
          <ac:graphicFrameMkLst>
            <pc:docMk/>
            <pc:sldMk cId="2927461264" sldId="2147469975"/>
            <ac:graphicFrameMk id="9" creationId="{57ACCC92-78AF-CBED-1E48-87F998E54193}"/>
          </ac:graphicFrameMkLst>
        </pc:graphicFrameChg>
        <pc:graphicFrameChg chg="add mod modGraphic">
          <ac:chgData name="Dawid Janik" userId="81a947f4-3345-42c0-a461-2bf27ee4639f" providerId="ADAL" clId="{A7B4B8D9-7CBB-4479-B3DB-8A74F7DC6FA5}" dt="2023-05-02T13:02:09.361" v="8627" actId="1076"/>
          <ac:graphicFrameMkLst>
            <pc:docMk/>
            <pc:sldMk cId="2927461264" sldId="2147469975"/>
            <ac:graphicFrameMk id="14" creationId="{65797731-836F-1AA1-5C0D-CC923EE361BB}"/>
          </ac:graphicFrameMkLst>
        </pc:graphicFrameChg>
        <pc:picChg chg="del">
          <ac:chgData name="Dawid Janik" userId="81a947f4-3345-42c0-a461-2bf27ee4639f" providerId="ADAL" clId="{A7B4B8D9-7CBB-4479-B3DB-8A74F7DC6FA5}" dt="2023-04-26T12:38:05.315" v="2290" actId="478"/>
          <ac:picMkLst>
            <pc:docMk/>
            <pc:sldMk cId="2927461264" sldId="2147469975"/>
            <ac:picMk id="9" creationId="{B991FEE6-917E-1C77-36A2-7D86870B629A}"/>
          </ac:picMkLst>
        </pc:picChg>
      </pc:sldChg>
      <pc:sldChg chg="addSp delSp modSp mod modTransition">
        <pc:chgData name="Dawid Janik" userId="81a947f4-3345-42c0-a461-2bf27ee4639f" providerId="ADAL" clId="{A7B4B8D9-7CBB-4479-B3DB-8A74F7DC6FA5}" dt="2023-05-03T13:26:23.758" v="9057"/>
        <pc:sldMkLst>
          <pc:docMk/>
          <pc:sldMk cId="1656987977" sldId="2147469976"/>
        </pc:sldMkLst>
        <pc:spChg chg="mod">
          <ac:chgData name="Dawid Janik" userId="81a947f4-3345-42c0-a461-2bf27ee4639f" providerId="ADAL" clId="{A7B4B8D9-7CBB-4479-B3DB-8A74F7DC6FA5}" dt="2023-04-26T11:53:37.882" v="1553" actId="6549"/>
          <ac:spMkLst>
            <pc:docMk/>
            <pc:sldMk cId="1656987977" sldId="2147469976"/>
            <ac:spMk id="2" creationId="{1B444CE3-6913-B191-D3ED-3CC7690DE5CA}"/>
          </ac:spMkLst>
        </pc:spChg>
        <pc:spChg chg="mod">
          <ac:chgData name="Dawid Janik" userId="81a947f4-3345-42c0-a461-2bf27ee4639f" providerId="ADAL" clId="{A7B4B8D9-7CBB-4479-B3DB-8A74F7DC6FA5}" dt="2023-04-26T12:42:19.234" v="2334"/>
          <ac:spMkLst>
            <pc:docMk/>
            <pc:sldMk cId="1656987977" sldId="2147469976"/>
            <ac:spMk id="4" creationId="{37B3156C-964A-0A54-D71E-271E1DAEB811}"/>
          </ac:spMkLst>
        </pc:spChg>
        <pc:spChg chg="add mod">
          <ac:chgData name="Dawid Janik" userId="81a947f4-3345-42c0-a461-2bf27ee4639f" providerId="ADAL" clId="{A7B4B8D9-7CBB-4479-B3DB-8A74F7DC6FA5}" dt="2023-04-26T12:43:44.387" v="2361" actId="108"/>
          <ac:spMkLst>
            <pc:docMk/>
            <pc:sldMk cId="1656987977" sldId="2147469976"/>
            <ac:spMk id="6" creationId="{EC7441AE-C60F-E776-4CF8-BAF1508F6A74}"/>
          </ac:spMkLst>
        </pc:spChg>
        <pc:spChg chg="add mod">
          <ac:chgData name="Dawid Janik" userId="81a947f4-3345-42c0-a461-2bf27ee4639f" providerId="ADAL" clId="{A7B4B8D9-7CBB-4479-B3DB-8A74F7DC6FA5}" dt="2023-05-03T12:54:34.804" v="8895" actId="20577"/>
          <ac:spMkLst>
            <pc:docMk/>
            <pc:sldMk cId="1656987977" sldId="2147469976"/>
            <ac:spMk id="7" creationId="{F50193D8-8E01-1599-AB39-D0CBB4CBCE2D}"/>
          </ac:spMkLst>
        </pc:spChg>
        <pc:spChg chg="add mod">
          <ac:chgData name="Dawid Janik" userId="81a947f4-3345-42c0-a461-2bf27ee4639f" providerId="ADAL" clId="{A7B4B8D9-7CBB-4479-B3DB-8A74F7DC6FA5}" dt="2023-05-02T12:27:38.669" v="8380" actId="14100"/>
          <ac:spMkLst>
            <pc:docMk/>
            <pc:sldMk cId="1656987977" sldId="2147469976"/>
            <ac:spMk id="8" creationId="{02C72978-E27F-90D9-F0C7-78171F20FA65}"/>
          </ac:spMkLst>
        </pc:spChg>
        <pc:graphicFrameChg chg="add mod">
          <ac:chgData name="Dawid Janik" userId="81a947f4-3345-42c0-a461-2bf27ee4639f" providerId="ADAL" clId="{A7B4B8D9-7CBB-4479-B3DB-8A74F7DC6FA5}" dt="2023-05-03T12:48:58.280" v="8869" actId="20577"/>
          <ac:graphicFrameMkLst>
            <pc:docMk/>
            <pc:sldMk cId="1656987977" sldId="2147469976"/>
            <ac:graphicFrameMk id="5" creationId="{92D2A586-7CF1-473A-C54F-645FE5A0A636}"/>
          </ac:graphicFrameMkLst>
        </pc:graphicFrameChg>
        <pc:picChg chg="add del mod">
          <ac:chgData name="Dawid Janik" userId="81a947f4-3345-42c0-a461-2bf27ee4639f" providerId="ADAL" clId="{A7B4B8D9-7CBB-4479-B3DB-8A74F7DC6FA5}" dt="2023-05-03T12:48:33.211" v="8862" actId="478"/>
          <ac:picMkLst>
            <pc:docMk/>
            <pc:sldMk cId="1656987977" sldId="2147469976"/>
            <ac:picMk id="3" creationId="{3BBD61D8-A311-1024-1581-5B1FE86DD29C}"/>
          </ac:picMkLst>
        </pc:picChg>
        <pc:picChg chg="del">
          <ac:chgData name="Dawid Janik" userId="81a947f4-3345-42c0-a461-2bf27ee4639f" providerId="ADAL" clId="{A7B4B8D9-7CBB-4479-B3DB-8A74F7DC6FA5}" dt="2023-04-26T11:53:32.829" v="1552" actId="478"/>
          <ac:picMkLst>
            <pc:docMk/>
            <pc:sldMk cId="1656987977" sldId="2147469976"/>
            <ac:picMk id="15" creationId="{C6C74333-F21D-69DB-F693-1E2320C396B1}"/>
          </ac:picMkLst>
        </pc:picChg>
        <pc:picChg chg="del">
          <ac:chgData name="Dawid Janik" userId="81a947f4-3345-42c0-a461-2bf27ee4639f" providerId="ADAL" clId="{A7B4B8D9-7CBB-4479-B3DB-8A74F7DC6FA5}" dt="2023-04-26T11:53:29.421" v="1550" actId="478"/>
          <ac:picMkLst>
            <pc:docMk/>
            <pc:sldMk cId="1656987977" sldId="2147469976"/>
            <ac:picMk id="17" creationId="{F67AD6CE-DC50-6B79-7DA4-65A4848A7C7B}"/>
          </ac:picMkLst>
        </pc:picChg>
        <pc:picChg chg="del">
          <ac:chgData name="Dawid Janik" userId="81a947f4-3345-42c0-a461-2bf27ee4639f" providerId="ADAL" clId="{A7B4B8D9-7CBB-4479-B3DB-8A74F7DC6FA5}" dt="2023-04-26T11:53:27.750" v="1549" actId="478"/>
          <ac:picMkLst>
            <pc:docMk/>
            <pc:sldMk cId="1656987977" sldId="2147469976"/>
            <ac:picMk id="19" creationId="{1A113BAF-C745-4A8C-8F84-9E66FF1A96C7}"/>
          </ac:picMkLst>
        </pc:picChg>
        <pc:picChg chg="del">
          <ac:chgData name="Dawid Janik" userId="81a947f4-3345-42c0-a461-2bf27ee4639f" providerId="ADAL" clId="{A7B4B8D9-7CBB-4479-B3DB-8A74F7DC6FA5}" dt="2023-04-26T11:53:31.284" v="1551" actId="478"/>
          <ac:picMkLst>
            <pc:docMk/>
            <pc:sldMk cId="1656987977" sldId="2147469976"/>
            <ac:picMk id="21" creationId="{4A853EED-E617-1C50-886C-F4B90CAE2895}"/>
          </ac:picMkLst>
        </pc:picChg>
      </pc:sldChg>
      <pc:sldChg chg="addSp delSp modSp new mod modTransition">
        <pc:chgData name="Dawid Janik" userId="81a947f4-3345-42c0-a461-2bf27ee4639f" providerId="ADAL" clId="{A7B4B8D9-7CBB-4479-B3DB-8A74F7DC6FA5}" dt="2023-05-05T07:00:12.272" v="9100" actId="14734"/>
        <pc:sldMkLst>
          <pc:docMk/>
          <pc:sldMk cId="379201843" sldId="2147469977"/>
        </pc:sldMkLst>
        <pc:spChg chg="mod">
          <ac:chgData name="Dawid Janik" userId="81a947f4-3345-42c0-a461-2bf27ee4639f" providerId="ADAL" clId="{A7B4B8D9-7CBB-4479-B3DB-8A74F7DC6FA5}" dt="2023-05-02T08:17:36.673" v="7444" actId="1076"/>
          <ac:spMkLst>
            <pc:docMk/>
            <pc:sldMk cId="379201843" sldId="2147469977"/>
            <ac:spMk id="2" creationId="{67AD0F76-A551-C6F1-3145-B209832755BF}"/>
          </ac:spMkLst>
        </pc:spChg>
        <pc:spChg chg="del">
          <ac:chgData name="Dawid Janik" userId="81a947f4-3345-42c0-a461-2bf27ee4639f" providerId="ADAL" clId="{A7B4B8D9-7CBB-4479-B3DB-8A74F7DC6FA5}" dt="2023-05-02T08:17:58.604" v="7445"/>
          <ac:spMkLst>
            <pc:docMk/>
            <pc:sldMk cId="379201843" sldId="2147469977"/>
            <ac:spMk id="3" creationId="{7D6882DF-4B80-2084-2CB5-79A4A75AD381}"/>
          </ac:spMkLst>
        </pc:spChg>
        <pc:graphicFrameChg chg="add mod modGraphic">
          <ac:chgData name="Dawid Janik" userId="81a947f4-3345-42c0-a461-2bf27ee4639f" providerId="ADAL" clId="{A7B4B8D9-7CBB-4479-B3DB-8A74F7DC6FA5}" dt="2023-05-02T11:55:39.122" v="7855" actId="14734"/>
          <ac:graphicFrameMkLst>
            <pc:docMk/>
            <pc:sldMk cId="379201843" sldId="2147469977"/>
            <ac:graphicFrameMk id="5" creationId="{62C97AFB-3E92-D76D-41BA-8F56984CEE29}"/>
          </ac:graphicFrameMkLst>
        </pc:graphicFrameChg>
        <pc:graphicFrameChg chg="add del mod modGraphic">
          <ac:chgData name="Dawid Janik" userId="81a947f4-3345-42c0-a461-2bf27ee4639f" providerId="ADAL" clId="{A7B4B8D9-7CBB-4479-B3DB-8A74F7DC6FA5}" dt="2023-05-02T08:27:40.417" v="7471" actId="478"/>
          <ac:graphicFrameMkLst>
            <pc:docMk/>
            <pc:sldMk cId="379201843" sldId="2147469977"/>
            <ac:graphicFrameMk id="6" creationId="{69CA08A0-7BFE-AAA9-263C-E29477F013BA}"/>
          </ac:graphicFrameMkLst>
        </pc:graphicFrameChg>
        <pc:graphicFrameChg chg="add mod modGraphic">
          <ac:chgData name="Dawid Janik" userId="81a947f4-3345-42c0-a461-2bf27ee4639f" providerId="ADAL" clId="{A7B4B8D9-7CBB-4479-B3DB-8A74F7DC6FA5}" dt="2023-05-05T07:00:12.272" v="9100" actId="14734"/>
          <ac:graphicFrameMkLst>
            <pc:docMk/>
            <pc:sldMk cId="379201843" sldId="2147469977"/>
            <ac:graphicFrameMk id="7" creationId="{8791FF2B-C955-80B9-172F-8C710313BE4B}"/>
          </ac:graphicFrameMkLst>
        </pc:graphicFrameChg>
      </pc:sldChg>
      <pc:sldChg chg="addSp delSp modSp new mod modTransition">
        <pc:chgData name="Dawid Janik" userId="81a947f4-3345-42c0-a461-2bf27ee4639f" providerId="ADAL" clId="{A7B4B8D9-7CBB-4479-B3DB-8A74F7DC6FA5}" dt="2023-05-05T12:58:23.378" v="9788"/>
        <pc:sldMkLst>
          <pc:docMk/>
          <pc:sldMk cId="1956471349" sldId="2147469978"/>
        </pc:sldMkLst>
        <pc:spChg chg="del">
          <ac:chgData name="Dawid Janik" userId="81a947f4-3345-42c0-a461-2bf27ee4639f" providerId="ADAL" clId="{A7B4B8D9-7CBB-4479-B3DB-8A74F7DC6FA5}" dt="2023-05-02T12:52:24.538" v="8620" actId="478"/>
          <ac:spMkLst>
            <pc:docMk/>
            <pc:sldMk cId="1956471349" sldId="2147469978"/>
            <ac:spMk id="2" creationId="{A0334301-24C4-91B5-B080-C27F488BFFE8}"/>
          </ac:spMkLst>
        </pc:spChg>
        <pc:spChg chg="add del">
          <ac:chgData name="Dawid Janik" userId="81a947f4-3345-42c0-a461-2bf27ee4639f" providerId="ADAL" clId="{A7B4B8D9-7CBB-4479-B3DB-8A74F7DC6FA5}" dt="2023-05-05T07:11:41.781" v="9124" actId="22"/>
          <ac:spMkLst>
            <pc:docMk/>
            <pc:sldMk cId="1956471349" sldId="2147469978"/>
            <ac:spMk id="3" creationId="{0502D3FD-2E97-F656-A441-FFFF321180F4}"/>
          </ac:spMkLst>
        </pc:spChg>
        <pc:spChg chg="del">
          <ac:chgData name="Dawid Janik" userId="81a947f4-3345-42c0-a461-2bf27ee4639f" providerId="ADAL" clId="{A7B4B8D9-7CBB-4479-B3DB-8A74F7DC6FA5}" dt="2023-05-02T12:52:25.471" v="8621" actId="478"/>
          <ac:spMkLst>
            <pc:docMk/>
            <pc:sldMk cId="1956471349" sldId="2147469978"/>
            <ac:spMk id="3" creationId="{C470CA0D-34C9-7FCB-5BB1-55705D96B09D}"/>
          </ac:spMkLst>
        </pc:spChg>
        <pc:spChg chg="del">
          <ac:chgData name="Dawid Janik" userId="81a947f4-3345-42c0-a461-2bf27ee4639f" providerId="ADAL" clId="{A7B4B8D9-7CBB-4479-B3DB-8A74F7DC6FA5}" dt="2023-05-02T12:52:02.038" v="8580"/>
          <ac:spMkLst>
            <pc:docMk/>
            <pc:sldMk cId="1956471349" sldId="2147469978"/>
            <ac:spMk id="5" creationId="{18956300-FF4F-45B4-F58F-A4EFA1782E80}"/>
          </ac:spMkLst>
        </pc:spChg>
        <pc:spChg chg="del">
          <ac:chgData name="Dawid Janik" userId="81a947f4-3345-42c0-a461-2bf27ee4639f" providerId="ADAL" clId="{A7B4B8D9-7CBB-4479-B3DB-8A74F7DC6FA5}" dt="2023-05-02T12:52:23.071" v="8619" actId="478"/>
          <ac:spMkLst>
            <pc:docMk/>
            <pc:sldMk cId="1956471349" sldId="2147469978"/>
            <ac:spMk id="6" creationId="{EAF35F61-81F3-8F50-2A64-84D0DE46AEB1}"/>
          </ac:spMkLst>
        </pc:spChg>
        <pc:spChg chg="del">
          <ac:chgData name="Dawid Janik" userId="81a947f4-3345-42c0-a461-2bf27ee4639f" providerId="ADAL" clId="{A7B4B8D9-7CBB-4479-B3DB-8A74F7DC6FA5}" dt="2023-05-02T12:52:26.345" v="8622" actId="478"/>
          <ac:spMkLst>
            <pc:docMk/>
            <pc:sldMk cId="1956471349" sldId="2147469978"/>
            <ac:spMk id="7" creationId="{57F878F7-4AB2-287A-0F59-015FE64A0233}"/>
          </ac:spMkLst>
        </pc:spChg>
        <pc:spChg chg="add del mod">
          <ac:chgData name="Dawid Janik" userId="81a947f4-3345-42c0-a461-2bf27ee4639f" providerId="ADAL" clId="{A7B4B8D9-7CBB-4479-B3DB-8A74F7DC6FA5}" dt="2023-05-02T12:52:06.155" v="8582" actId="478"/>
          <ac:spMkLst>
            <pc:docMk/>
            <pc:sldMk cId="1956471349" sldId="2147469978"/>
            <ac:spMk id="8" creationId="{9039EF7A-FDD9-B8B1-2262-FF163DB7ED9E}"/>
          </ac:spMkLst>
        </pc:spChg>
        <pc:spChg chg="add mod">
          <ac:chgData name="Dawid Janik" userId="81a947f4-3345-42c0-a461-2bf27ee4639f" providerId="ADAL" clId="{A7B4B8D9-7CBB-4479-B3DB-8A74F7DC6FA5}" dt="2023-05-05T11:46:02.028" v="9332" actId="20577"/>
          <ac:spMkLst>
            <pc:docMk/>
            <pc:sldMk cId="1956471349" sldId="2147469978"/>
            <ac:spMk id="9" creationId="{837F28B9-DD65-6C00-9263-311D4CF83371}"/>
          </ac:spMkLst>
        </pc:spChg>
        <pc:graphicFrameChg chg="add del">
          <ac:chgData name="Dawid Janik" userId="81a947f4-3345-42c0-a461-2bf27ee4639f" providerId="ADAL" clId="{A7B4B8D9-7CBB-4479-B3DB-8A74F7DC6FA5}" dt="2023-05-05T12:58:23.378" v="9788"/>
          <ac:graphicFrameMkLst>
            <pc:docMk/>
            <pc:sldMk cId="1956471349" sldId="2147469978"/>
            <ac:graphicFrameMk id="2" creationId="{CECF9335-0A6B-CE88-7D85-D828CA30BB0E}"/>
          </ac:graphicFrameMkLst>
        </pc:graphicFrameChg>
        <pc:graphicFrameChg chg="add del mod modGraphic">
          <ac:chgData name="Dawid Janik" userId="81a947f4-3345-42c0-a461-2bf27ee4639f" providerId="ADAL" clId="{A7B4B8D9-7CBB-4479-B3DB-8A74F7DC6FA5}" dt="2023-05-02T13:40:05.813" v="8792" actId="478"/>
          <ac:graphicFrameMkLst>
            <pc:docMk/>
            <pc:sldMk cId="1956471349" sldId="2147469978"/>
            <ac:graphicFrameMk id="10" creationId="{EB76D871-B46F-FD2A-8DA7-F925A2575C28}"/>
          </ac:graphicFrameMkLst>
        </pc:graphicFrameChg>
        <pc:graphicFrameChg chg="add del mod">
          <ac:chgData name="Dawid Janik" userId="81a947f4-3345-42c0-a461-2bf27ee4639f" providerId="ADAL" clId="{A7B4B8D9-7CBB-4479-B3DB-8A74F7DC6FA5}" dt="2023-05-02T13:25:46.677" v="8653" actId="478"/>
          <ac:graphicFrameMkLst>
            <pc:docMk/>
            <pc:sldMk cId="1956471349" sldId="2147469978"/>
            <ac:graphicFrameMk id="11" creationId="{81590E6A-3498-5921-0DC2-8DF62E4878EC}"/>
          </ac:graphicFrameMkLst>
        </pc:graphicFrameChg>
        <pc:graphicFrameChg chg="add del mod modGraphic">
          <ac:chgData name="Dawid Janik" userId="81a947f4-3345-42c0-a461-2bf27ee4639f" providerId="ADAL" clId="{A7B4B8D9-7CBB-4479-B3DB-8A74F7DC6FA5}" dt="2023-05-02T13:28:55.246" v="8663" actId="478"/>
          <ac:graphicFrameMkLst>
            <pc:docMk/>
            <pc:sldMk cId="1956471349" sldId="2147469978"/>
            <ac:graphicFrameMk id="12" creationId="{EEA629C1-0CB2-23D6-8B01-8185BBF3F6B7}"/>
          </ac:graphicFrameMkLst>
        </pc:graphicFrameChg>
        <pc:graphicFrameChg chg="add del mod modGraphic">
          <ac:chgData name="Dawid Janik" userId="81a947f4-3345-42c0-a461-2bf27ee4639f" providerId="ADAL" clId="{A7B4B8D9-7CBB-4479-B3DB-8A74F7DC6FA5}" dt="2023-05-02T13:35:19.125" v="8690" actId="21"/>
          <ac:graphicFrameMkLst>
            <pc:docMk/>
            <pc:sldMk cId="1956471349" sldId="2147469978"/>
            <ac:graphicFrameMk id="13" creationId="{383BA29D-692B-25F3-BD04-94F26A2F6844}"/>
          </ac:graphicFrameMkLst>
        </pc:graphicFrameChg>
        <pc:graphicFrameChg chg="add del mod">
          <ac:chgData name="Dawid Janik" userId="81a947f4-3345-42c0-a461-2bf27ee4639f" providerId="ADAL" clId="{A7B4B8D9-7CBB-4479-B3DB-8A74F7DC6FA5}" dt="2023-05-02T13:35:09.485" v="8687" actId="21"/>
          <ac:graphicFrameMkLst>
            <pc:docMk/>
            <pc:sldMk cId="1956471349" sldId="2147469978"/>
            <ac:graphicFrameMk id="14" creationId="{B5A50CF9-F70D-3FE6-0417-5D06709F3469}"/>
          </ac:graphicFrameMkLst>
        </pc:graphicFrameChg>
        <pc:graphicFrameChg chg="add del mod">
          <ac:chgData name="Dawid Janik" userId="81a947f4-3345-42c0-a461-2bf27ee4639f" providerId="ADAL" clId="{A7B4B8D9-7CBB-4479-B3DB-8A74F7DC6FA5}" dt="2023-05-02T13:38:24.428" v="8727" actId="478"/>
          <ac:graphicFrameMkLst>
            <pc:docMk/>
            <pc:sldMk cId="1956471349" sldId="2147469978"/>
            <ac:graphicFrameMk id="15" creationId="{16C24717-2D1C-30D6-45CA-C2D3A39DFA6D}"/>
          </ac:graphicFrameMkLst>
        </pc:graphicFrameChg>
        <pc:graphicFrameChg chg="add mod modGraphic">
          <ac:chgData name="Dawid Janik" userId="81a947f4-3345-42c0-a461-2bf27ee4639f" providerId="ADAL" clId="{A7B4B8D9-7CBB-4479-B3DB-8A74F7DC6FA5}" dt="2023-05-05T07:11:44.493" v="9125"/>
          <ac:graphicFrameMkLst>
            <pc:docMk/>
            <pc:sldMk cId="1956471349" sldId="2147469978"/>
            <ac:graphicFrameMk id="16" creationId="{FCA2BEDD-65B1-F2F6-3C97-C1041DEFA63D}"/>
          </ac:graphicFrameMkLst>
        </pc:graphicFrameChg>
        <pc:graphicFrameChg chg="add mod modGraphic">
          <ac:chgData name="Dawid Janik" userId="81a947f4-3345-42c0-a461-2bf27ee4639f" providerId="ADAL" clId="{A7B4B8D9-7CBB-4479-B3DB-8A74F7DC6FA5}" dt="2023-05-05T07:11:48.370" v="9127" actId="20577"/>
          <ac:graphicFrameMkLst>
            <pc:docMk/>
            <pc:sldMk cId="1956471349" sldId="2147469978"/>
            <ac:graphicFrameMk id="17" creationId="{CD237CF1-DC83-07A2-A8F7-C50EA45380BF}"/>
          </ac:graphicFrameMkLst>
        </pc:graphicFrameChg>
        <pc:graphicFrameChg chg="add mod modGraphic">
          <ac:chgData name="Dawid Janik" userId="81a947f4-3345-42c0-a461-2bf27ee4639f" providerId="ADAL" clId="{A7B4B8D9-7CBB-4479-B3DB-8A74F7DC6FA5}" dt="2023-05-05T07:11:37.290" v="9122" actId="20577"/>
          <ac:graphicFrameMkLst>
            <pc:docMk/>
            <pc:sldMk cId="1956471349" sldId="2147469978"/>
            <ac:graphicFrameMk id="18" creationId="{6ED294A4-82F9-5D33-F4C5-03A50AB32B1A}"/>
          </ac:graphicFrameMkLst>
        </pc:graphicFrameChg>
        <pc:picChg chg="add del mod">
          <ac:chgData name="Dawid Janik" userId="81a947f4-3345-42c0-a461-2bf27ee4639f" providerId="ADAL" clId="{A7B4B8D9-7CBB-4479-B3DB-8A74F7DC6FA5}" dt="2023-05-02T13:36:11.788" v="8723" actId="478"/>
          <ac:picMkLst>
            <pc:docMk/>
            <pc:sldMk cId="1956471349" sldId="2147469978"/>
            <ac:picMk id="2049" creationId="{DC0EF127-494C-0E3F-C3ED-0C67BDC47041}"/>
          </ac:picMkLst>
        </pc:picChg>
      </pc:sldChg>
      <pc:sldChg chg="addSp delSp modSp new mod modTransition">
        <pc:chgData name="Dawid Janik" userId="81a947f4-3345-42c0-a461-2bf27ee4639f" providerId="ADAL" clId="{A7B4B8D9-7CBB-4479-B3DB-8A74F7DC6FA5}" dt="2023-05-05T13:19:09.336" v="9970" actId="1076"/>
        <pc:sldMkLst>
          <pc:docMk/>
          <pc:sldMk cId="3369297830" sldId="2147469979"/>
        </pc:sldMkLst>
        <pc:spChg chg="del">
          <ac:chgData name="Dawid Janik" userId="81a947f4-3345-42c0-a461-2bf27ee4639f" providerId="ADAL" clId="{A7B4B8D9-7CBB-4479-B3DB-8A74F7DC6FA5}" dt="2023-05-02T13:32:35.581" v="8679" actId="478"/>
          <ac:spMkLst>
            <pc:docMk/>
            <pc:sldMk cId="3369297830" sldId="2147469979"/>
            <ac:spMk id="2" creationId="{A73218E5-59B2-1C49-7849-CF89EA8FC46A}"/>
          </ac:spMkLst>
        </pc:spChg>
        <pc:spChg chg="del">
          <ac:chgData name="Dawid Janik" userId="81a947f4-3345-42c0-a461-2bf27ee4639f" providerId="ADAL" clId="{A7B4B8D9-7CBB-4479-B3DB-8A74F7DC6FA5}" dt="2023-05-02T13:32:37.356" v="8680" actId="478"/>
          <ac:spMkLst>
            <pc:docMk/>
            <pc:sldMk cId="3369297830" sldId="2147469979"/>
            <ac:spMk id="3" creationId="{19AD7738-1EF3-5790-3C11-83CE6069591F}"/>
          </ac:spMkLst>
        </pc:spChg>
        <pc:spChg chg="del">
          <ac:chgData name="Dawid Janik" userId="81a947f4-3345-42c0-a461-2bf27ee4639f" providerId="ADAL" clId="{A7B4B8D9-7CBB-4479-B3DB-8A74F7DC6FA5}" dt="2023-05-02T13:32:34.716" v="8678" actId="478"/>
          <ac:spMkLst>
            <pc:docMk/>
            <pc:sldMk cId="3369297830" sldId="2147469979"/>
            <ac:spMk id="5" creationId="{910A4BEC-6780-C5C8-845C-C428BE05DF44}"/>
          </ac:spMkLst>
        </pc:spChg>
        <pc:spChg chg="del">
          <ac:chgData name="Dawid Janik" userId="81a947f4-3345-42c0-a461-2bf27ee4639f" providerId="ADAL" clId="{A7B4B8D9-7CBB-4479-B3DB-8A74F7DC6FA5}" dt="2023-05-02T13:32:39.917" v="8682" actId="478"/>
          <ac:spMkLst>
            <pc:docMk/>
            <pc:sldMk cId="3369297830" sldId="2147469979"/>
            <ac:spMk id="6" creationId="{709DB0C4-A994-6B0B-4964-98637EA440D6}"/>
          </ac:spMkLst>
        </pc:spChg>
        <pc:spChg chg="del">
          <ac:chgData name="Dawid Janik" userId="81a947f4-3345-42c0-a461-2bf27ee4639f" providerId="ADAL" clId="{A7B4B8D9-7CBB-4479-B3DB-8A74F7DC6FA5}" dt="2023-05-02T13:32:38.844" v="8681" actId="478"/>
          <ac:spMkLst>
            <pc:docMk/>
            <pc:sldMk cId="3369297830" sldId="2147469979"/>
            <ac:spMk id="7" creationId="{AFCB2A75-F102-B279-672F-CAAA65605F31}"/>
          </ac:spMkLst>
        </pc:spChg>
        <pc:spChg chg="add mod">
          <ac:chgData name="Dawid Janik" userId="81a947f4-3345-42c0-a461-2bf27ee4639f" providerId="ADAL" clId="{A7B4B8D9-7CBB-4479-B3DB-8A74F7DC6FA5}" dt="2023-05-02T13:36:00.442" v="8722" actId="1076"/>
          <ac:spMkLst>
            <pc:docMk/>
            <pc:sldMk cId="3369297830" sldId="2147469979"/>
            <ac:spMk id="11" creationId="{62CE8176-0E47-5856-21A2-AC937D8A4095}"/>
          </ac:spMkLst>
        </pc:spChg>
        <pc:graphicFrameChg chg="add mod">
          <ac:chgData name="Dawid Janik" userId="81a947f4-3345-42c0-a461-2bf27ee4639f" providerId="ADAL" clId="{A7B4B8D9-7CBB-4479-B3DB-8A74F7DC6FA5}" dt="2023-05-03T12:53:10.744" v="8886" actId="2085"/>
          <ac:graphicFrameMkLst>
            <pc:docMk/>
            <pc:sldMk cId="3369297830" sldId="2147469979"/>
            <ac:graphicFrameMk id="2" creationId="{0A266EBD-FF7B-71C7-0343-71119591EC73}"/>
          </ac:graphicFrameMkLst>
        </pc:graphicFrameChg>
        <pc:graphicFrameChg chg="add del mod modGraphic">
          <ac:chgData name="Dawid Janik" userId="81a947f4-3345-42c0-a461-2bf27ee4639f" providerId="ADAL" clId="{A7B4B8D9-7CBB-4479-B3DB-8A74F7DC6FA5}" dt="2023-05-05T13:19:00.046" v="9968" actId="20577"/>
          <ac:graphicFrameMkLst>
            <pc:docMk/>
            <pc:sldMk cId="3369297830" sldId="2147469979"/>
            <ac:graphicFrameMk id="8" creationId="{81B964D1-4E0C-0ED9-6B00-731A1F94682C}"/>
          </ac:graphicFrameMkLst>
        </pc:graphicFrameChg>
        <pc:graphicFrameChg chg="add mod modGraphic">
          <ac:chgData name="Dawid Janik" userId="81a947f4-3345-42c0-a461-2bf27ee4639f" providerId="ADAL" clId="{A7B4B8D9-7CBB-4479-B3DB-8A74F7DC6FA5}" dt="2023-05-05T13:19:09.336" v="9970" actId="1076"/>
          <ac:graphicFrameMkLst>
            <pc:docMk/>
            <pc:sldMk cId="3369297830" sldId="2147469979"/>
            <ac:graphicFrameMk id="9" creationId="{F2B391D6-E8B5-FF0F-F558-5461BA36DC1C}"/>
          </ac:graphicFrameMkLst>
        </pc:graphicFrameChg>
        <pc:picChg chg="add del mod">
          <ac:chgData name="Dawid Janik" userId="81a947f4-3345-42c0-a461-2bf27ee4639f" providerId="ADAL" clId="{A7B4B8D9-7CBB-4479-B3DB-8A74F7DC6FA5}" dt="2023-05-03T12:53:02.801" v="8882" actId="478"/>
          <ac:picMkLst>
            <pc:docMk/>
            <pc:sldMk cId="3369297830" sldId="2147469979"/>
            <ac:picMk id="3073" creationId="{B798100F-22B7-5AB6-B736-C1560A53CD5F}"/>
          </ac:picMkLst>
        </pc:picChg>
      </pc:sldChg>
      <pc:sldChg chg="addSp delSp modSp new mod modTransition">
        <pc:chgData name="Dawid Janik" userId="81a947f4-3345-42c0-a461-2bf27ee4639f" providerId="ADAL" clId="{A7B4B8D9-7CBB-4479-B3DB-8A74F7DC6FA5}" dt="2023-05-07T11:21:46.288" v="10161" actId="1076"/>
        <pc:sldMkLst>
          <pc:docMk/>
          <pc:sldMk cId="1404617844" sldId="2147469980"/>
        </pc:sldMkLst>
        <pc:spChg chg="del">
          <ac:chgData name="Dawid Janik" userId="81a947f4-3345-42c0-a461-2bf27ee4639f" providerId="ADAL" clId="{A7B4B8D9-7CBB-4479-B3DB-8A74F7DC6FA5}" dt="2023-05-03T12:56:48.187" v="8897" actId="478"/>
          <ac:spMkLst>
            <pc:docMk/>
            <pc:sldMk cId="1404617844" sldId="2147469980"/>
            <ac:spMk id="2" creationId="{131AD26D-18E0-BC7F-2318-EA8E3A5F313C}"/>
          </ac:spMkLst>
        </pc:spChg>
        <pc:spChg chg="del">
          <ac:chgData name="Dawid Janik" userId="81a947f4-3345-42c0-a461-2bf27ee4639f" providerId="ADAL" clId="{A7B4B8D9-7CBB-4479-B3DB-8A74F7DC6FA5}" dt="2023-05-03T12:56:50.434" v="8899" actId="478"/>
          <ac:spMkLst>
            <pc:docMk/>
            <pc:sldMk cId="1404617844" sldId="2147469980"/>
            <ac:spMk id="3" creationId="{7C364212-AFEB-983F-8182-75E1E2A9EC24}"/>
          </ac:spMkLst>
        </pc:spChg>
        <pc:spChg chg="del">
          <ac:chgData name="Dawid Janik" userId="81a947f4-3345-42c0-a461-2bf27ee4639f" providerId="ADAL" clId="{A7B4B8D9-7CBB-4479-B3DB-8A74F7DC6FA5}" dt="2023-05-03T12:56:47.139" v="8896" actId="478"/>
          <ac:spMkLst>
            <pc:docMk/>
            <pc:sldMk cId="1404617844" sldId="2147469980"/>
            <ac:spMk id="5" creationId="{A8D917EE-D5D6-4165-A631-1A203C291C47}"/>
          </ac:spMkLst>
        </pc:spChg>
        <pc:spChg chg="del">
          <ac:chgData name="Dawid Janik" userId="81a947f4-3345-42c0-a461-2bf27ee4639f" providerId="ADAL" clId="{A7B4B8D9-7CBB-4479-B3DB-8A74F7DC6FA5}" dt="2023-05-03T12:56:49.131" v="8898" actId="478"/>
          <ac:spMkLst>
            <pc:docMk/>
            <pc:sldMk cId="1404617844" sldId="2147469980"/>
            <ac:spMk id="6" creationId="{E5C3E9BB-8EEC-C891-ACA9-10D0E973CB89}"/>
          </ac:spMkLst>
        </pc:spChg>
        <pc:spChg chg="del">
          <ac:chgData name="Dawid Janik" userId="81a947f4-3345-42c0-a461-2bf27ee4639f" providerId="ADAL" clId="{A7B4B8D9-7CBB-4479-B3DB-8A74F7DC6FA5}" dt="2023-05-03T12:56:51.306" v="8900" actId="478"/>
          <ac:spMkLst>
            <pc:docMk/>
            <pc:sldMk cId="1404617844" sldId="2147469980"/>
            <ac:spMk id="7" creationId="{DB07667A-2A44-8D1D-357B-7F2F49C7672E}"/>
          </ac:spMkLst>
        </pc:spChg>
        <pc:spChg chg="add mod">
          <ac:chgData name="Dawid Janik" userId="81a947f4-3345-42c0-a461-2bf27ee4639f" providerId="ADAL" clId="{A7B4B8D9-7CBB-4479-B3DB-8A74F7DC6FA5}" dt="2023-05-07T11:21:46.288" v="10161" actId="1076"/>
          <ac:spMkLst>
            <pc:docMk/>
            <pc:sldMk cId="1404617844" sldId="2147469980"/>
            <ac:spMk id="13" creationId="{D7A504BE-526C-8DB5-825E-FD9C47BFD817}"/>
          </ac:spMkLst>
        </pc:spChg>
        <pc:graphicFrameChg chg="add mod modGraphic">
          <ac:chgData name="Dawid Janik" userId="81a947f4-3345-42c0-a461-2bf27ee4639f" providerId="ADAL" clId="{A7B4B8D9-7CBB-4479-B3DB-8A74F7DC6FA5}" dt="2023-05-05T12:24:59.084" v="9743" actId="1076"/>
          <ac:graphicFrameMkLst>
            <pc:docMk/>
            <pc:sldMk cId="1404617844" sldId="2147469980"/>
            <ac:graphicFrameMk id="2" creationId="{B6C20C4D-9626-B18A-1C7C-F6986182856B}"/>
          </ac:graphicFrameMkLst>
        </pc:graphicFrameChg>
        <pc:graphicFrameChg chg="add del mod modGraphic">
          <ac:chgData name="Dawid Janik" userId="81a947f4-3345-42c0-a461-2bf27ee4639f" providerId="ADAL" clId="{A7B4B8D9-7CBB-4479-B3DB-8A74F7DC6FA5}" dt="2023-05-03T13:01:12.629" v="8904"/>
          <ac:graphicFrameMkLst>
            <pc:docMk/>
            <pc:sldMk cId="1404617844" sldId="2147469980"/>
            <ac:graphicFrameMk id="8" creationId="{46397960-8B6D-F6BB-2AAC-6D7463DE45E2}"/>
          </ac:graphicFrameMkLst>
        </pc:graphicFrameChg>
        <pc:graphicFrameChg chg="add del mod">
          <ac:chgData name="Dawid Janik" userId="81a947f4-3345-42c0-a461-2bf27ee4639f" providerId="ADAL" clId="{A7B4B8D9-7CBB-4479-B3DB-8A74F7DC6FA5}" dt="2023-05-03T13:01:18.527" v="8906"/>
          <ac:graphicFrameMkLst>
            <pc:docMk/>
            <pc:sldMk cId="1404617844" sldId="2147469980"/>
            <ac:graphicFrameMk id="9" creationId="{09E82EBC-170D-1C44-18CB-7F5D1C9C91F5}"/>
          </ac:graphicFrameMkLst>
        </pc:graphicFrameChg>
        <pc:graphicFrameChg chg="add del mod modGraphic">
          <ac:chgData name="Dawid Janik" userId="81a947f4-3345-42c0-a461-2bf27ee4639f" providerId="ADAL" clId="{A7B4B8D9-7CBB-4479-B3DB-8A74F7DC6FA5}" dt="2023-05-03T13:01:59.422" v="8909" actId="478"/>
          <ac:graphicFrameMkLst>
            <pc:docMk/>
            <pc:sldMk cId="1404617844" sldId="2147469980"/>
            <ac:graphicFrameMk id="10" creationId="{E9FBF285-9C39-28C8-8DDA-201EC2744E7E}"/>
          </ac:graphicFrameMkLst>
        </pc:graphicFrameChg>
        <pc:graphicFrameChg chg="add del mod modGraphic">
          <ac:chgData name="Dawid Janik" userId="81a947f4-3345-42c0-a461-2bf27ee4639f" providerId="ADAL" clId="{A7B4B8D9-7CBB-4479-B3DB-8A74F7DC6FA5}" dt="2023-05-03T13:02:08.419" v="8913" actId="478"/>
          <ac:graphicFrameMkLst>
            <pc:docMk/>
            <pc:sldMk cId="1404617844" sldId="2147469980"/>
            <ac:graphicFrameMk id="11" creationId="{42F3742B-47FD-A940-0DB0-966F81A261B8}"/>
          </ac:graphicFrameMkLst>
        </pc:graphicFrameChg>
        <pc:graphicFrameChg chg="add mod">
          <ac:chgData name="Dawid Janik" userId="81a947f4-3345-42c0-a461-2bf27ee4639f" providerId="ADAL" clId="{A7B4B8D9-7CBB-4479-B3DB-8A74F7DC6FA5}" dt="2023-05-05T12:24:42.814" v="9740" actId="14100"/>
          <ac:graphicFrameMkLst>
            <pc:docMk/>
            <pc:sldMk cId="1404617844" sldId="2147469980"/>
            <ac:graphicFrameMk id="14" creationId="{B617F65F-DD9A-E1C1-455A-3089A44155D7}"/>
          </ac:graphicFrameMkLst>
        </pc:graphicFrameChg>
        <pc:graphicFrameChg chg="add del mod modGraphic">
          <ac:chgData name="Dawid Janik" userId="81a947f4-3345-42c0-a461-2bf27ee4639f" providerId="ADAL" clId="{A7B4B8D9-7CBB-4479-B3DB-8A74F7DC6FA5}" dt="2023-05-03T13:05:29.681" v="8950" actId="478"/>
          <ac:graphicFrameMkLst>
            <pc:docMk/>
            <pc:sldMk cId="1404617844" sldId="2147469980"/>
            <ac:graphicFrameMk id="15" creationId="{A26C3ACA-0BF4-FF49-F71A-6C208AB5174B}"/>
          </ac:graphicFrameMkLst>
        </pc:graphicFrameChg>
        <pc:graphicFrameChg chg="add del mod modGraphic">
          <ac:chgData name="Dawid Janik" userId="81a947f4-3345-42c0-a461-2bf27ee4639f" providerId="ADAL" clId="{A7B4B8D9-7CBB-4479-B3DB-8A74F7DC6FA5}" dt="2023-05-03T13:10:23.762" v="9024" actId="478"/>
          <ac:graphicFrameMkLst>
            <pc:docMk/>
            <pc:sldMk cId="1404617844" sldId="2147469980"/>
            <ac:graphicFrameMk id="16" creationId="{D4354616-C5FF-74AC-4A9D-C12C8A8721BA}"/>
          </ac:graphicFrameMkLst>
        </pc:graphicFrameChg>
        <pc:graphicFrameChg chg="add del mod">
          <ac:chgData name="Dawid Janik" userId="81a947f4-3345-42c0-a461-2bf27ee4639f" providerId="ADAL" clId="{A7B4B8D9-7CBB-4479-B3DB-8A74F7DC6FA5}" dt="2023-05-03T13:07:52.636" v="8984"/>
          <ac:graphicFrameMkLst>
            <pc:docMk/>
            <pc:sldMk cId="1404617844" sldId="2147469980"/>
            <ac:graphicFrameMk id="17" creationId="{A398DDE4-82B5-309A-4F1D-6435C746ACF4}"/>
          </ac:graphicFrameMkLst>
        </pc:graphicFrameChg>
      </pc:sldChg>
      <pc:sldChg chg="addSp delSp modSp new mod modTransition">
        <pc:chgData name="Dawid Janik" userId="81a947f4-3345-42c0-a461-2bf27ee4639f" providerId="ADAL" clId="{A7B4B8D9-7CBB-4479-B3DB-8A74F7DC6FA5}" dt="2023-05-05T13:20:14.758" v="9976" actId="2711"/>
        <pc:sldMkLst>
          <pc:docMk/>
          <pc:sldMk cId="2922533607" sldId="2147469981"/>
        </pc:sldMkLst>
        <pc:spChg chg="del">
          <ac:chgData name="Dawid Janik" userId="81a947f4-3345-42c0-a461-2bf27ee4639f" providerId="ADAL" clId="{A7B4B8D9-7CBB-4479-B3DB-8A74F7DC6FA5}" dt="2023-05-03T13:07:03.651" v="8969" actId="478"/>
          <ac:spMkLst>
            <pc:docMk/>
            <pc:sldMk cId="2922533607" sldId="2147469981"/>
            <ac:spMk id="2" creationId="{B251B70D-3FD5-9C08-6A93-CD0999C15ABA}"/>
          </ac:spMkLst>
        </pc:spChg>
        <pc:spChg chg="del">
          <ac:chgData name="Dawid Janik" userId="81a947f4-3345-42c0-a461-2bf27ee4639f" providerId="ADAL" clId="{A7B4B8D9-7CBB-4479-B3DB-8A74F7DC6FA5}" dt="2023-05-03T13:07:07.098" v="8971" actId="478"/>
          <ac:spMkLst>
            <pc:docMk/>
            <pc:sldMk cId="2922533607" sldId="2147469981"/>
            <ac:spMk id="3" creationId="{04743C1A-F956-2745-E72F-C6C982A7E44B}"/>
          </ac:spMkLst>
        </pc:spChg>
        <pc:spChg chg="add mod">
          <ac:chgData name="Dawid Janik" userId="81a947f4-3345-42c0-a461-2bf27ee4639f" providerId="ADAL" clId="{A7B4B8D9-7CBB-4479-B3DB-8A74F7DC6FA5}" dt="2023-05-05T10:30:57.342" v="9266" actId="108"/>
          <ac:spMkLst>
            <pc:docMk/>
            <pc:sldMk cId="2922533607" sldId="2147469981"/>
            <ac:spMk id="3" creationId="{733A38E1-C6F6-9E7D-C402-312155F05AA9}"/>
          </ac:spMkLst>
        </pc:spChg>
        <pc:spChg chg="del">
          <ac:chgData name="Dawid Janik" userId="81a947f4-3345-42c0-a461-2bf27ee4639f" providerId="ADAL" clId="{A7B4B8D9-7CBB-4479-B3DB-8A74F7DC6FA5}" dt="2023-05-03T13:07:00.833" v="8968" actId="478"/>
          <ac:spMkLst>
            <pc:docMk/>
            <pc:sldMk cId="2922533607" sldId="2147469981"/>
            <ac:spMk id="5" creationId="{96B13244-E990-BD15-BB47-621BA5318B4C}"/>
          </ac:spMkLst>
        </pc:spChg>
        <pc:spChg chg="del">
          <ac:chgData name="Dawid Janik" userId="81a947f4-3345-42c0-a461-2bf27ee4639f" providerId="ADAL" clId="{A7B4B8D9-7CBB-4479-B3DB-8A74F7DC6FA5}" dt="2023-05-03T13:07:04.464" v="8970" actId="478"/>
          <ac:spMkLst>
            <pc:docMk/>
            <pc:sldMk cId="2922533607" sldId="2147469981"/>
            <ac:spMk id="6" creationId="{DEEF4AD1-2425-9382-A1C6-A35C3516B5DF}"/>
          </ac:spMkLst>
        </pc:spChg>
        <pc:spChg chg="del">
          <ac:chgData name="Dawid Janik" userId="81a947f4-3345-42c0-a461-2bf27ee4639f" providerId="ADAL" clId="{A7B4B8D9-7CBB-4479-B3DB-8A74F7DC6FA5}" dt="2023-05-03T13:07:07.801" v="8972" actId="478"/>
          <ac:spMkLst>
            <pc:docMk/>
            <pc:sldMk cId="2922533607" sldId="2147469981"/>
            <ac:spMk id="7" creationId="{91F6DBE6-7CB2-486B-C02C-43E64CD5B2A7}"/>
          </ac:spMkLst>
        </pc:spChg>
        <pc:graphicFrameChg chg="add del mod">
          <ac:chgData name="Dawid Janik" userId="81a947f4-3345-42c0-a461-2bf27ee4639f" providerId="ADAL" clId="{A7B4B8D9-7CBB-4479-B3DB-8A74F7DC6FA5}" dt="2023-05-03T13:07:16.386" v="8974"/>
          <ac:graphicFrameMkLst>
            <pc:docMk/>
            <pc:sldMk cId="2922533607" sldId="2147469981"/>
            <ac:graphicFrameMk id="8" creationId="{2B0F4CAD-577D-B128-67EA-541CC395B0D7}"/>
          </ac:graphicFrameMkLst>
        </pc:graphicFrameChg>
        <pc:graphicFrameChg chg="add del mod">
          <ac:chgData name="Dawid Janik" userId="81a947f4-3345-42c0-a461-2bf27ee4639f" providerId="ADAL" clId="{A7B4B8D9-7CBB-4479-B3DB-8A74F7DC6FA5}" dt="2023-05-03T13:07:18.286" v="8976"/>
          <ac:graphicFrameMkLst>
            <pc:docMk/>
            <pc:sldMk cId="2922533607" sldId="2147469981"/>
            <ac:graphicFrameMk id="9" creationId="{241CD25C-BF8A-2CE0-AF13-9A26D25000ED}"/>
          </ac:graphicFrameMkLst>
        </pc:graphicFrameChg>
        <pc:graphicFrameChg chg="add del mod">
          <ac:chgData name="Dawid Janik" userId="81a947f4-3345-42c0-a461-2bf27ee4639f" providerId="ADAL" clId="{A7B4B8D9-7CBB-4479-B3DB-8A74F7DC6FA5}" dt="2023-05-03T13:07:26.076" v="8978"/>
          <ac:graphicFrameMkLst>
            <pc:docMk/>
            <pc:sldMk cId="2922533607" sldId="2147469981"/>
            <ac:graphicFrameMk id="10" creationId="{48808508-28EC-0C66-7DB0-E4B42EE0DCB4}"/>
          </ac:graphicFrameMkLst>
        </pc:graphicFrameChg>
        <pc:graphicFrameChg chg="add del mod">
          <ac:chgData name="Dawid Janik" userId="81a947f4-3345-42c0-a461-2bf27ee4639f" providerId="ADAL" clId="{A7B4B8D9-7CBB-4479-B3DB-8A74F7DC6FA5}" dt="2023-05-03T13:07:34.691" v="8980"/>
          <ac:graphicFrameMkLst>
            <pc:docMk/>
            <pc:sldMk cId="2922533607" sldId="2147469981"/>
            <ac:graphicFrameMk id="11" creationId="{3F8B3676-5367-AAD6-E137-E1F94FC21E8F}"/>
          </ac:graphicFrameMkLst>
        </pc:graphicFrameChg>
        <pc:graphicFrameChg chg="add del mod">
          <ac:chgData name="Dawid Janik" userId="81a947f4-3345-42c0-a461-2bf27ee4639f" providerId="ADAL" clId="{A7B4B8D9-7CBB-4479-B3DB-8A74F7DC6FA5}" dt="2023-05-03T13:07:37.839" v="8982"/>
          <ac:graphicFrameMkLst>
            <pc:docMk/>
            <pc:sldMk cId="2922533607" sldId="2147469981"/>
            <ac:graphicFrameMk id="12" creationId="{77301217-5D96-F17A-E28C-490DC66DA323}"/>
          </ac:graphicFrameMkLst>
        </pc:graphicFrameChg>
        <pc:graphicFrameChg chg="add del mod">
          <ac:chgData name="Dawid Janik" userId="81a947f4-3345-42c0-a461-2bf27ee4639f" providerId="ADAL" clId="{A7B4B8D9-7CBB-4479-B3DB-8A74F7DC6FA5}" dt="2023-05-03T13:07:54.195" v="8986"/>
          <ac:graphicFrameMkLst>
            <pc:docMk/>
            <pc:sldMk cId="2922533607" sldId="2147469981"/>
            <ac:graphicFrameMk id="13" creationId="{042EDB04-9FB9-3EE5-2D37-0B342AC88A12}"/>
          </ac:graphicFrameMkLst>
        </pc:graphicFrameChg>
        <pc:graphicFrameChg chg="add mod modGraphic">
          <ac:chgData name="Dawid Janik" userId="81a947f4-3345-42c0-a461-2bf27ee4639f" providerId="ADAL" clId="{A7B4B8D9-7CBB-4479-B3DB-8A74F7DC6FA5}" dt="2023-05-05T13:20:02.642" v="9973" actId="255"/>
          <ac:graphicFrameMkLst>
            <pc:docMk/>
            <pc:sldMk cId="2922533607" sldId="2147469981"/>
            <ac:graphicFrameMk id="14" creationId="{D5C1D726-C4CF-9FBC-5DC3-A6E65E8A4200}"/>
          </ac:graphicFrameMkLst>
        </pc:graphicFrameChg>
        <pc:graphicFrameChg chg="add del mod">
          <ac:chgData name="Dawid Janik" userId="81a947f4-3345-42c0-a461-2bf27ee4639f" providerId="ADAL" clId="{A7B4B8D9-7CBB-4479-B3DB-8A74F7DC6FA5}" dt="2023-05-03T13:08:32.827" v="9008"/>
          <ac:graphicFrameMkLst>
            <pc:docMk/>
            <pc:sldMk cId="2922533607" sldId="2147469981"/>
            <ac:graphicFrameMk id="15" creationId="{F67595F8-C5F8-3EE7-8DF6-30E4604126F3}"/>
          </ac:graphicFrameMkLst>
        </pc:graphicFrameChg>
        <pc:graphicFrameChg chg="add del mod">
          <ac:chgData name="Dawid Janik" userId="81a947f4-3345-42c0-a461-2bf27ee4639f" providerId="ADAL" clId="{A7B4B8D9-7CBB-4479-B3DB-8A74F7DC6FA5}" dt="2023-05-03T13:08:37.642" v="9010"/>
          <ac:graphicFrameMkLst>
            <pc:docMk/>
            <pc:sldMk cId="2922533607" sldId="2147469981"/>
            <ac:graphicFrameMk id="16" creationId="{2984305D-2C81-4951-DAF3-7B48EB8B27DA}"/>
          </ac:graphicFrameMkLst>
        </pc:graphicFrameChg>
        <pc:graphicFrameChg chg="add del mod">
          <ac:chgData name="Dawid Janik" userId="81a947f4-3345-42c0-a461-2bf27ee4639f" providerId="ADAL" clId="{A7B4B8D9-7CBB-4479-B3DB-8A74F7DC6FA5}" dt="2023-05-03T13:11:03.208" v="9025" actId="478"/>
          <ac:graphicFrameMkLst>
            <pc:docMk/>
            <pc:sldMk cId="2922533607" sldId="2147469981"/>
            <ac:graphicFrameMk id="17" creationId="{51C1689D-C376-A2EE-7E88-5C6D2BF79314}"/>
          </ac:graphicFrameMkLst>
        </pc:graphicFrameChg>
        <pc:graphicFrameChg chg="add del mod">
          <ac:chgData name="Dawid Janik" userId="81a947f4-3345-42c0-a461-2bf27ee4639f" providerId="ADAL" clId="{A7B4B8D9-7CBB-4479-B3DB-8A74F7DC6FA5}" dt="2023-05-03T13:09:04.484" v="9016"/>
          <ac:graphicFrameMkLst>
            <pc:docMk/>
            <pc:sldMk cId="2922533607" sldId="2147469981"/>
            <ac:graphicFrameMk id="18" creationId="{2F0EE639-05E1-5C0C-3FF2-45FE8ABC6357}"/>
          </ac:graphicFrameMkLst>
        </pc:graphicFrameChg>
        <pc:graphicFrameChg chg="add del mod modGraphic">
          <ac:chgData name="Dawid Janik" userId="81a947f4-3345-42c0-a461-2bf27ee4639f" providerId="ADAL" clId="{A7B4B8D9-7CBB-4479-B3DB-8A74F7DC6FA5}" dt="2023-05-03T13:11:05.145" v="9026" actId="478"/>
          <ac:graphicFrameMkLst>
            <pc:docMk/>
            <pc:sldMk cId="2922533607" sldId="2147469981"/>
            <ac:graphicFrameMk id="19" creationId="{16B131AC-0A46-7EA7-C02F-5DAFA2AEEF2F}"/>
          </ac:graphicFrameMkLst>
        </pc:graphicFrameChg>
        <pc:graphicFrameChg chg="add mod modGraphic">
          <ac:chgData name="Dawid Janik" userId="81a947f4-3345-42c0-a461-2bf27ee4639f" providerId="ADAL" clId="{A7B4B8D9-7CBB-4479-B3DB-8A74F7DC6FA5}" dt="2023-05-05T13:20:07.796" v="9974" actId="255"/>
          <ac:graphicFrameMkLst>
            <pc:docMk/>
            <pc:sldMk cId="2922533607" sldId="2147469981"/>
            <ac:graphicFrameMk id="20" creationId="{F85C0318-1005-EE4D-EC13-21477FB34336}"/>
          </ac:graphicFrameMkLst>
        </pc:graphicFrameChg>
        <pc:graphicFrameChg chg="add mod modGraphic">
          <ac:chgData name="Dawid Janik" userId="81a947f4-3345-42c0-a461-2bf27ee4639f" providerId="ADAL" clId="{A7B4B8D9-7CBB-4479-B3DB-8A74F7DC6FA5}" dt="2023-05-05T13:20:14.758" v="9976" actId="2711"/>
          <ac:graphicFrameMkLst>
            <pc:docMk/>
            <pc:sldMk cId="2922533607" sldId="2147469981"/>
            <ac:graphicFrameMk id="21" creationId="{CE4E86C3-6FBD-7A9C-E6FD-F5CCCEBD996D}"/>
          </ac:graphicFrameMkLst>
        </pc:graphicFrameChg>
      </pc:sldChg>
      <pc:sldChg chg="addSp delSp modSp new mod">
        <pc:chgData name="Dawid Janik" userId="81a947f4-3345-42c0-a461-2bf27ee4639f" providerId="ADAL" clId="{A7B4B8D9-7CBB-4479-B3DB-8A74F7DC6FA5}" dt="2023-05-05T06:55:25.617" v="9099" actId="1076"/>
        <pc:sldMkLst>
          <pc:docMk/>
          <pc:sldMk cId="1091552940" sldId="2147469982"/>
        </pc:sldMkLst>
        <pc:spChg chg="del">
          <ac:chgData name="Dawid Janik" userId="81a947f4-3345-42c0-a461-2bf27ee4639f" providerId="ADAL" clId="{A7B4B8D9-7CBB-4479-B3DB-8A74F7DC6FA5}" dt="2023-05-05T06:52:52.400" v="9086" actId="478"/>
          <ac:spMkLst>
            <pc:docMk/>
            <pc:sldMk cId="1091552940" sldId="2147469982"/>
            <ac:spMk id="2" creationId="{0C4DBE1C-9D46-96A8-2390-2FE88F74B158}"/>
          </ac:spMkLst>
        </pc:spChg>
        <pc:spChg chg="del">
          <ac:chgData name="Dawid Janik" userId="81a947f4-3345-42c0-a461-2bf27ee4639f" providerId="ADAL" clId="{A7B4B8D9-7CBB-4479-B3DB-8A74F7DC6FA5}" dt="2023-05-05T06:52:36.554" v="9083"/>
          <ac:spMkLst>
            <pc:docMk/>
            <pc:sldMk cId="1091552940" sldId="2147469982"/>
            <ac:spMk id="3" creationId="{8D4205E0-291A-0B9C-4B0F-7FC8955BE55C}"/>
          </ac:spMkLst>
        </pc:spChg>
        <pc:graphicFrameChg chg="add mod">
          <ac:chgData name="Dawid Janik" userId="81a947f4-3345-42c0-a461-2bf27ee4639f" providerId="ADAL" clId="{A7B4B8D9-7CBB-4479-B3DB-8A74F7DC6FA5}" dt="2023-05-05T06:55:22.263" v="9098" actId="1076"/>
          <ac:graphicFrameMkLst>
            <pc:docMk/>
            <pc:sldMk cId="1091552940" sldId="2147469982"/>
            <ac:graphicFrameMk id="5" creationId="{02211EDB-357B-3EBD-8563-829190157A54}"/>
          </ac:graphicFrameMkLst>
        </pc:graphicFrameChg>
        <pc:graphicFrameChg chg="add mod">
          <ac:chgData name="Dawid Janik" userId="81a947f4-3345-42c0-a461-2bf27ee4639f" providerId="ADAL" clId="{A7B4B8D9-7CBB-4479-B3DB-8A74F7DC6FA5}" dt="2023-05-05T06:55:25.617" v="9099" actId="1076"/>
          <ac:graphicFrameMkLst>
            <pc:docMk/>
            <pc:sldMk cId="1091552940" sldId="2147469982"/>
            <ac:graphicFrameMk id="6" creationId="{0C7CCDEB-7596-4380-A802-A754E86AEF4C}"/>
          </ac:graphicFrameMkLst>
        </pc:graphicFrameChg>
      </pc:sldChg>
      <pc:sldChg chg="addSp delSp modSp new mod modTransition">
        <pc:chgData name="Dawid Janik" userId="81a947f4-3345-42c0-a461-2bf27ee4639f" providerId="ADAL" clId="{A7B4B8D9-7CBB-4479-B3DB-8A74F7DC6FA5}" dt="2023-05-05T12:29:10.725" v="9752"/>
        <pc:sldMkLst>
          <pc:docMk/>
          <pc:sldMk cId="1493395768" sldId="2147469983"/>
        </pc:sldMkLst>
        <pc:spChg chg="del">
          <ac:chgData name="Dawid Janik" userId="81a947f4-3345-42c0-a461-2bf27ee4639f" providerId="ADAL" clId="{A7B4B8D9-7CBB-4479-B3DB-8A74F7DC6FA5}" dt="2023-05-05T07:09:29.695" v="9104" actId="478"/>
          <ac:spMkLst>
            <pc:docMk/>
            <pc:sldMk cId="1493395768" sldId="2147469983"/>
            <ac:spMk id="2" creationId="{02486775-9697-FD3C-4208-F7C2F957A0E8}"/>
          </ac:spMkLst>
        </pc:spChg>
        <pc:spChg chg="del">
          <ac:chgData name="Dawid Janik" userId="81a947f4-3345-42c0-a461-2bf27ee4639f" providerId="ADAL" clId="{A7B4B8D9-7CBB-4479-B3DB-8A74F7DC6FA5}" dt="2023-05-05T07:09:32.740" v="9106" actId="478"/>
          <ac:spMkLst>
            <pc:docMk/>
            <pc:sldMk cId="1493395768" sldId="2147469983"/>
            <ac:spMk id="3" creationId="{5CD7115B-A41B-0940-6926-FEAD09D22035}"/>
          </ac:spMkLst>
        </pc:spChg>
        <pc:spChg chg="del">
          <ac:chgData name="Dawid Janik" userId="81a947f4-3345-42c0-a461-2bf27ee4639f" providerId="ADAL" clId="{A7B4B8D9-7CBB-4479-B3DB-8A74F7DC6FA5}" dt="2023-05-05T07:09:30.718" v="9105" actId="478"/>
          <ac:spMkLst>
            <pc:docMk/>
            <pc:sldMk cId="1493395768" sldId="2147469983"/>
            <ac:spMk id="5" creationId="{F396B9A5-DFE5-F4A7-D4C9-DB2FC5BBD7E8}"/>
          </ac:spMkLst>
        </pc:spChg>
        <pc:spChg chg="del">
          <ac:chgData name="Dawid Janik" userId="81a947f4-3345-42c0-a461-2bf27ee4639f" providerId="ADAL" clId="{A7B4B8D9-7CBB-4479-B3DB-8A74F7DC6FA5}" dt="2023-05-05T07:09:28.453" v="9103" actId="478"/>
          <ac:spMkLst>
            <pc:docMk/>
            <pc:sldMk cId="1493395768" sldId="2147469983"/>
            <ac:spMk id="6" creationId="{F5773B8F-25A9-2E6E-A682-A48E333A7440}"/>
          </ac:spMkLst>
        </pc:spChg>
        <pc:spChg chg="del">
          <ac:chgData name="Dawid Janik" userId="81a947f4-3345-42c0-a461-2bf27ee4639f" providerId="ADAL" clId="{A7B4B8D9-7CBB-4479-B3DB-8A74F7DC6FA5}" dt="2023-05-05T07:09:33.782" v="9107" actId="478"/>
          <ac:spMkLst>
            <pc:docMk/>
            <pc:sldMk cId="1493395768" sldId="2147469983"/>
            <ac:spMk id="7" creationId="{48F39A29-D5FC-8875-BB56-69EE64D5271C}"/>
          </ac:spMkLst>
        </pc:spChg>
        <pc:graphicFrameChg chg="add del mod">
          <ac:chgData name="Dawid Janik" userId="81a947f4-3345-42c0-a461-2bf27ee4639f" providerId="ADAL" clId="{A7B4B8D9-7CBB-4479-B3DB-8A74F7DC6FA5}" dt="2023-05-05T10:24:52.541" v="9208" actId="478"/>
          <ac:graphicFrameMkLst>
            <pc:docMk/>
            <pc:sldMk cId="1493395768" sldId="2147469983"/>
            <ac:graphicFrameMk id="2" creationId="{170892C3-8479-A253-CFE0-3825D9BD8BEA}"/>
          </ac:graphicFrameMkLst>
        </pc:graphicFrameChg>
        <pc:graphicFrameChg chg="add del mod">
          <ac:chgData name="Dawid Janik" userId="81a947f4-3345-42c0-a461-2bf27ee4639f" providerId="ADAL" clId="{A7B4B8D9-7CBB-4479-B3DB-8A74F7DC6FA5}" dt="2023-05-05T11:52:46.371" v="9356" actId="478"/>
          <ac:graphicFrameMkLst>
            <pc:docMk/>
            <pc:sldMk cId="1493395768" sldId="2147469983"/>
            <ac:graphicFrameMk id="2" creationId="{5C4C2308-45F9-0609-B5FE-A4D77477E921}"/>
          </ac:graphicFrameMkLst>
        </pc:graphicFrameChg>
        <pc:graphicFrameChg chg="add mod">
          <ac:chgData name="Dawid Janik" userId="81a947f4-3345-42c0-a461-2bf27ee4639f" providerId="ADAL" clId="{A7B4B8D9-7CBB-4479-B3DB-8A74F7DC6FA5}" dt="2023-05-05T10:23:21.261" v="9198"/>
          <ac:graphicFrameMkLst>
            <pc:docMk/>
            <pc:sldMk cId="1493395768" sldId="2147469983"/>
            <ac:graphicFrameMk id="3" creationId="{170892C3-8479-A253-CFE0-3825D9BD8BEA}"/>
          </ac:graphicFrameMkLst>
        </pc:graphicFrameChg>
        <pc:graphicFrameChg chg="add del mod">
          <ac:chgData name="Dawid Janik" userId="81a947f4-3345-42c0-a461-2bf27ee4639f" providerId="ADAL" clId="{A7B4B8D9-7CBB-4479-B3DB-8A74F7DC6FA5}" dt="2023-05-05T11:53:33.676" v="9362" actId="478"/>
          <ac:graphicFrameMkLst>
            <pc:docMk/>
            <pc:sldMk cId="1493395768" sldId="2147469983"/>
            <ac:graphicFrameMk id="3" creationId="{5C4C2308-45F9-0609-B5FE-A4D77477E921}"/>
          </ac:graphicFrameMkLst>
        </pc:graphicFrameChg>
        <pc:graphicFrameChg chg="add mod">
          <ac:chgData name="Dawid Janik" userId="81a947f4-3345-42c0-a461-2bf27ee4639f" providerId="ADAL" clId="{A7B4B8D9-7CBB-4479-B3DB-8A74F7DC6FA5}" dt="2023-05-05T10:23:13.359" v="9188"/>
          <ac:graphicFrameMkLst>
            <pc:docMk/>
            <pc:sldMk cId="1493395768" sldId="2147469983"/>
            <ac:graphicFrameMk id="5" creationId="{170892C3-8479-A253-CFE0-3825D9BD8BEA}"/>
          </ac:graphicFrameMkLst>
        </pc:graphicFrameChg>
        <pc:graphicFrameChg chg="add mod">
          <ac:chgData name="Dawid Janik" userId="81a947f4-3345-42c0-a461-2bf27ee4639f" providerId="ADAL" clId="{A7B4B8D9-7CBB-4479-B3DB-8A74F7DC6FA5}" dt="2023-05-05T11:54:08.240" v="9369" actId="208"/>
          <ac:graphicFrameMkLst>
            <pc:docMk/>
            <pc:sldMk cId="1493395768" sldId="2147469983"/>
            <ac:graphicFrameMk id="5" creationId="{5C4C2308-45F9-0609-B5FE-A4D77477E921}"/>
          </ac:graphicFrameMkLst>
        </pc:graphicFrameChg>
        <pc:graphicFrameChg chg="add mod">
          <ac:chgData name="Dawid Janik" userId="81a947f4-3345-42c0-a461-2bf27ee4639f" providerId="ADAL" clId="{A7B4B8D9-7CBB-4479-B3DB-8A74F7DC6FA5}" dt="2023-05-05T11:54:03.037" v="9368" actId="208"/>
          <ac:graphicFrameMkLst>
            <pc:docMk/>
            <pc:sldMk cId="1493395768" sldId="2147469983"/>
            <ac:graphicFrameMk id="6" creationId="{170892C3-8479-A253-CFE0-3825D9BD8BEA}"/>
          </ac:graphicFrameMkLst>
        </pc:graphicFrameChg>
        <pc:graphicFrameChg chg="add del mod modGraphic">
          <ac:chgData name="Dawid Janik" userId="81a947f4-3345-42c0-a461-2bf27ee4639f" providerId="ADAL" clId="{A7B4B8D9-7CBB-4479-B3DB-8A74F7DC6FA5}" dt="2023-05-05T10:32:07.435" v="9279" actId="478"/>
          <ac:graphicFrameMkLst>
            <pc:docMk/>
            <pc:sldMk cId="1493395768" sldId="2147469983"/>
            <ac:graphicFrameMk id="7" creationId="{CA9FECFB-8EBB-01B7-6612-D5E83E123D35}"/>
          </ac:graphicFrameMkLst>
        </pc:graphicFrameChg>
        <pc:graphicFrameChg chg="add del mod">
          <ac:chgData name="Dawid Janik" userId="81a947f4-3345-42c0-a461-2bf27ee4639f" providerId="ADAL" clId="{A7B4B8D9-7CBB-4479-B3DB-8A74F7DC6FA5}" dt="2023-05-05T07:12:17.446" v="9128" actId="478"/>
          <ac:graphicFrameMkLst>
            <pc:docMk/>
            <pc:sldMk cId="1493395768" sldId="2147469983"/>
            <ac:graphicFrameMk id="8" creationId="{1F6B62AF-70CD-4DAD-922A-38E1B4B07431}"/>
          </ac:graphicFrameMkLst>
        </pc:graphicFrameChg>
        <pc:picChg chg="add del mod">
          <ac:chgData name="Dawid Janik" userId="81a947f4-3345-42c0-a461-2bf27ee4639f" providerId="ADAL" clId="{A7B4B8D9-7CBB-4479-B3DB-8A74F7DC6FA5}" dt="2023-05-05T11:49:02.799" v="9340"/>
          <ac:picMkLst>
            <pc:docMk/>
            <pc:sldMk cId="1493395768" sldId="2147469983"/>
            <ac:picMk id="1025" creationId="{BF4F110B-3B7A-22C1-FD32-4404F711A35D}"/>
          </ac:picMkLst>
        </pc:picChg>
        <pc:picChg chg="add del mod">
          <ac:chgData name="Dawid Janik" userId="81a947f4-3345-42c0-a461-2bf27ee4639f" providerId="ADAL" clId="{A7B4B8D9-7CBB-4479-B3DB-8A74F7DC6FA5}" dt="2023-05-05T11:50:54.070" v="9349" actId="478"/>
          <ac:picMkLst>
            <pc:docMk/>
            <pc:sldMk cId="1493395768" sldId="2147469983"/>
            <ac:picMk id="1026" creationId="{77BD7FCB-3AE0-B05E-A398-4AEA05CCD6DD}"/>
          </ac:picMkLst>
        </pc:picChg>
        <pc:picChg chg="add del">
          <ac:chgData name="Dawid Janik" userId="81a947f4-3345-42c0-a461-2bf27ee4639f" providerId="ADAL" clId="{A7B4B8D9-7CBB-4479-B3DB-8A74F7DC6FA5}" dt="2023-05-05T11:50:57.381" v="9351"/>
          <ac:picMkLst>
            <pc:docMk/>
            <pc:sldMk cId="1493395768" sldId="2147469983"/>
            <ac:picMk id="1027" creationId="{3EDA80F4-C088-676E-13C3-375AA10E288E}"/>
          </ac:picMkLst>
        </pc:picChg>
      </pc:sldChg>
      <pc:sldChg chg="addSp delSp modSp new mod modTransition">
        <pc:chgData name="Dawid Janik" userId="81a947f4-3345-42c0-a461-2bf27ee4639f" providerId="ADAL" clId="{A7B4B8D9-7CBB-4479-B3DB-8A74F7DC6FA5}" dt="2023-05-07T11:11:50.490" v="10096" actId="20577"/>
        <pc:sldMkLst>
          <pc:docMk/>
          <pc:sldMk cId="1923746935" sldId="2147469984"/>
        </pc:sldMkLst>
        <pc:spChg chg="del">
          <ac:chgData name="Dawid Janik" userId="81a947f4-3345-42c0-a461-2bf27ee4639f" providerId="ADAL" clId="{A7B4B8D9-7CBB-4479-B3DB-8A74F7DC6FA5}" dt="2023-05-05T10:29:00.844" v="9218" actId="478"/>
          <ac:spMkLst>
            <pc:docMk/>
            <pc:sldMk cId="1923746935" sldId="2147469984"/>
            <ac:spMk id="2" creationId="{3378D4F8-390B-E11F-D0DF-2AD58F93E54D}"/>
          </ac:spMkLst>
        </pc:spChg>
        <pc:spChg chg="del">
          <ac:chgData name="Dawid Janik" userId="81a947f4-3345-42c0-a461-2bf27ee4639f" providerId="ADAL" clId="{A7B4B8D9-7CBB-4479-B3DB-8A74F7DC6FA5}" dt="2023-05-05T10:29:01.694" v="9219" actId="478"/>
          <ac:spMkLst>
            <pc:docMk/>
            <pc:sldMk cId="1923746935" sldId="2147469984"/>
            <ac:spMk id="3" creationId="{8DBF6033-8E9F-CBFC-1909-722982A14405}"/>
          </ac:spMkLst>
        </pc:spChg>
        <pc:spChg chg="del">
          <ac:chgData name="Dawid Janik" userId="81a947f4-3345-42c0-a461-2bf27ee4639f" providerId="ADAL" clId="{A7B4B8D9-7CBB-4479-B3DB-8A74F7DC6FA5}" dt="2023-05-05T10:29:03.583" v="9221" actId="478"/>
          <ac:spMkLst>
            <pc:docMk/>
            <pc:sldMk cId="1923746935" sldId="2147469984"/>
            <ac:spMk id="5" creationId="{A89E14EC-034A-5470-8772-30B0EB36A80E}"/>
          </ac:spMkLst>
        </pc:spChg>
        <pc:spChg chg="del">
          <ac:chgData name="Dawid Janik" userId="81a947f4-3345-42c0-a461-2bf27ee4639f" providerId="ADAL" clId="{A7B4B8D9-7CBB-4479-B3DB-8A74F7DC6FA5}" dt="2023-05-05T10:28:59.423" v="9217" actId="478"/>
          <ac:spMkLst>
            <pc:docMk/>
            <pc:sldMk cId="1923746935" sldId="2147469984"/>
            <ac:spMk id="6" creationId="{30E3696A-FFBC-1C4F-3772-845D7055EB84}"/>
          </ac:spMkLst>
        </pc:spChg>
        <pc:spChg chg="del">
          <ac:chgData name="Dawid Janik" userId="81a947f4-3345-42c0-a461-2bf27ee4639f" providerId="ADAL" clId="{A7B4B8D9-7CBB-4479-B3DB-8A74F7DC6FA5}" dt="2023-05-05T10:29:02.464" v="9220" actId="478"/>
          <ac:spMkLst>
            <pc:docMk/>
            <pc:sldMk cId="1923746935" sldId="2147469984"/>
            <ac:spMk id="7" creationId="{A06552A1-7125-FFFD-AD80-65555CF734E6}"/>
          </ac:spMkLst>
        </pc:spChg>
        <pc:spChg chg="add mod">
          <ac:chgData name="Dawid Janik" userId="81a947f4-3345-42c0-a461-2bf27ee4639f" providerId="ADAL" clId="{A7B4B8D9-7CBB-4479-B3DB-8A74F7DC6FA5}" dt="2023-05-05T10:32:41.596" v="9285" actId="108"/>
          <ac:spMkLst>
            <pc:docMk/>
            <pc:sldMk cId="1923746935" sldId="2147469984"/>
            <ac:spMk id="13" creationId="{C85198CA-7FE1-80A0-54A3-F9950D41DA72}"/>
          </ac:spMkLst>
        </pc:spChg>
        <pc:graphicFrameChg chg="add del mod modGraphic">
          <ac:chgData name="Dawid Janik" userId="81a947f4-3345-42c0-a461-2bf27ee4639f" providerId="ADAL" clId="{A7B4B8D9-7CBB-4479-B3DB-8A74F7DC6FA5}" dt="2023-05-05T12:03:23.481" v="9459" actId="478"/>
          <ac:graphicFrameMkLst>
            <pc:docMk/>
            <pc:sldMk cId="1923746935" sldId="2147469984"/>
            <ac:graphicFrameMk id="2" creationId="{EDC7D7FC-52E8-6BA7-A297-2815214B7DB2}"/>
          </ac:graphicFrameMkLst>
        </pc:graphicFrameChg>
        <pc:graphicFrameChg chg="add del mod">
          <ac:chgData name="Dawid Janik" userId="81a947f4-3345-42c0-a461-2bf27ee4639f" providerId="ADAL" clId="{A7B4B8D9-7CBB-4479-B3DB-8A74F7DC6FA5}" dt="2023-05-05T11:58:04.195" v="9410"/>
          <ac:graphicFrameMkLst>
            <pc:docMk/>
            <pc:sldMk cId="1923746935" sldId="2147469984"/>
            <ac:graphicFrameMk id="3" creationId="{7A673BBB-766B-CE43-2F12-40C76FC58C1C}"/>
          </ac:graphicFrameMkLst>
        </pc:graphicFrameChg>
        <pc:graphicFrameChg chg="add del mod">
          <ac:chgData name="Dawid Janik" userId="81a947f4-3345-42c0-a461-2bf27ee4639f" providerId="ADAL" clId="{A7B4B8D9-7CBB-4479-B3DB-8A74F7DC6FA5}" dt="2023-05-05T11:58:13.169" v="9412"/>
          <ac:graphicFrameMkLst>
            <pc:docMk/>
            <pc:sldMk cId="1923746935" sldId="2147469984"/>
            <ac:graphicFrameMk id="5" creationId="{3EA7ADF1-38E2-AE1D-0762-C675420BF10C}"/>
          </ac:graphicFrameMkLst>
        </pc:graphicFrameChg>
        <pc:graphicFrameChg chg="add del mod modGraphic">
          <ac:chgData name="Dawid Janik" userId="81a947f4-3345-42c0-a461-2bf27ee4639f" providerId="ADAL" clId="{A7B4B8D9-7CBB-4479-B3DB-8A74F7DC6FA5}" dt="2023-05-05T12:03:26.276" v="9460" actId="478"/>
          <ac:graphicFrameMkLst>
            <pc:docMk/>
            <pc:sldMk cId="1923746935" sldId="2147469984"/>
            <ac:graphicFrameMk id="6" creationId="{E835BA74-EE96-392A-7CE9-1B46DD070A56}"/>
          </ac:graphicFrameMkLst>
        </pc:graphicFrameChg>
        <pc:graphicFrameChg chg="add del mod modGraphic">
          <ac:chgData name="Dawid Janik" userId="81a947f4-3345-42c0-a461-2bf27ee4639f" providerId="ADAL" clId="{A7B4B8D9-7CBB-4479-B3DB-8A74F7DC6FA5}" dt="2023-05-05T12:02:03.744" v="9439" actId="478"/>
          <ac:graphicFrameMkLst>
            <pc:docMk/>
            <pc:sldMk cId="1923746935" sldId="2147469984"/>
            <ac:graphicFrameMk id="7" creationId="{AC73BDB6-844E-8E45-7C4F-E7C24CE61BCF}"/>
          </ac:graphicFrameMkLst>
        </pc:graphicFrameChg>
        <pc:graphicFrameChg chg="add mod modGraphic">
          <ac:chgData name="Dawid Janik" userId="81a947f4-3345-42c0-a461-2bf27ee4639f" providerId="ADAL" clId="{A7B4B8D9-7CBB-4479-B3DB-8A74F7DC6FA5}" dt="2023-05-05T12:14:04.435" v="9678" actId="14734"/>
          <ac:graphicFrameMkLst>
            <pc:docMk/>
            <pc:sldMk cId="1923746935" sldId="2147469984"/>
            <ac:graphicFrameMk id="8" creationId="{4A1C6379-A3B7-89F2-C392-39D1CE9ACE42}"/>
          </ac:graphicFrameMkLst>
        </pc:graphicFrameChg>
        <pc:graphicFrameChg chg="add del mod modGraphic">
          <ac:chgData name="Dawid Janik" userId="81a947f4-3345-42c0-a461-2bf27ee4639f" providerId="ADAL" clId="{A7B4B8D9-7CBB-4479-B3DB-8A74F7DC6FA5}" dt="2023-05-05T10:30:02.232" v="9253" actId="478"/>
          <ac:graphicFrameMkLst>
            <pc:docMk/>
            <pc:sldMk cId="1923746935" sldId="2147469984"/>
            <ac:graphicFrameMk id="8" creationId="{9F40746D-CA27-CFDA-5955-EBC3E3136650}"/>
          </ac:graphicFrameMkLst>
        </pc:graphicFrameChg>
        <pc:graphicFrameChg chg="add mod modGraphic">
          <ac:chgData name="Dawid Janik" userId="81a947f4-3345-42c0-a461-2bf27ee4639f" providerId="ADAL" clId="{A7B4B8D9-7CBB-4479-B3DB-8A74F7DC6FA5}" dt="2023-05-05T12:25:27.241" v="9744" actId="14734"/>
          <ac:graphicFrameMkLst>
            <pc:docMk/>
            <pc:sldMk cId="1923746935" sldId="2147469984"/>
            <ac:graphicFrameMk id="9" creationId="{B0E05DD1-696A-C31A-B575-60EDE866D673}"/>
          </ac:graphicFrameMkLst>
        </pc:graphicFrameChg>
        <pc:graphicFrameChg chg="add del mod modGraphic">
          <ac:chgData name="Dawid Janik" userId="81a947f4-3345-42c0-a461-2bf27ee4639f" providerId="ADAL" clId="{A7B4B8D9-7CBB-4479-B3DB-8A74F7DC6FA5}" dt="2023-05-05T10:31:15.660" v="9268" actId="478"/>
          <ac:graphicFrameMkLst>
            <pc:docMk/>
            <pc:sldMk cId="1923746935" sldId="2147469984"/>
            <ac:graphicFrameMk id="9" creationId="{C6A566F8-D4F8-CBFF-F344-FB9611898706}"/>
          </ac:graphicFrameMkLst>
        </pc:graphicFrameChg>
        <pc:graphicFrameChg chg="add del mod">
          <ac:chgData name="Dawid Janik" userId="81a947f4-3345-42c0-a461-2bf27ee4639f" providerId="ADAL" clId="{A7B4B8D9-7CBB-4479-B3DB-8A74F7DC6FA5}" dt="2023-05-05T10:31:17.131" v="9270"/>
          <ac:graphicFrameMkLst>
            <pc:docMk/>
            <pc:sldMk cId="1923746935" sldId="2147469984"/>
            <ac:graphicFrameMk id="10" creationId="{A193D678-2287-0144-5810-4EDC65703841}"/>
          </ac:graphicFrameMkLst>
        </pc:graphicFrameChg>
        <pc:graphicFrameChg chg="add mod modGraphic">
          <ac:chgData name="Dawid Janik" userId="81a947f4-3345-42c0-a461-2bf27ee4639f" providerId="ADAL" clId="{A7B4B8D9-7CBB-4479-B3DB-8A74F7DC6FA5}" dt="2023-05-07T11:11:50.490" v="10096" actId="20577"/>
          <ac:graphicFrameMkLst>
            <pc:docMk/>
            <pc:sldMk cId="1923746935" sldId="2147469984"/>
            <ac:graphicFrameMk id="10" creationId="{E331D0AA-4A66-9F36-15DD-4B772F512A5A}"/>
          </ac:graphicFrameMkLst>
        </pc:graphicFrameChg>
        <pc:graphicFrameChg chg="add del mod modGraphic">
          <ac:chgData name="Dawid Janik" userId="81a947f4-3345-42c0-a461-2bf27ee4639f" providerId="ADAL" clId="{A7B4B8D9-7CBB-4479-B3DB-8A74F7DC6FA5}" dt="2023-05-05T12:02:39.423" v="9446" actId="478"/>
          <ac:graphicFrameMkLst>
            <pc:docMk/>
            <pc:sldMk cId="1923746935" sldId="2147469984"/>
            <ac:graphicFrameMk id="11" creationId="{75A827F9-4AB9-7614-422A-BB1F1E81F653}"/>
          </ac:graphicFrameMkLst>
        </pc:graphicFrameChg>
        <pc:graphicFrameChg chg="add mod modGraphic">
          <ac:chgData name="Dawid Janik" userId="81a947f4-3345-42c0-a461-2bf27ee4639f" providerId="ADAL" clId="{A7B4B8D9-7CBB-4479-B3DB-8A74F7DC6FA5}" dt="2023-05-05T12:25:42.004" v="9749" actId="1076"/>
          <ac:graphicFrameMkLst>
            <pc:docMk/>
            <pc:sldMk cId="1923746935" sldId="2147469984"/>
            <ac:graphicFrameMk id="12" creationId="{3CA9B67F-C6B6-BBBB-A5FE-9B742B849DFE}"/>
          </ac:graphicFrameMkLst>
        </pc:graphicFrameChg>
      </pc:sldChg>
      <pc:sldChg chg="addSp delSp modSp new mod modTransition">
        <pc:chgData name="Dawid Janik" userId="81a947f4-3345-42c0-a461-2bf27ee4639f" providerId="ADAL" clId="{A7B4B8D9-7CBB-4479-B3DB-8A74F7DC6FA5}" dt="2023-05-05T12:47:17.219" v="9786" actId="2085"/>
        <pc:sldMkLst>
          <pc:docMk/>
          <pc:sldMk cId="2510626188" sldId="2147469985"/>
        </pc:sldMkLst>
        <pc:spChg chg="del">
          <ac:chgData name="Dawid Janik" userId="81a947f4-3345-42c0-a461-2bf27ee4639f" providerId="ADAL" clId="{A7B4B8D9-7CBB-4479-B3DB-8A74F7DC6FA5}" dt="2023-05-05T12:08:37.795" v="9630" actId="478"/>
          <ac:spMkLst>
            <pc:docMk/>
            <pc:sldMk cId="2510626188" sldId="2147469985"/>
            <ac:spMk id="2" creationId="{A0925A93-30B5-BE44-33B1-D728B25AD7B9}"/>
          </ac:spMkLst>
        </pc:spChg>
        <pc:spChg chg="del">
          <ac:chgData name="Dawid Janik" userId="81a947f4-3345-42c0-a461-2bf27ee4639f" providerId="ADAL" clId="{A7B4B8D9-7CBB-4479-B3DB-8A74F7DC6FA5}" dt="2023-05-05T12:08:39.894" v="9632" actId="478"/>
          <ac:spMkLst>
            <pc:docMk/>
            <pc:sldMk cId="2510626188" sldId="2147469985"/>
            <ac:spMk id="3" creationId="{10814E49-9659-88ED-2808-9CA53E93C5C1}"/>
          </ac:spMkLst>
        </pc:spChg>
        <pc:spChg chg="add mod">
          <ac:chgData name="Dawid Janik" userId="81a947f4-3345-42c0-a461-2bf27ee4639f" providerId="ADAL" clId="{A7B4B8D9-7CBB-4479-B3DB-8A74F7DC6FA5}" dt="2023-05-05T12:42:29.024" v="9774" actId="108"/>
          <ac:spMkLst>
            <pc:docMk/>
            <pc:sldMk cId="2510626188" sldId="2147469985"/>
            <ac:spMk id="3" creationId="{5FA07495-18F9-C06B-DC63-9FBFB550C551}"/>
          </ac:spMkLst>
        </pc:spChg>
        <pc:spChg chg="del">
          <ac:chgData name="Dawid Janik" userId="81a947f4-3345-42c0-a461-2bf27ee4639f" providerId="ADAL" clId="{A7B4B8D9-7CBB-4479-B3DB-8A74F7DC6FA5}" dt="2023-05-05T12:08:42.091" v="9634" actId="478"/>
          <ac:spMkLst>
            <pc:docMk/>
            <pc:sldMk cId="2510626188" sldId="2147469985"/>
            <ac:spMk id="5" creationId="{ADAF0352-3F21-98E6-1ADD-146E316E17DA}"/>
          </ac:spMkLst>
        </pc:spChg>
        <pc:spChg chg="del">
          <ac:chgData name="Dawid Janik" userId="81a947f4-3345-42c0-a461-2bf27ee4639f" providerId="ADAL" clId="{A7B4B8D9-7CBB-4479-B3DB-8A74F7DC6FA5}" dt="2023-05-05T12:08:38.823" v="9631" actId="478"/>
          <ac:spMkLst>
            <pc:docMk/>
            <pc:sldMk cId="2510626188" sldId="2147469985"/>
            <ac:spMk id="6" creationId="{37C12721-0C64-FD64-9BDC-518F42AF5503}"/>
          </ac:spMkLst>
        </pc:spChg>
        <pc:spChg chg="add del">
          <ac:chgData name="Dawid Janik" userId="81a947f4-3345-42c0-a461-2bf27ee4639f" providerId="ADAL" clId="{A7B4B8D9-7CBB-4479-B3DB-8A74F7DC6FA5}" dt="2023-05-05T12:08:40.662" v="9633" actId="478"/>
          <ac:spMkLst>
            <pc:docMk/>
            <pc:sldMk cId="2510626188" sldId="2147469985"/>
            <ac:spMk id="7" creationId="{89A9048B-9082-C197-373E-5C51FD9CB3CE}"/>
          </ac:spMkLst>
        </pc:spChg>
        <pc:graphicFrameChg chg="add mod">
          <ac:chgData name="Dawid Janik" userId="81a947f4-3345-42c0-a461-2bf27ee4639f" providerId="ADAL" clId="{A7B4B8D9-7CBB-4479-B3DB-8A74F7DC6FA5}" dt="2023-05-05T12:47:17.219" v="9786" actId="2085"/>
          <ac:graphicFrameMkLst>
            <pc:docMk/>
            <pc:sldMk cId="2510626188" sldId="2147469985"/>
            <ac:graphicFrameMk id="5" creationId="{DD7B51A1-7457-B424-D82D-B670D28DC62A}"/>
          </ac:graphicFrameMkLst>
        </pc:graphicFrameChg>
        <pc:graphicFrameChg chg="add mod modGraphic">
          <ac:chgData name="Dawid Janik" userId="81a947f4-3345-42c0-a461-2bf27ee4639f" providerId="ADAL" clId="{A7B4B8D9-7CBB-4479-B3DB-8A74F7DC6FA5}" dt="2023-05-05T12:46:25.604" v="9782" actId="1076"/>
          <ac:graphicFrameMkLst>
            <pc:docMk/>
            <pc:sldMk cId="2510626188" sldId="2147469985"/>
            <ac:graphicFrameMk id="6" creationId="{583B904C-A8D6-06B3-ACA1-4C496E10E403}"/>
          </ac:graphicFrameMkLst>
        </pc:graphicFrameChg>
        <pc:graphicFrameChg chg="add del mod">
          <ac:chgData name="Dawid Janik" userId="81a947f4-3345-42c0-a461-2bf27ee4639f" providerId="ADAL" clId="{A7B4B8D9-7CBB-4479-B3DB-8A74F7DC6FA5}" dt="2023-05-05T12:08:35.096" v="9629"/>
          <ac:graphicFrameMkLst>
            <pc:docMk/>
            <pc:sldMk cId="2510626188" sldId="2147469985"/>
            <ac:graphicFrameMk id="8" creationId="{9F38ADA1-C1B9-B0DE-D14C-2CDE7F7FBA13}"/>
          </ac:graphicFrameMkLst>
        </pc:graphicFrameChg>
        <pc:graphicFrameChg chg="add del mod modGraphic">
          <ac:chgData name="Dawid Janik" userId="81a947f4-3345-42c0-a461-2bf27ee4639f" providerId="ADAL" clId="{A7B4B8D9-7CBB-4479-B3DB-8A74F7DC6FA5}" dt="2023-05-05T12:17:59.952" v="9682" actId="478"/>
          <ac:graphicFrameMkLst>
            <pc:docMk/>
            <pc:sldMk cId="2510626188" sldId="2147469985"/>
            <ac:graphicFrameMk id="9" creationId="{2222972A-5668-DA3C-25FC-25EB2A000CBC}"/>
          </ac:graphicFrameMkLst>
        </pc:graphicFrameChg>
        <pc:graphicFrameChg chg="add del mod">
          <ac:chgData name="Dawid Janik" userId="81a947f4-3345-42c0-a461-2bf27ee4639f" providerId="ADAL" clId="{A7B4B8D9-7CBB-4479-B3DB-8A74F7DC6FA5}" dt="2023-05-05T12:19:22.911" v="9736" actId="478"/>
          <ac:graphicFrameMkLst>
            <pc:docMk/>
            <pc:sldMk cId="2510626188" sldId="2147469985"/>
            <ac:graphicFrameMk id="10" creationId="{B558B5E1-54B9-9C44-775B-2FAE877DB34F}"/>
          </ac:graphicFrameMkLst>
        </pc:graphicFrameChg>
      </pc:sldChg>
      <pc:sldChg chg="addSp delSp modSp new mod">
        <pc:chgData name="Dawid Janik" userId="81a947f4-3345-42c0-a461-2bf27ee4639f" providerId="ADAL" clId="{A7B4B8D9-7CBB-4479-B3DB-8A74F7DC6FA5}" dt="2023-05-05T13:23:01.029" v="9982" actId="108"/>
        <pc:sldMkLst>
          <pc:docMk/>
          <pc:sldMk cId="3028303183" sldId="2147469986"/>
        </pc:sldMkLst>
        <pc:spChg chg="del">
          <ac:chgData name="Dawid Janik" userId="81a947f4-3345-42c0-a461-2bf27ee4639f" providerId="ADAL" clId="{A7B4B8D9-7CBB-4479-B3DB-8A74F7DC6FA5}" dt="2023-05-05T13:02:31.299" v="9790" actId="478"/>
          <ac:spMkLst>
            <pc:docMk/>
            <pc:sldMk cId="3028303183" sldId="2147469986"/>
            <ac:spMk id="2" creationId="{33A00B94-739F-3E98-F85B-AF8E12C39DC4}"/>
          </ac:spMkLst>
        </pc:spChg>
        <pc:spChg chg="del">
          <ac:chgData name="Dawid Janik" userId="81a947f4-3345-42c0-a461-2bf27ee4639f" providerId="ADAL" clId="{A7B4B8D9-7CBB-4479-B3DB-8A74F7DC6FA5}" dt="2023-05-05T13:02:34.108" v="9793" actId="478"/>
          <ac:spMkLst>
            <pc:docMk/>
            <pc:sldMk cId="3028303183" sldId="2147469986"/>
            <ac:spMk id="3" creationId="{1551607C-5D0A-8CB7-28EA-477A57CC7CBF}"/>
          </ac:spMkLst>
        </pc:spChg>
        <pc:spChg chg="del">
          <ac:chgData name="Dawid Janik" userId="81a947f4-3345-42c0-a461-2bf27ee4639f" providerId="ADAL" clId="{A7B4B8D9-7CBB-4479-B3DB-8A74F7DC6FA5}" dt="2023-05-05T13:02:32.094" v="9791" actId="478"/>
          <ac:spMkLst>
            <pc:docMk/>
            <pc:sldMk cId="3028303183" sldId="2147469986"/>
            <ac:spMk id="5" creationId="{F2CCED35-1991-A2B2-C7E5-C098174FC7AD}"/>
          </ac:spMkLst>
        </pc:spChg>
        <pc:spChg chg="del">
          <ac:chgData name="Dawid Janik" userId="81a947f4-3345-42c0-a461-2bf27ee4639f" providerId="ADAL" clId="{A7B4B8D9-7CBB-4479-B3DB-8A74F7DC6FA5}" dt="2023-05-05T13:02:33.004" v="9792" actId="478"/>
          <ac:spMkLst>
            <pc:docMk/>
            <pc:sldMk cId="3028303183" sldId="2147469986"/>
            <ac:spMk id="6" creationId="{6A1BFEC8-2C85-D6AE-93FB-84D24011F3A9}"/>
          </ac:spMkLst>
        </pc:spChg>
        <pc:spChg chg="del">
          <ac:chgData name="Dawid Janik" userId="81a947f4-3345-42c0-a461-2bf27ee4639f" providerId="ADAL" clId="{A7B4B8D9-7CBB-4479-B3DB-8A74F7DC6FA5}" dt="2023-05-05T13:02:36.850" v="9794" actId="478"/>
          <ac:spMkLst>
            <pc:docMk/>
            <pc:sldMk cId="3028303183" sldId="2147469986"/>
            <ac:spMk id="7" creationId="{5D9A030D-6BBE-AC8A-B1E1-E6051E1FF4AD}"/>
          </ac:spMkLst>
        </pc:spChg>
        <pc:spChg chg="add mod">
          <ac:chgData name="Dawid Janik" userId="81a947f4-3345-42c0-a461-2bf27ee4639f" providerId="ADAL" clId="{A7B4B8D9-7CBB-4479-B3DB-8A74F7DC6FA5}" dt="2023-05-05T13:23:01.029" v="9982" actId="108"/>
          <ac:spMkLst>
            <pc:docMk/>
            <pc:sldMk cId="3028303183" sldId="2147469986"/>
            <ac:spMk id="13" creationId="{3B1C7EA1-CECF-8BF5-FDE7-487677A98494}"/>
          </ac:spMkLst>
        </pc:spChg>
        <pc:graphicFrameChg chg="add mod modGraphic">
          <ac:chgData name="Dawid Janik" userId="81a947f4-3345-42c0-a461-2bf27ee4639f" providerId="ADAL" clId="{A7B4B8D9-7CBB-4479-B3DB-8A74F7DC6FA5}" dt="2023-05-05T13:21:54.916" v="9977" actId="20577"/>
          <ac:graphicFrameMkLst>
            <pc:docMk/>
            <pc:sldMk cId="3028303183" sldId="2147469986"/>
            <ac:graphicFrameMk id="8" creationId="{62FD94BC-9D9A-E558-8931-1B3E3D727208}"/>
          </ac:graphicFrameMkLst>
        </pc:graphicFrameChg>
        <pc:graphicFrameChg chg="add del mod modGraphic">
          <ac:chgData name="Dawid Janik" userId="81a947f4-3345-42c0-a461-2bf27ee4639f" providerId="ADAL" clId="{A7B4B8D9-7CBB-4479-B3DB-8A74F7DC6FA5}" dt="2023-05-05T13:08:24.565" v="9852" actId="478"/>
          <ac:graphicFrameMkLst>
            <pc:docMk/>
            <pc:sldMk cId="3028303183" sldId="2147469986"/>
            <ac:graphicFrameMk id="9" creationId="{91FDC497-799C-5D3E-441D-1CA352E5208C}"/>
          </ac:graphicFrameMkLst>
        </pc:graphicFrameChg>
        <pc:graphicFrameChg chg="add mod modGraphic">
          <ac:chgData name="Dawid Janik" userId="81a947f4-3345-42c0-a461-2bf27ee4639f" providerId="ADAL" clId="{A7B4B8D9-7CBB-4479-B3DB-8A74F7DC6FA5}" dt="2023-05-05T13:09:27.146" v="9907" actId="313"/>
          <ac:graphicFrameMkLst>
            <pc:docMk/>
            <pc:sldMk cId="3028303183" sldId="2147469986"/>
            <ac:graphicFrameMk id="10" creationId="{77097816-9116-3670-6DB0-637556F8A283}"/>
          </ac:graphicFrameMkLst>
        </pc:graphicFrameChg>
        <pc:graphicFrameChg chg="add mod modGraphic">
          <ac:chgData name="Dawid Janik" userId="81a947f4-3345-42c0-a461-2bf27ee4639f" providerId="ADAL" clId="{A7B4B8D9-7CBB-4479-B3DB-8A74F7DC6FA5}" dt="2023-05-05T13:21:57.499" v="9978" actId="20577"/>
          <ac:graphicFrameMkLst>
            <pc:docMk/>
            <pc:sldMk cId="3028303183" sldId="2147469986"/>
            <ac:graphicFrameMk id="11" creationId="{29F7DE86-89ED-6261-BD80-1061F12CDD35}"/>
          </ac:graphicFrameMkLst>
        </pc:graphicFrameChg>
      </pc:sldChg>
      <pc:sldChg chg="addSp delSp modSp new mod modTransition">
        <pc:chgData name="Dawid Janik" userId="81a947f4-3345-42c0-a461-2bf27ee4639f" providerId="ADAL" clId="{A7B4B8D9-7CBB-4479-B3DB-8A74F7DC6FA5}" dt="2023-05-07T11:18:01.456" v="10158" actId="21"/>
        <pc:sldMkLst>
          <pc:docMk/>
          <pc:sldMk cId="2992021031" sldId="2147469987"/>
        </pc:sldMkLst>
        <pc:spChg chg="del">
          <ac:chgData name="Dawid Janik" userId="81a947f4-3345-42c0-a461-2bf27ee4639f" providerId="ADAL" clId="{A7B4B8D9-7CBB-4479-B3DB-8A74F7DC6FA5}" dt="2023-05-05T13:23:17.928" v="9983" actId="478"/>
          <ac:spMkLst>
            <pc:docMk/>
            <pc:sldMk cId="2992021031" sldId="2147469987"/>
            <ac:spMk id="2" creationId="{1D19C9B8-DB59-5273-4B4F-A8E7A141F5B9}"/>
          </ac:spMkLst>
        </pc:spChg>
        <pc:spChg chg="del">
          <ac:chgData name="Dawid Janik" userId="81a947f4-3345-42c0-a461-2bf27ee4639f" providerId="ADAL" clId="{A7B4B8D9-7CBB-4479-B3DB-8A74F7DC6FA5}" dt="2023-05-05T13:23:21.346" v="9985" actId="478"/>
          <ac:spMkLst>
            <pc:docMk/>
            <pc:sldMk cId="2992021031" sldId="2147469987"/>
            <ac:spMk id="3" creationId="{E115095E-D883-F66D-F538-6DA3AA649EE4}"/>
          </ac:spMkLst>
        </pc:spChg>
        <pc:spChg chg="del">
          <ac:chgData name="Dawid Janik" userId="81a947f4-3345-42c0-a461-2bf27ee4639f" providerId="ADAL" clId="{A7B4B8D9-7CBB-4479-B3DB-8A74F7DC6FA5}" dt="2023-05-05T13:23:23.668" v="9987" actId="478"/>
          <ac:spMkLst>
            <pc:docMk/>
            <pc:sldMk cId="2992021031" sldId="2147469987"/>
            <ac:spMk id="5" creationId="{D74DAF3A-5A7F-ABA8-A09E-DF68893A551D}"/>
          </ac:spMkLst>
        </pc:spChg>
        <pc:spChg chg="del">
          <ac:chgData name="Dawid Janik" userId="81a947f4-3345-42c0-a461-2bf27ee4639f" providerId="ADAL" clId="{A7B4B8D9-7CBB-4479-B3DB-8A74F7DC6FA5}" dt="2023-05-05T13:23:19.963" v="9984" actId="478"/>
          <ac:spMkLst>
            <pc:docMk/>
            <pc:sldMk cId="2992021031" sldId="2147469987"/>
            <ac:spMk id="6" creationId="{F3536642-64BC-D080-2F94-4A0FE2488AAD}"/>
          </ac:spMkLst>
        </pc:spChg>
        <pc:spChg chg="del">
          <ac:chgData name="Dawid Janik" userId="81a947f4-3345-42c0-a461-2bf27ee4639f" providerId="ADAL" clId="{A7B4B8D9-7CBB-4479-B3DB-8A74F7DC6FA5}" dt="2023-05-05T13:23:22.713" v="9986" actId="478"/>
          <ac:spMkLst>
            <pc:docMk/>
            <pc:sldMk cId="2992021031" sldId="2147469987"/>
            <ac:spMk id="7" creationId="{19A05444-39FB-EC3C-7AF7-F0C13266BC90}"/>
          </ac:spMkLst>
        </pc:spChg>
        <pc:spChg chg="add mod">
          <ac:chgData name="Dawid Janik" userId="81a947f4-3345-42c0-a461-2bf27ee4639f" providerId="ADAL" clId="{A7B4B8D9-7CBB-4479-B3DB-8A74F7DC6FA5}" dt="2023-05-05T13:23:43.150" v="10003" actId="1076"/>
          <ac:spMkLst>
            <pc:docMk/>
            <pc:sldMk cId="2992021031" sldId="2147469987"/>
            <ac:spMk id="9" creationId="{DE1D9F44-8015-3F56-3777-109563813436}"/>
          </ac:spMkLst>
        </pc:spChg>
        <pc:graphicFrameChg chg="add mod modGraphic">
          <ac:chgData name="Dawid Janik" userId="81a947f4-3345-42c0-a461-2bf27ee4639f" providerId="ADAL" clId="{A7B4B8D9-7CBB-4479-B3DB-8A74F7DC6FA5}" dt="2023-05-07T11:18:01.456" v="10158" actId="21"/>
          <ac:graphicFrameMkLst>
            <pc:docMk/>
            <pc:sldMk cId="2992021031" sldId="2147469987"/>
            <ac:graphicFrameMk id="2" creationId="{286BA859-1DC8-79FF-4365-49746C1280BE}"/>
          </ac:graphicFrameMkLst>
        </pc:graphicFrameChg>
        <pc:graphicFrameChg chg="add mod modGraphic">
          <ac:chgData name="Dawid Janik" userId="81a947f4-3345-42c0-a461-2bf27ee4639f" providerId="ADAL" clId="{A7B4B8D9-7CBB-4479-B3DB-8A74F7DC6FA5}" dt="2023-05-05T13:27:05.015" v="10082" actId="1076"/>
          <ac:graphicFrameMkLst>
            <pc:docMk/>
            <pc:sldMk cId="2992021031" sldId="2147469987"/>
            <ac:graphicFrameMk id="10" creationId="{DB773A1A-A7E2-F0FB-1DF3-7A51AEBB6625}"/>
          </ac:graphicFrameMkLst>
        </pc:graphicFrameChg>
      </pc:sldChg>
      <pc:sldMasterChg chg="setBg modSldLayout">
        <pc:chgData name="Dawid Janik" userId="81a947f4-3345-42c0-a461-2bf27ee4639f" providerId="ADAL" clId="{A7B4B8D9-7CBB-4479-B3DB-8A74F7DC6FA5}" dt="2023-04-26T12:42:45.519" v="2358"/>
        <pc:sldMasterMkLst>
          <pc:docMk/>
          <pc:sldMasterMk cId="480132290" sldId="2147483681"/>
        </pc:sldMasterMkLst>
        <pc:sldLayoutChg chg="setBg">
          <pc:chgData name="Dawid Janik" userId="81a947f4-3345-42c0-a461-2bf27ee4639f" providerId="ADAL" clId="{A7B4B8D9-7CBB-4479-B3DB-8A74F7DC6FA5}" dt="2023-04-26T12:42:45.519" v="2358"/>
          <pc:sldLayoutMkLst>
            <pc:docMk/>
            <pc:sldMasterMk cId="480132290" sldId="2147483681"/>
            <pc:sldLayoutMk cId="3666960378" sldId="2147483682"/>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519441642" sldId="2147483683"/>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1369790523" sldId="2147483684"/>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867989982" sldId="2147483685"/>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396100057" sldId="2147483686"/>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2266483687" sldId="2147483687"/>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409836565" sldId="2147483688"/>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402278977" sldId="2147483689"/>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4140791287" sldId="2147483690"/>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1293898939" sldId="2147483691"/>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52936183" sldId="2147483692"/>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1002942077" sldId="2147483693"/>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2252625913" sldId="2147483694"/>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2574444941" sldId="2147483695"/>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596095828" sldId="2147483696"/>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727402989" sldId="2147483697"/>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2989981860" sldId="2147483698"/>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825010625" sldId="2147483699"/>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885332016" sldId="2147483700"/>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249099358" sldId="2147483701"/>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677046444" sldId="2147483702"/>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2634541144" sldId="2147483703"/>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592745180" sldId="2147483704"/>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180870808" sldId="2147483705"/>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1663402310" sldId="2147483706"/>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2263908508" sldId="2147483707"/>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2432410038" sldId="2147483708"/>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762654130" sldId="2147483709"/>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2235980971" sldId="2147483710"/>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1536932118" sldId="2147483711"/>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459377366" sldId="2147483712"/>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101064847" sldId="2147483713"/>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4228963869" sldId="2147483714"/>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3690282896" sldId="2147483715"/>
          </pc:sldLayoutMkLst>
        </pc:sldLayoutChg>
        <pc:sldLayoutChg chg="setBg">
          <pc:chgData name="Dawid Janik" userId="81a947f4-3345-42c0-a461-2bf27ee4639f" providerId="ADAL" clId="{A7B4B8D9-7CBB-4479-B3DB-8A74F7DC6FA5}" dt="2023-04-26T12:42:45.519" v="2358"/>
          <pc:sldLayoutMkLst>
            <pc:docMk/>
            <pc:sldMasterMk cId="480132290" sldId="2147483681"/>
            <pc:sldLayoutMk cId="181905708" sldId="2147483730"/>
          </pc:sldLayoutMkLst>
        </pc:sldLayoutChg>
      </pc:sldMasterChg>
      <pc:sldMasterChg chg="setBg modSldLayout">
        <pc:chgData name="Dawid Janik" userId="81a947f4-3345-42c0-a461-2bf27ee4639f" providerId="ADAL" clId="{A7B4B8D9-7CBB-4479-B3DB-8A74F7DC6FA5}" dt="2023-04-26T12:42:45.519" v="2358"/>
        <pc:sldMasterMkLst>
          <pc:docMk/>
          <pc:sldMasterMk cId="255494591" sldId="2147483716"/>
        </pc:sldMasterMkLst>
        <pc:sldLayoutChg chg="setBg">
          <pc:chgData name="Dawid Janik" userId="81a947f4-3345-42c0-a461-2bf27ee4639f" providerId="ADAL" clId="{A7B4B8D9-7CBB-4479-B3DB-8A74F7DC6FA5}" dt="2023-04-26T12:42:45.519" v="2358"/>
          <pc:sldLayoutMkLst>
            <pc:docMk/>
            <pc:sldMasterMk cId="255494591" sldId="2147483716"/>
            <pc:sldLayoutMk cId="2908404681" sldId="2147483717"/>
          </pc:sldLayoutMkLst>
        </pc:sldLayoutChg>
        <pc:sldLayoutChg chg="setBg">
          <pc:chgData name="Dawid Janik" userId="81a947f4-3345-42c0-a461-2bf27ee4639f" providerId="ADAL" clId="{A7B4B8D9-7CBB-4479-B3DB-8A74F7DC6FA5}" dt="2023-04-26T12:42:45.519" v="2358"/>
          <pc:sldLayoutMkLst>
            <pc:docMk/>
            <pc:sldMasterMk cId="255494591" sldId="2147483716"/>
            <pc:sldLayoutMk cId="477109658" sldId="2147483718"/>
          </pc:sldLayoutMkLst>
        </pc:sldLayoutChg>
      </pc:sldMasterChg>
      <pc:sldMasterChg chg="setBg modSldLayout">
        <pc:chgData name="Dawid Janik" userId="81a947f4-3345-42c0-a461-2bf27ee4639f" providerId="ADAL" clId="{A7B4B8D9-7CBB-4479-B3DB-8A74F7DC6FA5}" dt="2023-04-26T12:42:45.519" v="2358"/>
        <pc:sldMasterMkLst>
          <pc:docMk/>
          <pc:sldMasterMk cId="721964027" sldId="2147483728"/>
        </pc:sldMasterMkLst>
        <pc:sldLayoutChg chg="setBg">
          <pc:chgData name="Dawid Janik" userId="81a947f4-3345-42c0-a461-2bf27ee4639f" providerId="ADAL" clId="{A7B4B8D9-7CBB-4479-B3DB-8A74F7DC6FA5}" dt="2023-04-26T12:42:45.519" v="2358"/>
          <pc:sldLayoutMkLst>
            <pc:docMk/>
            <pc:sldMasterMk cId="721964027" sldId="2147483728"/>
            <pc:sldLayoutMk cId="3763807480" sldId="2147483729"/>
          </pc:sldLayoutMkLst>
        </pc:sldLayoutChg>
      </pc:sldMasterChg>
      <pc:sldMasterChg chg="addSp setBg modSldLayout">
        <pc:chgData name="Dawid Janik" userId="81a947f4-3345-42c0-a461-2bf27ee4639f" providerId="ADAL" clId="{A7B4B8D9-7CBB-4479-B3DB-8A74F7DC6FA5}" dt="2023-04-26T12:42:45.519" v="2358"/>
        <pc:sldMasterMkLst>
          <pc:docMk/>
          <pc:sldMasterMk cId="1435124376" sldId="2147483764"/>
        </pc:sldMasterMkLst>
        <pc:spChg chg="add">
          <ac:chgData name="Dawid Janik" userId="81a947f4-3345-42c0-a461-2bf27ee4639f" providerId="ADAL" clId="{A7B4B8D9-7CBB-4479-B3DB-8A74F7DC6FA5}" dt="2023-04-26T12:42:19.234" v="2334"/>
          <ac:spMkLst>
            <pc:docMk/>
            <pc:sldMasterMk cId="1435124376" sldId="2147483764"/>
            <ac:spMk id="9" creationId="{3B1E71F7-4C50-D79B-B094-147F2617FA7D}"/>
          </ac:spMkLst>
        </pc:spChg>
        <pc:spChg chg="add">
          <ac:chgData name="Dawid Janik" userId="81a947f4-3345-42c0-a461-2bf27ee4639f" providerId="ADAL" clId="{A7B4B8D9-7CBB-4479-B3DB-8A74F7DC6FA5}" dt="2023-04-26T12:42:19.234" v="2334"/>
          <ac:spMkLst>
            <pc:docMk/>
            <pc:sldMasterMk cId="1435124376" sldId="2147483764"/>
            <ac:spMk id="10" creationId="{9ED976C1-FB2F-5959-6931-E8B0A11A1EED}"/>
          </ac:spMkLst>
        </pc:spChg>
        <pc:spChg chg="add">
          <ac:chgData name="Dawid Janik" userId="81a947f4-3345-42c0-a461-2bf27ee4639f" providerId="ADAL" clId="{A7B4B8D9-7CBB-4479-B3DB-8A74F7DC6FA5}" dt="2023-04-26T12:42:19.234" v="2334"/>
          <ac:spMkLst>
            <pc:docMk/>
            <pc:sldMasterMk cId="1435124376" sldId="2147483764"/>
            <ac:spMk id="11" creationId="{63CB2A52-2971-2EB3-9AF2-366CBB59F68A}"/>
          </ac:spMkLst>
        </pc:spChg>
        <pc:spChg chg="add">
          <ac:chgData name="Dawid Janik" userId="81a947f4-3345-42c0-a461-2bf27ee4639f" providerId="ADAL" clId="{A7B4B8D9-7CBB-4479-B3DB-8A74F7DC6FA5}" dt="2023-04-26T12:42:19.234" v="2334"/>
          <ac:spMkLst>
            <pc:docMk/>
            <pc:sldMasterMk cId="1435124376" sldId="2147483764"/>
            <ac:spMk id="12" creationId="{FE7B6D34-EE38-FCAF-A9E4-B9E2ACFD6589}"/>
          </ac:spMkLst>
        </pc:spChg>
        <pc:graphicFrameChg chg="add">
          <ac:chgData name="Dawid Janik" userId="81a947f4-3345-42c0-a461-2bf27ee4639f" providerId="ADAL" clId="{A7B4B8D9-7CBB-4479-B3DB-8A74F7DC6FA5}" dt="2023-04-26T12:42:19.234" v="2334"/>
          <ac:graphicFrameMkLst>
            <pc:docMk/>
            <pc:sldMasterMk cId="1435124376" sldId="2147483764"/>
            <ac:graphicFrameMk id="8" creationId="{757D05ED-66E4-A43C-F2AD-7CB63C864B7F}"/>
          </ac:graphicFrameMkLst>
        </pc:graphicFrameChg>
        <pc:picChg chg="add">
          <ac:chgData name="Dawid Janik" userId="81a947f4-3345-42c0-a461-2bf27ee4639f" providerId="ADAL" clId="{A7B4B8D9-7CBB-4479-B3DB-8A74F7DC6FA5}" dt="2023-04-26T12:42:19.234" v="2334"/>
          <ac:picMkLst>
            <pc:docMk/>
            <pc:sldMasterMk cId="1435124376" sldId="2147483764"/>
            <ac:picMk id="13" creationId="{6180B06A-193B-3A62-5426-2641F4C7CC31}"/>
          </ac:picMkLst>
        </pc:picChg>
        <pc:sldLayoutChg chg="modTransition setBg">
          <pc:chgData name="Dawid Janik" userId="81a947f4-3345-42c0-a461-2bf27ee4639f" providerId="ADAL" clId="{A7B4B8D9-7CBB-4479-B3DB-8A74F7DC6FA5}" dt="2023-04-26T12:42:45.519" v="2358"/>
          <pc:sldLayoutMkLst>
            <pc:docMk/>
            <pc:sldMasterMk cId="1435124376" sldId="2147483764"/>
            <pc:sldLayoutMk cId="3473882495" sldId="2147483732"/>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226763481" sldId="2147483734"/>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1499695689" sldId="2147483739"/>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893601684" sldId="2147483740"/>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1820133760" sldId="2147483741"/>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2064395688" sldId="2147483742"/>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1068099667" sldId="2147483743"/>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276349906" sldId="2147483744"/>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2033650648" sldId="2147483745"/>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2643331927" sldId="2147483746"/>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3986717530" sldId="2147483747"/>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3885985021" sldId="2147483748"/>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2611200179" sldId="2147483749"/>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2722599572" sldId="2147483751"/>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479681107" sldId="2147483752"/>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725995241" sldId="2147483753"/>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792188602" sldId="2147483754"/>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362661884" sldId="2147483755"/>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309302959" sldId="2147483756"/>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879445407" sldId="2147483757"/>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526091558" sldId="2147483758"/>
          </pc:sldLayoutMkLst>
        </pc:sldLayoutChg>
        <pc:sldLayoutChg chg="modTransition setBg">
          <pc:chgData name="Dawid Janik" userId="81a947f4-3345-42c0-a461-2bf27ee4639f" providerId="ADAL" clId="{A7B4B8D9-7CBB-4479-B3DB-8A74F7DC6FA5}" dt="2023-04-26T12:42:45.519" v="2358"/>
          <pc:sldLayoutMkLst>
            <pc:docMk/>
            <pc:sldMasterMk cId="1435124376" sldId="2147483764"/>
            <pc:sldLayoutMk cId="3029622918" sldId="2147483759"/>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2708353140" sldId="2147483765"/>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1314945647" sldId="2147483766"/>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2761676464" sldId="2147483767"/>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1220746119" sldId="2147483768"/>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3893125972" sldId="2147483769"/>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4170780874" sldId="2147483770"/>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74373265" sldId="2147483771"/>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2859362327" sldId="2147483772"/>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4009685796" sldId="2147483773"/>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80306533" sldId="2147483774"/>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2160999870" sldId="2147483775"/>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3107147092" sldId="2147483776"/>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2246613259" sldId="2147483777"/>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120324539" sldId="2147483778"/>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1171695876" sldId="2147483779"/>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2917213378" sldId="2147483780"/>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875556619" sldId="2147483781"/>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2686593457" sldId="2147483782"/>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1527279143" sldId="2147483783"/>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4028199214" sldId="2147483784"/>
          </pc:sldLayoutMkLst>
        </pc:sldLayoutChg>
        <pc:sldLayoutChg chg="setBg">
          <pc:chgData name="Dawid Janik" userId="81a947f4-3345-42c0-a461-2bf27ee4639f" providerId="ADAL" clId="{A7B4B8D9-7CBB-4479-B3DB-8A74F7DC6FA5}" dt="2023-04-26T12:42:45.519" v="2358"/>
          <pc:sldLayoutMkLst>
            <pc:docMk/>
            <pc:sldMasterMk cId="1435124376" sldId="2147483764"/>
            <pc:sldLayoutMk cId="3744954387" sldId="2147483785"/>
          </pc:sldLayoutMkLst>
        </pc:sldLayoutChg>
      </pc:sldMasterChg>
    </pc:docChg>
  </pc:docChgLst>
  <pc:docChgLst>
    <pc:chgData name="Dawid Janik" userId="S::dawid.janik@upfieldbrands.com::81a947f4-3345-42c0-a461-2bf27ee4639f" providerId="AD" clId="Web-{53CD4293-63B3-49C6-8522-CE205AF810D7}"/>
    <pc:docChg chg="addSld modSld">
      <pc:chgData name="Dawid Janik" userId="S::dawid.janik@upfieldbrands.com::81a947f4-3345-42c0-a461-2bf27ee4639f" providerId="AD" clId="Web-{53CD4293-63B3-49C6-8522-CE205AF810D7}" dt="2023-06-07T10:35:38.675" v="4"/>
      <pc:docMkLst>
        <pc:docMk/>
      </pc:docMkLst>
      <pc:sldChg chg="modSp">
        <pc:chgData name="Dawid Janik" userId="S::dawid.janik@upfieldbrands.com::81a947f4-3345-42c0-a461-2bf27ee4639f" providerId="AD" clId="Web-{53CD4293-63B3-49C6-8522-CE205AF810D7}" dt="2023-06-07T10:35:21.534" v="3"/>
        <pc:sldMkLst>
          <pc:docMk/>
          <pc:sldMk cId="1598440238" sldId="2147469991"/>
        </pc:sldMkLst>
        <pc:graphicFrameChg chg="mod modGraphic">
          <ac:chgData name="Dawid Janik" userId="S::dawid.janik@upfieldbrands.com::81a947f4-3345-42c0-a461-2bf27ee4639f" providerId="AD" clId="Web-{53CD4293-63B3-49C6-8522-CE205AF810D7}" dt="2023-06-07T10:35:21.534" v="3"/>
          <ac:graphicFrameMkLst>
            <pc:docMk/>
            <pc:sldMk cId="1598440238" sldId="2147469991"/>
            <ac:graphicFrameMk id="13" creationId="{4694C32F-DF94-17D6-6871-11C7B8198BDF}"/>
          </ac:graphicFrameMkLst>
        </pc:graphicFrameChg>
      </pc:sldChg>
      <pc:sldChg chg="modSp">
        <pc:chgData name="Dawid Janik" userId="S::dawid.janik@upfieldbrands.com::81a947f4-3345-42c0-a461-2bf27ee4639f" providerId="AD" clId="Web-{53CD4293-63B3-49C6-8522-CE205AF810D7}" dt="2023-06-07T10:34:27.548" v="1" actId="14100"/>
        <pc:sldMkLst>
          <pc:docMk/>
          <pc:sldMk cId="1086150633" sldId="2147469993"/>
        </pc:sldMkLst>
        <pc:graphicFrameChg chg="mod">
          <ac:chgData name="Dawid Janik" userId="S::dawid.janik@upfieldbrands.com::81a947f4-3345-42c0-a461-2bf27ee4639f" providerId="AD" clId="Web-{53CD4293-63B3-49C6-8522-CE205AF810D7}" dt="2023-06-07T10:34:27.548" v="1" actId="14100"/>
          <ac:graphicFrameMkLst>
            <pc:docMk/>
            <pc:sldMk cId="1086150633" sldId="2147469993"/>
            <ac:graphicFrameMk id="5" creationId="{13E87854-6E9B-74AE-DB30-517875DD0296}"/>
          </ac:graphicFrameMkLst>
        </pc:graphicFrameChg>
      </pc:sldChg>
      <pc:sldChg chg="new">
        <pc:chgData name="Dawid Janik" userId="S::dawid.janik@upfieldbrands.com::81a947f4-3345-42c0-a461-2bf27ee4639f" providerId="AD" clId="Web-{53CD4293-63B3-49C6-8522-CE205AF810D7}" dt="2023-06-07T10:35:38.675" v="4"/>
        <pc:sldMkLst>
          <pc:docMk/>
          <pc:sldMk cId="876068050" sldId="2147469994"/>
        </pc:sldMkLst>
      </pc:sldChg>
    </pc:docChg>
  </pc:docChgLst>
  <pc:docChgLst>
    <pc:chgData name="Judyta Kozlowska" userId="b4dee01e-1dd1-4ace-b126-5b3bd0cf451c" providerId="ADAL" clId="{D789F828-1770-4614-8A5F-888E34BA82FC}"/>
    <pc:docChg chg="undo custSel addSld delSld modSld sldOrd">
      <pc:chgData name="Judyta Kozlowska" userId="b4dee01e-1dd1-4ace-b126-5b3bd0cf451c" providerId="ADAL" clId="{D789F828-1770-4614-8A5F-888E34BA82FC}" dt="2023-03-13T10:33:12.120" v="1834" actId="20577"/>
      <pc:docMkLst>
        <pc:docMk/>
      </pc:docMkLst>
      <pc:sldChg chg="modSp mod">
        <pc:chgData name="Judyta Kozlowska" userId="b4dee01e-1dd1-4ace-b126-5b3bd0cf451c" providerId="ADAL" clId="{D789F828-1770-4614-8A5F-888E34BA82FC}" dt="2023-03-12T20:56:36.653" v="34" actId="20577"/>
        <pc:sldMkLst>
          <pc:docMk/>
          <pc:sldMk cId="2172592217" sldId="259"/>
        </pc:sldMkLst>
        <pc:spChg chg="mod">
          <ac:chgData name="Judyta Kozlowska" userId="b4dee01e-1dd1-4ace-b126-5b3bd0cf451c" providerId="ADAL" clId="{D789F828-1770-4614-8A5F-888E34BA82FC}" dt="2023-03-12T20:55:29.546" v="20" actId="255"/>
          <ac:spMkLst>
            <pc:docMk/>
            <pc:sldMk cId="2172592217" sldId="259"/>
            <ac:spMk id="18" creationId="{67288395-A982-493B-0C26-0C9FAEF5995F}"/>
          </ac:spMkLst>
        </pc:spChg>
        <pc:spChg chg="mod">
          <ac:chgData name="Judyta Kozlowska" userId="b4dee01e-1dd1-4ace-b126-5b3bd0cf451c" providerId="ADAL" clId="{D789F828-1770-4614-8A5F-888E34BA82FC}" dt="2023-03-12T20:56:36.653" v="34" actId="20577"/>
          <ac:spMkLst>
            <pc:docMk/>
            <pc:sldMk cId="2172592217" sldId="259"/>
            <ac:spMk id="19" creationId="{8019DE62-F249-C085-1235-91633AFAE511}"/>
          </ac:spMkLst>
        </pc:spChg>
      </pc:sldChg>
      <pc:sldChg chg="modSp mod">
        <pc:chgData name="Judyta Kozlowska" userId="b4dee01e-1dd1-4ace-b126-5b3bd0cf451c" providerId="ADAL" clId="{D789F828-1770-4614-8A5F-888E34BA82FC}" dt="2023-03-12T20:49:53.392" v="6" actId="20577"/>
        <pc:sldMkLst>
          <pc:docMk/>
          <pc:sldMk cId="387532369" sldId="262"/>
        </pc:sldMkLst>
        <pc:spChg chg="mod">
          <ac:chgData name="Judyta Kozlowska" userId="b4dee01e-1dd1-4ace-b126-5b3bd0cf451c" providerId="ADAL" clId="{D789F828-1770-4614-8A5F-888E34BA82FC}" dt="2023-03-12T20:49:53.392" v="6" actId="20577"/>
          <ac:spMkLst>
            <pc:docMk/>
            <pc:sldMk cId="387532369" sldId="262"/>
            <ac:spMk id="2" creationId="{00000000-0000-0000-0000-000000000000}"/>
          </ac:spMkLst>
        </pc:spChg>
      </pc:sldChg>
      <pc:sldChg chg="add del ord">
        <pc:chgData name="Judyta Kozlowska" userId="b4dee01e-1dd1-4ace-b126-5b3bd0cf451c" providerId="ADAL" clId="{D789F828-1770-4614-8A5F-888E34BA82FC}" dt="2023-03-12T23:17:14.844" v="1639" actId="47"/>
        <pc:sldMkLst>
          <pc:docMk/>
          <pc:sldMk cId="2884627336" sldId="267"/>
        </pc:sldMkLst>
      </pc:sldChg>
      <pc:sldChg chg="addSp delSp modSp mod">
        <pc:chgData name="Judyta Kozlowska" userId="b4dee01e-1dd1-4ace-b126-5b3bd0cf451c" providerId="ADAL" clId="{D789F828-1770-4614-8A5F-888E34BA82FC}" dt="2023-03-12T23:11:42.966" v="1344" actId="1076"/>
        <pc:sldMkLst>
          <pc:docMk/>
          <pc:sldMk cId="289989424" sldId="2858"/>
        </pc:sldMkLst>
        <pc:spChg chg="mod">
          <ac:chgData name="Judyta Kozlowska" userId="b4dee01e-1dd1-4ace-b126-5b3bd0cf451c" providerId="ADAL" clId="{D789F828-1770-4614-8A5F-888E34BA82FC}" dt="2023-03-12T22:41:21.909" v="552" actId="20577"/>
          <ac:spMkLst>
            <pc:docMk/>
            <pc:sldMk cId="289989424" sldId="2858"/>
            <ac:spMk id="2" creationId="{CF04DB44-42D0-7DDA-052D-69EE10190E3D}"/>
          </ac:spMkLst>
        </pc:spChg>
        <pc:spChg chg="add mod">
          <ac:chgData name="Judyta Kozlowska" userId="b4dee01e-1dd1-4ace-b126-5b3bd0cf451c" providerId="ADAL" clId="{D789F828-1770-4614-8A5F-888E34BA82FC}" dt="2023-03-12T23:11:42.966" v="1344" actId="1076"/>
          <ac:spMkLst>
            <pc:docMk/>
            <pc:sldMk cId="289989424" sldId="2858"/>
            <ac:spMk id="10" creationId="{99FE9447-8927-1C36-04A1-A0C45EBD95B8}"/>
          </ac:spMkLst>
        </pc:spChg>
        <pc:picChg chg="del">
          <ac:chgData name="Judyta Kozlowska" userId="b4dee01e-1dd1-4ace-b126-5b3bd0cf451c" providerId="ADAL" clId="{D789F828-1770-4614-8A5F-888E34BA82FC}" dt="2023-03-12T22:45:06.577" v="557" actId="478"/>
          <ac:picMkLst>
            <pc:docMk/>
            <pc:sldMk cId="289989424" sldId="2858"/>
            <ac:picMk id="3" creationId="{E3463A87-CC5A-B537-E752-83FAB94D89A7}"/>
          </ac:picMkLst>
        </pc:picChg>
        <pc:picChg chg="del mod">
          <ac:chgData name="Judyta Kozlowska" userId="b4dee01e-1dd1-4ace-b126-5b3bd0cf451c" providerId="ADAL" clId="{D789F828-1770-4614-8A5F-888E34BA82FC}" dt="2023-03-12T22:46:19.312" v="566" actId="478"/>
          <ac:picMkLst>
            <pc:docMk/>
            <pc:sldMk cId="289989424" sldId="2858"/>
            <ac:picMk id="6" creationId="{B80F1458-3D4D-0AE0-8249-C728FB6DC784}"/>
          </ac:picMkLst>
        </pc:picChg>
        <pc:picChg chg="add del mod">
          <ac:chgData name="Judyta Kozlowska" userId="b4dee01e-1dd1-4ace-b126-5b3bd0cf451c" providerId="ADAL" clId="{D789F828-1770-4614-8A5F-888E34BA82FC}" dt="2023-03-12T22:46:20.643" v="567" actId="478"/>
          <ac:picMkLst>
            <pc:docMk/>
            <pc:sldMk cId="289989424" sldId="2858"/>
            <ac:picMk id="7" creationId="{618F9968-4B90-5053-66B6-578ACE31C1D0}"/>
          </ac:picMkLst>
        </pc:picChg>
        <pc:picChg chg="add mod">
          <ac:chgData name="Judyta Kozlowska" userId="b4dee01e-1dd1-4ace-b126-5b3bd0cf451c" providerId="ADAL" clId="{D789F828-1770-4614-8A5F-888E34BA82FC}" dt="2023-03-12T22:47:27.525" v="573" actId="14100"/>
          <ac:picMkLst>
            <pc:docMk/>
            <pc:sldMk cId="289989424" sldId="2858"/>
            <ac:picMk id="9" creationId="{31CD3899-F4AB-7B74-9F4C-88B3ADA3DF44}"/>
          </ac:picMkLst>
        </pc:picChg>
      </pc:sldChg>
      <pc:sldChg chg="addSp delSp modSp mod">
        <pc:chgData name="Judyta Kozlowska" userId="b4dee01e-1dd1-4ace-b126-5b3bd0cf451c" providerId="ADAL" clId="{D789F828-1770-4614-8A5F-888E34BA82FC}" dt="2023-03-13T07:47:15.337" v="1810" actId="1076"/>
        <pc:sldMkLst>
          <pc:docMk/>
          <pc:sldMk cId="3969372951" sldId="2860"/>
        </pc:sldMkLst>
        <pc:spChg chg="add mod">
          <ac:chgData name="Judyta Kozlowska" userId="b4dee01e-1dd1-4ace-b126-5b3bd0cf451c" providerId="ADAL" clId="{D789F828-1770-4614-8A5F-888E34BA82FC}" dt="2023-03-12T23:10:10.462" v="1325" actId="20577"/>
          <ac:spMkLst>
            <pc:docMk/>
            <pc:sldMk cId="3969372951" sldId="2860"/>
            <ac:spMk id="2" creationId="{DCEC3E0C-FE24-BAD0-37DB-5C1FD664FAA8}"/>
          </ac:spMkLst>
        </pc:spChg>
        <pc:spChg chg="mod">
          <ac:chgData name="Judyta Kozlowska" userId="b4dee01e-1dd1-4ace-b126-5b3bd0cf451c" providerId="ADAL" clId="{D789F828-1770-4614-8A5F-888E34BA82FC}" dt="2023-03-13T07:46:37.681" v="1803" actId="6549"/>
          <ac:spMkLst>
            <pc:docMk/>
            <pc:sldMk cId="3969372951" sldId="2860"/>
            <ac:spMk id="3" creationId="{70A29806-3FA9-55EB-A5A4-937C2FBA0C72}"/>
          </ac:spMkLst>
        </pc:spChg>
        <pc:picChg chg="add mod">
          <ac:chgData name="Judyta Kozlowska" userId="b4dee01e-1dd1-4ace-b126-5b3bd0cf451c" providerId="ADAL" clId="{D789F828-1770-4614-8A5F-888E34BA82FC}" dt="2023-03-13T07:47:15.337" v="1810" actId="1076"/>
          <ac:picMkLst>
            <pc:docMk/>
            <pc:sldMk cId="3969372951" sldId="2860"/>
            <ac:picMk id="6" creationId="{924E20BA-59B8-E6EB-7E3D-7ED6E70E7AB6}"/>
          </ac:picMkLst>
        </pc:picChg>
        <pc:picChg chg="del mod">
          <ac:chgData name="Judyta Kozlowska" userId="b4dee01e-1dd1-4ace-b126-5b3bd0cf451c" providerId="ADAL" clId="{D789F828-1770-4614-8A5F-888E34BA82FC}" dt="2023-03-13T07:46:54.273" v="1804" actId="478"/>
          <ac:picMkLst>
            <pc:docMk/>
            <pc:sldMk cId="3969372951" sldId="2860"/>
            <ac:picMk id="8" creationId="{AE86B168-9031-192F-ACBD-15356F16C285}"/>
          </ac:picMkLst>
        </pc:picChg>
      </pc:sldChg>
      <pc:sldChg chg="addSp delSp modSp mod">
        <pc:chgData name="Judyta Kozlowska" userId="b4dee01e-1dd1-4ace-b126-5b3bd0cf451c" providerId="ADAL" clId="{D789F828-1770-4614-8A5F-888E34BA82FC}" dt="2023-03-13T07:46:26.783" v="1787" actId="1076"/>
        <pc:sldMkLst>
          <pc:docMk/>
          <pc:sldMk cId="773440969" sldId="2861"/>
        </pc:sldMkLst>
        <pc:spChg chg="mod">
          <ac:chgData name="Judyta Kozlowska" userId="b4dee01e-1dd1-4ace-b126-5b3bd0cf451c" providerId="ADAL" clId="{D789F828-1770-4614-8A5F-888E34BA82FC}" dt="2023-03-12T22:38:01.853" v="497"/>
          <ac:spMkLst>
            <pc:docMk/>
            <pc:sldMk cId="773440969" sldId="2861"/>
            <ac:spMk id="2" creationId="{1B444CE3-6913-B191-D3ED-3CC7690DE5CA}"/>
          </ac:spMkLst>
        </pc:spChg>
        <pc:picChg chg="del">
          <ac:chgData name="Judyta Kozlowska" userId="b4dee01e-1dd1-4ace-b126-5b3bd0cf451c" providerId="ADAL" clId="{D789F828-1770-4614-8A5F-888E34BA82FC}" dt="2023-03-12T22:37:02.850" v="432" actId="478"/>
          <ac:picMkLst>
            <pc:docMk/>
            <pc:sldMk cId="773440969" sldId="2861"/>
            <ac:picMk id="5" creationId="{30483E6E-ED8D-A629-3CE2-2BBB845C0D95}"/>
          </ac:picMkLst>
        </pc:picChg>
        <pc:picChg chg="add mod">
          <ac:chgData name="Judyta Kozlowska" userId="b4dee01e-1dd1-4ace-b126-5b3bd0cf451c" providerId="ADAL" clId="{D789F828-1770-4614-8A5F-888E34BA82FC}" dt="2023-03-13T07:46:26.783" v="1787" actId="1076"/>
          <ac:picMkLst>
            <pc:docMk/>
            <pc:sldMk cId="773440969" sldId="2861"/>
            <ac:picMk id="5" creationId="{B45F6A1E-EE8E-AD41-E7B3-656F602A1B46}"/>
          </ac:picMkLst>
        </pc:picChg>
        <pc:picChg chg="add mod">
          <ac:chgData name="Judyta Kozlowska" userId="b4dee01e-1dd1-4ace-b126-5b3bd0cf451c" providerId="ADAL" clId="{D789F828-1770-4614-8A5F-888E34BA82FC}" dt="2023-03-12T22:35:56.215" v="430" actId="14100"/>
          <ac:picMkLst>
            <pc:docMk/>
            <pc:sldMk cId="773440969" sldId="2861"/>
            <ac:picMk id="6" creationId="{55D7B215-A6F4-42D6-6A97-0872D1283D6C}"/>
          </ac:picMkLst>
        </pc:picChg>
        <pc:picChg chg="del">
          <ac:chgData name="Judyta Kozlowska" userId="b4dee01e-1dd1-4ace-b126-5b3bd0cf451c" providerId="ADAL" clId="{D789F828-1770-4614-8A5F-888E34BA82FC}" dt="2023-03-12T22:35:31.999" v="424" actId="478"/>
          <ac:picMkLst>
            <pc:docMk/>
            <pc:sldMk cId="773440969" sldId="2861"/>
            <ac:picMk id="7" creationId="{E186DE10-3444-2CD6-76C1-C313222B2B2E}"/>
          </ac:picMkLst>
        </pc:picChg>
        <pc:picChg chg="add del mod">
          <ac:chgData name="Judyta Kozlowska" userId="b4dee01e-1dd1-4ace-b126-5b3bd0cf451c" providerId="ADAL" clId="{D789F828-1770-4614-8A5F-888E34BA82FC}" dt="2023-03-13T07:46:13.360" v="1780" actId="478"/>
          <ac:picMkLst>
            <pc:docMk/>
            <pc:sldMk cId="773440969" sldId="2861"/>
            <ac:picMk id="9" creationId="{E3750301-7AFE-05E6-4CFD-753E7DAE2886}"/>
          </ac:picMkLst>
        </pc:picChg>
        <pc:picChg chg="del">
          <ac:chgData name="Judyta Kozlowska" userId="b4dee01e-1dd1-4ace-b126-5b3bd0cf451c" providerId="ADAL" clId="{D789F828-1770-4614-8A5F-888E34BA82FC}" dt="2023-03-12T22:37:03.431" v="433" actId="478"/>
          <ac:picMkLst>
            <pc:docMk/>
            <pc:sldMk cId="773440969" sldId="2861"/>
            <ac:picMk id="12" creationId="{0E50B8F1-C7D2-C9A8-A40E-7E2217B98082}"/>
          </ac:picMkLst>
        </pc:picChg>
      </pc:sldChg>
      <pc:sldChg chg="addSp delSp modSp mod ord">
        <pc:chgData name="Judyta Kozlowska" userId="b4dee01e-1dd1-4ace-b126-5b3bd0cf451c" providerId="ADAL" clId="{D789F828-1770-4614-8A5F-888E34BA82FC}" dt="2023-03-12T21:16:24.071" v="314" actId="113"/>
        <pc:sldMkLst>
          <pc:docMk/>
          <pc:sldMk cId="1531271792" sldId="2864"/>
        </pc:sldMkLst>
        <pc:spChg chg="add mod">
          <ac:chgData name="Judyta Kozlowska" userId="b4dee01e-1dd1-4ace-b126-5b3bd0cf451c" providerId="ADAL" clId="{D789F828-1770-4614-8A5F-888E34BA82FC}" dt="2023-03-12T21:16:24.071" v="314" actId="113"/>
          <ac:spMkLst>
            <pc:docMk/>
            <pc:sldMk cId="1531271792" sldId="2864"/>
            <ac:spMk id="7" creationId="{26CB480A-83AA-4501-762B-2484F15EB6A6}"/>
          </ac:spMkLst>
        </pc:spChg>
        <pc:picChg chg="del">
          <ac:chgData name="Judyta Kozlowska" userId="b4dee01e-1dd1-4ace-b126-5b3bd0cf451c" providerId="ADAL" clId="{D789F828-1770-4614-8A5F-888E34BA82FC}" dt="2023-03-12T20:56:43.599" v="37" actId="478"/>
          <ac:picMkLst>
            <pc:docMk/>
            <pc:sldMk cId="1531271792" sldId="2864"/>
            <ac:picMk id="5" creationId="{BCF697CD-CC7B-96D3-A503-EA46147739A7}"/>
          </ac:picMkLst>
        </pc:picChg>
        <pc:picChg chg="add mod">
          <ac:chgData name="Judyta Kozlowska" userId="b4dee01e-1dd1-4ace-b126-5b3bd0cf451c" providerId="ADAL" clId="{D789F828-1770-4614-8A5F-888E34BA82FC}" dt="2023-03-12T21:02:04.857" v="44" actId="1076"/>
          <ac:picMkLst>
            <pc:docMk/>
            <pc:sldMk cId="1531271792" sldId="2864"/>
            <ac:picMk id="6" creationId="{0B72830C-97E5-497B-AED6-857EF2617646}"/>
          </ac:picMkLst>
        </pc:picChg>
      </pc:sldChg>
      <pc:sldChg chg="addSp delSp modSp mod">
        <pc:chgData name="Judyta Kozlowska" userId="b4dee01e-1dd1-4ace-b126-5b3bd0cf451c" providerId="ADAL" clId="{D789F828-1770-4614-8A5F-888E34BA82FC}" dt="2023-03-12T22:39:39.485" v="515" actId="1076"/>
        <pc:sldMkLst>
          <pc:docMk/>
          <pc:sldMk cId="4281873408" sldId="2868"/>
        </pc:sldMkLst>
        <pc:spChg chg="mod">
          <ac:chgData name="Judyta Kozlowska" userId="b4dee01e-1dd1-4ace-b126-5b3bd0cf451c" providerId="ADAL" clId="{D789F828-1770-4614-8A5F-888E34BA82FC}" dt="2023-03-12T22:38:59.889" v="504"/>
          <ac:spMkLst>
            <pc:docMk/>
            <pc:sldMk cId="4281873408" sldId="2868"/>
            <ac:spMk id="5" creationId="{ABB7EFFD-62DD-FC6E-99E5-79D113FAEAA2}"/>
          </ac:spMkLst>
        </pc:spChg>
        <pc:picChg chg="add mod">
          <ac:chgData name="Judyta Kozlowska" userId="b4dee01e-1dd1-4ace-b126-5b3bd0cf451c" providerId="ADAL" clId="{D789F828-1770-4614-8A5F-888E34BA82FC}" dt="2023-03-12T22:39:39.485" v="515" actId="1076"/>
          <ac:picMkLst>
            <pc:docMk/>
            <pc:sldMk cId="4281873408" sldId="2868"/>
            <ac:picMk id="3" creationId="{1019DD5D-B528-DD7D-787B-70237EC2A4A2}"/>
          </ac:picMkLst>
        </pc:picChg>
        <pc:picChg chg="del">
          <ac:chgData name="Judyta Kozlowska" userId="b4dee01e-1dd1-4ace-b126-5b3bd0cf451c" providerId="ADAL" clId="{D789F828-1770-4614-8A5F-888E34BA82FC}" dt="2023-03-12T22:39:10.924" v="506" actId="478"/>
          <ac:picMkLst>
            <pc:docMk/>
            <pc:sldMk cId="4281873408" sldId="2868"/>
            <ac:picMk id="6" creationId="{C86DD90C-FC74-5E21-BB50-C9DA6755F7D8}"/>
          </ac:picMkLst>
        </pc:picChg>
      </pc:sldChg>
      <pc:sldChg chg="addSp delSp modSp mod">
        <pc:chgData name="Judyta Kozlowska" userId="b4dee01e-1dd1-4ace-b126-5b3bd0cf451c" providerId="ADAL" clId="{D789F828-1770-4614-8A5F-888E34BA82FC}" dt="2023-03-12T22:40:04.918" v="524" actId="14100"/>
        <pc:sldMkLst>
          <pc:docMk/>
          <pc:sldMk cId="3716441291" sldId="2869"/>
        </pc:sldMkLst>
        <pc:spChg chg="mod">
          <ac:chgData name="Judyta Kozlowska" userId="b4dee01e-1dd1-4ace-b126-5b3bd0cf451c" providerId="ADAL" clId="{D789F828-1770-4614-8A5F-888E34BA82FC}" dt="2023-03-12T22:39:03.073" v="505"/>
          <ac:spMkLst>
            <pc:docMk/>
            <pc:sldMk cId="3716441291" sldId="2869"/>
            <ac:spMk id="5" creationId="{81607E81-3099-15AA-7538-53CE92E5517B}"/>
          </ac:spMkLst>
        </pc:spChg>
        <pc:picChg chg="del mod">
          <ac:chgData name="Judyta Kozlowska" userId="b4dee01e-1dd1-4ace-b126-5b3bd0cf451c" providerId="ADAL" clId="{D789F828-1770-4614-8A5F-888E34BA82FC}" dt="2023-03-12T22:39:42.246" v="517" actId="478"/>
          <ac:picMkLst>
            <pc:docMk/>
            <pc:sldMk cId="3716441291" sldId="2869"/>
            <ac:picMk id="3" creationId="{F1A74237-33F4-BE71-63E7-69168EBBBFCC}"/>
          </ac:picMkLst>
        </pc:picChg>
        <pc:picChg chg="add mod">
          <ac:chgData name="Judyta Kozlowska" userId="b4dee01e-1dd1-4ace-b126-5b3bd0cf451c" providerId="ADAL" clId="{D789F828-1770-4614-8A5F-888E34BA82FC}" dt="2023-03-12T22:40:04.918" v="524" actId="14100"/>
          <ac:picMkLst>
            <pc:docMk/>
            <pc:sldMk cId="3716441291" sldId="2869"/>
            <ac:picMk id="6" creationId="{87A48A7C-2E89-DFC6-2B16-A0FEF00227FF}"/>
          </ac:picMkLst>
        </pc:picChg>
      </pc:sldChg>
      <pc:sldChg chg="addSp delSp modSp mod">
        <pc:chgData name="Judyta Kozlowska" userId="b4dee01e-1dd1-4ace-b126-5b3bd0cf451c" providerId="ADAL" clId="{D789F828-1770-4614-8A5F-888E34BA82FC}" dt="2023-03-12T21:54:52.607" v="384" actId="14100"/>
        <pc:sldMkLst>
          <pc:docMk/>
          <pc:sldMk cId="1608263504" sldId="2870"/>
        </pc:sldMkLst>
        <pc:spChg chg="add del mod">
          <ac:chgData name="Judyta Kozlowska" userId="b4dee01e-1dd1-4ace-b126-5b3bd0cf451c" providerId="ADAL" clId="{D789F828-1770-4614-8A5F-888E34BA82FC}" dt="2023-03-12T21:54:01.345" v="370" actId="478"/>
          <ac:spMkLst>
            <pc:docMk/>
            <pc:sldMk cId="1608263504" sldId="2870"/>
            <ac:spMk id="8" creationId="{67FB286C-3E8A-34A1-30F1-EF65574C253F}"/>
          </ac:spMkLst>
        </pc:spChg>
        <pc:spChg chg="add del mod">
          <ac:chgData name="Judyta Kozlowska" userId="b4dee01e-1dd1-4ace-b126-5b3bd0cf451c" providerId="ADAL" clId="{D789F828-1770-4614-8A5F-888E34BA82FC}" dt="2023-03-12T21:54:52.607" v="384" actId="14100"/>
          <ac:spMkLst>
            <pc:docMk/>
            <pc:sldMk cId="1608263504" sldId="2870"/>
            <ac:spMk id="11" creationId="{48463A19-B04C-0218-E967-835BDECCFC92}"/>
          </ac:spMkLst>
        </pc:spChg>
        <pc:picChg chg="add del mod">
          <ac:chgData name="Judyta Kozlowska" userId="b4dee01e-1dd1-4ace-b126-5b3bd0cf451c" providerId="ADAL" clId="{D789F828-1770-4614-8A5F-888E34BA82FC}" dt="2023-03-12T21:54:06.612" v="377" actId="478"/>
          <ac:picMkLst>
            <pc:docMk/>
            <pc:sldMk cId="1608263504" sldId="2870"/>
            <ac:picMk id="3" creationId="{77576B18-70C7-E353-46EC-E2653F458532}"/>
          </ac:picMkLst>
        </pc:picChg>
        <pc:picChg chg="del">
          <ac:chgData name="Judyta Kozlowska" userId="b4dee01e-1dd1-4ace-b126-5b3bd0cf451c" providerId="ADAL" clId="{D789F828-1770-4614-8A5F-888E34BA82FC}" dt="2023-03-12T21:53:17.880" v="361" actId="478"/>
          <ac:picMkLst>
            <pc:docMk/>
            <pc:sldMk cId="1608263504" sldId="2870"/>
            <ac:picMk id="9" creationId="{98BADE27-BD15-C4FE-1AC7-E9AEBF5B4EE6}"/>
          </ac:picMkLst>
        </pc:picChg>
        <pc:picChg chg="add mod">
          <ac:chgData name="Judyta Kozlowska" userId="b4dee01e-1dd1-4ace-b126-5b3bd0cf451c" providerId="ADAL" clId="{D789F828-1770-4614-8A5F-888E34BA82FC}" dt="2023-03-12T21:54:38.157" v="382" actId="14100"/>
          <ac:picMkLst>
            <pc:docMk/>
            <pc:sldMk cId="1608263504" sldId="2870"/>
            <ac:picMk id="12" creationId="{355F0831-F2D1-07DF-A58F-CDB578935CA9}"/>
          </ac:picMkLst>
        </pc:picChg>
      </pc:sldChg>
      <pc:sldChg chg="addSp delSp modSp mod">
        <pc:chgData name="Judyta Kozlowska" userId="b4dee01e-1dd1-4ace-b126-5b3bd0cf451c" providerId="ADAL" clId="{D789F828-1770-4614-8A5F-888E34BA82FC}" dt="2023-03-13T10:33:12.120" v="1834" actId="20577"/>
        <pc:sldMkLst>
          <pc:docMk/>
          <pc:sldMk cId="977520493" sldId="2871"/>
        </pc:sldMkLst>
        <pc:spChg chg="mod">
          <ac:chgData name="Judyta Kozlowska" userId="b4dee01e-1dd1-4ace-b126-5b3bd0cf451c" providerId="ADAL" clId="{D789F828-1770-4614-8A5F-888E34BA82FC}" dt="2023-03-13T10:33:12.120" v="1834" actId="20577"/>
          <ac:spMkLst>
            <pc:docMk/>
            <pc:sldMk cId="977520493" sldId="2871"/>
            <ac:spMk id="5" creationId="{46038FB7-675A-432D-0796-C0AF3BBB48A7}"/>
          </ac:spMkLst>
        </pc:spChg>
        <pc:picChg chg="add mod">
          <ac:chgData name="Judyta Kozlowska" userId="b4dee01e-1dd1-4ace-b126-5b3bd0cf451c" providerId="ADAL" clId="{D789F828-1770-4614-8A5F-888E34BA82FC}" dt="2023-03-12T22:01:42.639" v="396" actId="14100"/>
          <ac:picMkLst>
            <pc:docMk/>
            <pc:sldMk cId="977520493" sldId="2871"/>
            <ac:picMk id="8" creationId="{AB2EAA07-3504-7894-086A-14940D5BEA57}"/>
          </ac:picMkLst>
        </pc:picChg>
        <pc:picChg chg="del mod">
          <ac:chgData name="Judyta Kozlowska" userId="b4dee01e-1dd1-4ace-b126-5b3bd0cf451c" providerId="ADAL" clId="{D789F828-1770-4614-8A5F-888E34BA82FC}" dt="2023-03-12T22:01:32.852" v="394" actId="478"/>
          <ac:picMkLst>
            <pc:docMk/>
            <pc:sldMk cId="977520493" sldId="2871"/>
            <ac:picMk id="10" creationId="{47FABA65-4B80-BD49-1DA8-E6EC4BF2F5A8}"/>
          </ac:picMkLst>
        </pc:picChg>
      </pc:sldChg>
      <pc:sldChg chg="addSp delSp modSp mod">
        <pc:chgData name="Judyta Kozlowska" userId="b4dee01e-1dd1-4ace-b126-5b3bd0cf451c" providerId="ADAL" clId="{D789F828-1770-4614-8A5F-888E34BA82FC}" dt="2023-03-12T21:41:55.708" v="344" actId="1076"/>
        <pc:sldMkLst>
          <pc:docMk/>
          <pc:sldMk cId="4104552231" sldId="2872"/>
        </pc:sldMkLst>
        <pc:picChg chg="add mod">
          <ac:chgData name="Judyta Kozlowska" userId="b4dee01e-1dd1-4ace-b126-5b3bd0cf451c" providerId="ADAL" clId="{D789F828-1770-4614-8A5F-888E34BA82FC}" dt="2023-03-12T21:41:55.708" v="344" actId="1076"/>
          <ac:picMkLst>
            <pc:docMk/>
            <pc:sldMk cId="4104552231" sldId="2872"/>
            <ac:picMk id="3" creationId="{595C103A-B48D-66F0-5FB7-E44C72B519CB}"/>
          </ac:picMkLst>
        </pc:picChg>
        <pc:picChg chg="del">
          <ac:chgData name="Judyta Kozlowska" userId="b4dee01e-1dd1-4ace-b126-5b3bd0cf451c" providerId="ADAL" clId="{D789F828-1770-4614-8A5F-888E34BA82FC}" dt="2023-03-12T21:34:32.636" v="332" actId="478"/>
          <ac:picMkLst>
            <pc:docMk/>
            <pc:sldMk cId="4104552231" sldId="2872"/>
            <ac:picMk id="10" creationId="{EBAD3B42-F835-B523-0CF5-D2F672E7109D}"/>
          </ac:picMkLst>
        </pc:picChg>
      </pc:sldChg>
      <pc:sldChg chg="addSp delSp modSp mod">
        <pc:chgData name="Judyta Kozlowska" userId="b4dee01e-1dd1-4ace-b126-5b3bd0cf451c" providerId="ADAL" clId="{D789F828-1770-4614-8A5F-888E34BA82FC}" dt="2023-03-13T10:32:29.056" v="1820" actId="20577"/>
        <pc:sldMkLst>
          <pc:docMk/>
          <pc:sldMk cId="4087466394" sldId="2873"/>
        </pc:sldMkLst>
        <pc:spChg chg="mod">
          <ac:chgData name="Judyta Kozlowska" userId="b4dee01e-1dd1-4ace-b126-5b3bd0cf451c" providerId="ADAL" clId="{D789F828-1770-4614-8A5F-888E34BA82FC}" dt="2023-03-13T10:32:29.056" v="1820" actId="20577"/>
          <ac:spMkLst>
            <pc:docMk/>
            <pc:sldMk cId="4087466394" sldId="2873"/>
            <ac:spMk id="5" creationId="{46038FB7-675A-432D-0796-C0AF3BBB48A7}"/>
          </ac:spMkLst>
        </pc:spChg>
        <pc:picChg chg="add mod">
          <ac:chgData name="Judyta Kozlowska" userId="b4dee01e-1dd1-4ace-b126-5b3bd0cf451c" providerId="ADAL" clId="{D789F828-1770-4614-8A5F-888E34BA82FC}" dt="2023-03-12T21:56:16.027" v="391" actId="1076"/>
          <ac:picMkLst>
            <pc:docMk/>
            <pc:sldMk cId="4087466394" sldId="2873"/>
            <ac:picMk id="3" creationId="{90497184-90F3-3361-B271-F87A77A9F4FC}"/>
          </ac:picMkLst>
        </pc:picChg>
        <pc:picChg chg="del">
          <ac:chgData name="Judyta Kozlowska" userId="b4dee01e-1dd1-4ace-b126-5b3bd0cf451c" providerId="ADAL" clId="{D789F828-1770-4614-8A5F-888E34BA82FC}" dt="2023-03-12T21:56:01.634" v="386" actId="478"/>
          <ac:picMkLst>
            <pc:docMk/>
            <pc:sldMk cId="4087466394" sldId="2873"/>
            <ac:picMk id="8" creationId="{A85E9004-D240-5EAC-6292-B1B844702215}"/>
          </ac:picMkLst>
        </pc:picChg>
        <pc:picChg chg="del">
          <ac:chgData name="Judyta Kozlowska" userId="b4dee01e-1dd1-4ace-b126-5b3bd0cf451c" providerId="ADAL" clId="{D789F828-1770-4614-8A5F-888E34BA82FC}" dt="2023-03-12T21:56:03.274" v="387" actId="478"/>
          <ac:picMkLst>
            <pc:docMk/>
            <pc:sldMk cId="4087466394" sldId="2873"/>
            <ac:picMk id="10" creationId="{A33EF6B8-9CEE-59F0-FBE3-17B5F5BF532D}"/>
          </ac:picMkLst>
        </pc:picChg>
      </pc:sldChg>
      <pc:sldChg chg="addSp delSp modSp mod">
        <pc:chgData name="Judyta Kozlowska" userId="b4dee01e-1dd1-4ace-b126-5b3bd0cf451c" providerId="ADAL" clId="{D789F828-1770-4614-8A5F-888E34BA82FC}" dt="2023-03-12T23:14:19.438" v="1550" actId="1076"/>
        <pc:sldMkLst>
          <pc:docMk/>
          <pc:sldMk cId="895411874" sldId="2877"/>
        </pc:sldMkLst>
        <pc:picChg chg="del">
          <ac:chgData name="Judyta Kozlowska" userId="b4dee01e-1dd1-4ace-b126-5b3bd0cf451c" providerId="ADAL" clId="{D789F828-1770-4614-8A5F-888E34BA82FC}" dt="2023-03-12T23:13:13.049" v="1544" actId="478"/>
          <ac:picMkLst>
            <pc:docMk/>
            <pc:sldMk cId="895411874" sldId="2877"/>
            <ac:picMk id="3" creationId="{58FEB924-DF28-2485-87F8-181D471C0DC3}"/>
          </ac:picMkLst>
        </pc:picChg>
        <pc:picChg chg="add mod">
          <ac:chgData name="Judyta Kozlowska" userId="b4dee01e-1dd1-4ace-b126-5b3bd0cf451c" providerId="ADAL" clId="{D789F828-1770-4614-8A5F-888E34BA82FC}" dt="2023-03-12T23:14:19.438" v="1550" actId="1076"/>
          <ac:picMkLst>
            <pc:docMk/>
            <pc:sldMk cId="895411874" sldId="2877"/>
            <ac:picMk id="7" creationId="{E3297ADE-77A8-FDA3-6542-06A903421D37}"/>
          </ac:picMkLst>
        </pc:picChg>
      </pc:sldChg>
      <pc:sldChg chg="modSp mod">
        <pc:chgData name="Judyta Kozlowska" userId="b4dee01e-1dd1-4ace-b126-5b3bd0cf451c" providerId="ADAL" clId="{D789F828-1770-4614-8A5F-888E34BA82FC}" dt="2023-03-12T23:21:27.924" v="1750" actId="20577"/>
        <pc:sldMkLst>
          <pc:docMk/>
          <pc:sldMk cId="2561586527" sldId="2880"/>
        </pc:sldMkLst>
        <pc:spChg chg="mod">
          <ac:chgData name="Judyta Kozlowska" userId="b4dee01e-1dd1-4ace-b126-5b3bd0cf451c" providerId="ADAL" clId="{D789F828-1770-4614-8A5F-888E34BA82FC}" dt="2023-03-12T23:21:27.924" v="1750" actId="20577"/>
          <ac:spMkLst>
            <pc:docMk/>
            <pc:sldMk cId="2561586527" sldId="2880"/>
            <ac:spMk id="6" creationId="{B3953017-58C0-4B73-BD7C-6A3501B81345}"/>
          </ac:spMkLst>
        </pc:spChg>
      </pc:sldChg>
      <pc:sldChg chg="addSp delSp modSp mod ord">
        <pc:chgData name="Judyta Kozlowska" userId="b4dee01e-1dd1-4ace-b126-5b3bd0cf451c" providerId="ADAL" clId="{D789F828-1770-4614-8A5F-888E34BA82FC}" dt="2023-03-12T21:28:36.024" v="329" actId="1076"/>
        <pc:sldMkLst>
          <pc:docMk/>
          <pc:sldMk cId="2835097437" sldId="2890"/>
        </pc:sldMkLst>
        <pc:spChg chg="mod">
          <ac:chgData name="Judyta Kozlowska" userId="b4dee01e-1dd1-4ace-b126-5b3bd0cf451c" providerId="ADAL" clId="{D789F828-1770-4614-8A5F-888E34BA82FC}" dt="2023-03-12T21:17:01.287" v="324" actId="20577"/>
          <ac:spMkLst>
            <pc:docMk/>
            <pc:sldMk cId="2835097437" sldId="2890"/>
            <ac:spMk id="5" creationId="{8F34C24A-4DB1-BAA6-C705-069CFA2CBD19}"/>
          </ac:spMkLst>
        </pc:spChg>
        <pc:picChg chg="del">
          <ac:chgData name="Judyta Kozlowska" userId="b4dee01e-1dd1-4ace-b126-5b3bd0cf451c" providerId="ADAL" clId="{D789F828-1770-4614-8A5F-888E34BA82FC}" dt="2023-03-12T21:21:48.364" v="325" actId="478"/>
          <ac:picMkLst>
            <pc:docMk/>
            <pc:sldMk cId="2835097437" sldId="2890"/>
            <ac:picMk id="3" creationId="{2E55BB0A-96C2-BE80-5BF7-F7ED2700DFF8}"/>
          </ac:picMkLst>
        </pc:picChg>
        <pc:picChg chg="add mod">
          <ac:chgData name="Judyta Kozlowska" userId="b4dee01e-1dd1-4ace-b126-5b3bd0cf451c" providerId="ADAL" clId="{D789F828-1770-4614-8A5F-888E34BA82FC}" dt="2023-03-12T21:28:36.024" v="329" actId="1076"/>
          <ac:picMkLst>
            <pc:docMk/>
            <pc:sldMk cId="2835097437" sldId="2890"/>
            <ac:picMk id="6" creationId="{BFBC01D3-E0F8-0E0C-3B79-0FD7003EEED0}"/>
          </ac:picMkLst>
        </pc:picChg>
        <pc:picChg chg="del">
          <ac:chgData name="Judyta Kozlowska" userId="b4dee01e-1dd1-4ace-b126-5b3bd0cf451c" providerId="ADAL" clId="{D789F828-1770-4614-8A5F-888E34BA82FC}" dt="2023-03-12T21:21:48.894" v="326" actId="478"/>
          <ac:picMkLst>
            <pc:docMk/>
            <pc:sldMk cId="2835097437" sldId="2890"/>
            <ac:picMk id="7" creationId="{37D4A871-0544-EE81-937B-4E8CEEA2F51E}"/>
          </ac:picMkLst>
        </pc:picChg>
        <pc:picChg chg="del">
          <ac:chgData name="Judyta Kozlowska" userId="b4dee01e-1dd1-4ace-b126-5b3bd0cf451c" providerId="ADAL" clId="{D789F828-1770-4614-8A5F-888E34BA82FC}" dt="2023-03-12T21:21:49.331" v="327" actId="478"/>
          <ac:picMkLst>
            <pc:docMk/>
            <pc:sldMk cId="2835097437" sldId="2890"/>
            <ac:picMk id="9" creationId="{37C9F825-2564-5CFC-0106-E5307B05E140}"/>
          </ac:picMkLst>
        </pc:picChg>
      </pc:sldChg>
      <pc:sldChg chg="del">
        <pc:chgData name="Judyta Kozlowska" userId="b4dee01e-1dd1-4ace-b126-5b3bd0cf451c" providerId="ADAL" clId="{D789F828-1770-4614-8A5F-888E34BA82FC}" dt="2023-03-12T21:28:41.630" v="330" actId="2696"/>
        <pc:sldMkLst>
          <pc:docMk/>
          <pc:sldMk cId="2357485900" sldId="2895"/>
        </pc:sldMkLst>
      </pc:sldChg>
      <pc:sldChg chg="addSp delSp modSp mod">
        <pc:chgData name="Judyta Kozlowska" userId="b4dee01e-1dd1-4ace-b126-5b3bd0cf451c" providerId="ADAL" clId="{D789F828-1770-4614-8A5F-888E34BA82FC}" dt="2023-03-12T21:42:10.347" v="346" actId="1076"/>
        <pc:sldMkLst>
          <pc:docMk/>
          <pc:sldMk cId="1303653633" sldId="2896"/>
        </pc:sldMkLst>
        <pc:picChg chg="add mod">
          <ac:chgData name="Judyta Kozlowska" userId="b4dee01e-1dd1-4ace-b126-5b3bd0cf451c" providerId="ADAL" clId="{D789F828-1770-4614-8A5F-888E34BA82FC}" dt="2023-03-12T21:42:10.347" v="346" actId="1076"/>
          <ac:picMkLst>
            <pc:docMk/>
            <pc:sldMk cId="1303653633" sldId="2896"/>
            <ac:picMk id="3" creationId="{383CBC12-2E10-D31B-597C-B9D6C67A6C2F}"/>
          </ac:picMkLst>
        </pc:picChg>
        <pc:picChg chg="del">
          <ac:chgData name="Judyta Kozlowska" userId="b4dee01e-1dd1-4ace-b126-5b3bd0cf451c" providerId="ADAL" clId="{D789F828-1770-4614-8A5F-888E34BA82FC}" dt="2023-03-12T21:41:21.030" v="338" actId="478"/>
          <ac:picMkLst>
            <pc:docMk/>
            <pc:sldMk cId="1303653633" sldId="2896"/>
            <ac:picMk id="7" creationId="{8BCFAC19-9A91-7746-D757-201D2887055C}"/>
          </ac:picMkLst>
        </pc:picChg>
      </pc:sldChg>
      <pc:sldChg chg="addSp delSp modSp mod">
        <pc:chgData name="Judyta Kozlowska" userId="b4dee01e-1dd1-4ace-b126-5b3bd0cf451c" providerId="ADAL" clId="{D789F828-1770-4614-8A5F-888E34BA82FC}" dt="2023-03-12T23:18:57.150" v="1666" actId="1076"/>
        <pc:sldMkLst>
          <pc:docMk/>
          <pc:sldMk cId="1501911350" sldId="2898"/>
        </pc:sldMkLst>
        <pc:spChg chg="add del mod">
          <ac:chgData name="Judyta Kozlowska" userId="b4dee01e-1dd1-4ace-b126-5b3bd0cf451c" providerId="ADAL" clId="{D789F828-1770-4614-8A5F-888E34BA82FC}" dt="2023-03-12T23:18:43.132" v="1661"/>
          <ac:spMkLst>
            <pc:docMk/>
            <pc:sldMk cId="1501911350" sldId="2898"/>
            <ac:spMk id="2" creationId="{85419596-3DAC-4B42-B12E-36CCEECA9C9B}"/>
          </ac:spMkLst>
        </pc:spChg>
        <pc:spChg chg="add del">
          <ac:chgData name="Judyta Kozlowska" userId="b4dee01e-1dd1-4ace-b126-5b3bd0cf451c" providerId="ADAL" clId="{D789F828-1770-4614-8A5F-888E34BA82FC}" dt="2023-03-12T23:18:50.653" v="1664" actId="478"/>
          <ac:spMkLst>
            <pc:docMk/>
            <pc:sldMk cId="1501911350" sldId="2898"/>
            <ac:spMk id="5" creationId="{8F34C24A-4DB1-BAA6-C705-069CFA2CBD19}"/>
          </ac:spMkLst>
        </pc:spChg>
        <pc:spChg chg="add del mod">
          <ac:chgData name="Judyta Kozlowska" userId="b4dee01e-1dd1-4ace-b126-5b3bd0cf451c" providerId="ADAL" clId="{D789F828-1770-4614-8A5F-888E34BA82FC}" dt="2023-03-12T23:18:41.048" v="1659" actId="478"/>
          <ac:spMkLst>
            <pc:docMk/>
            <pc:sldMk cId="1501911350" sldId="2898"/>
            <ac:spMk id="7" creationId="{683346A9-FEA5-0282-9165-C715E09EF32C}"/>
          </ac:spMkLst>
        </pc:spChg>
        <pc:spChg chg="add mod">
          <ac:chgData name="Judyta Kozlowska" userId="b4dee01e-1dd1-4ace-b126-5b3bd0cf451c" providerId="ADAL" clId="{D789F828-1770-4614-8A5F-888E34BA82FC}" dt="2023-03-12T23:18:57.150" v="1666" actId="1076"/>
          <ac:spMkLst>
            <pc:docMk/>
            <pc:sldMk cId="1501911350" sldId="2898"/>
            <ac:spMk id="8" creationId="{2639CBB1-9DEB-9FCD-E0C1-595C61F5FB4C}"/>
          </ac:spMkLst>
        </pc:spChg>
        <pc:spChg chg="add del mod">
          <ac:chgData name="Judyta Kozlowska" userId="b4dee01e-1dd1-4ace-b126-5b3bd0cf451c" providerId="ADAL" clId="{D789F828-1770-4614-8A5F-888E34BA82FC}" dt="2023-03-12T23:18:54.043" v="1665" actId="478"/>
          <ac:spMkLst>
            <pc:docMk/>
            <pc:sldMk cId="1501911350" sldId="2898"/>
            <ac:spMk id="10" creationId="{D876797F-321A-08E7-2F43-06AC739918B5}"/>
          </ac:spMkLst>
        </pc:spChg>
        <pc:picChg chg="del">
          <ac:chgData name="Judyta Kozlowska" userId="b4dee01e-1dd1-4ace-b126-5b3bd0cf451c" providerId="ADAL" clId="{D789F828-1770-4614-8A5F-888E34BA82FC}" dt="2023-03-12T23:07:03.434" v="865" actId="478"/>
          <ac:picMkLst>
            <pc:docMk/>
            <pc:sldMk cId="1501911350" sldId="2898"/>
            <ac:picMk id="6" creationId="{F9493B1E-BE28-23C2-D372-8F686741258C}"/>
          </ac:picMkLst>
        </pc:picChg>
        <pc:picChg chg="add">
          <ac:chgData name="Judyta Kozlowska" userId="b4dee01e-1dd1-4ace-b126-5b3bd0cf451c" providerId="ADAL" clId="{D789F828-1770-4614-8A5F-888E34BA82FC}" dt="2023-03-12T23:18:20.882" v="1655"/>
          <ac:picMkLst>
            <pc:docMk/>
            <pc:sldMk cId="1501911350" sldId="2898"/>
            <ac:picMk id="2050" creationId="{0E47CC4E-01A4-71FC-64E5-206A5B1FB5F5}"/>
          </ac:picMkLst>
        </pc:picChg>
      </pc:sldChg>
      <pc:sldChg chg="modSp del mod">
        <pc:chgData name="Judyta Kozlowska" userId="b4dee01e-1dd1-4ace-b126-5b3bd0cf451c" providerId="ADAL" clId="{D789F828-1770-4614-8A5F-888E34BA82FC}" dt="2023-03-12T22:46:46.308" v="570" actId="2696"/>
        <pc:sldMkLst>
          <pc:docMk/>
          <pc:sldMk cId="1532946291" sldId="2899"/>
        </pc:sldMkLst>
        <pc:spChg chg="mod">
          <ac:chgData name="Judyta Kozlowska" userId="b4dee01e-1dd1-4ace-b126-5b3bd0cf451c" providerId="ADAL" clId="{D789F828-1770-4614-8A5F-888E34BA82FC}" dt="2023-03-12T22:41:34.417" v="555" actId="20577"/>
          <ac:spMkLst>
            <pc:docMk/>
            <pc:sldMk cId="1532946291" sldId="2899"/>
            <ac:spMk id="2" creationId="{8EEDAC2E-F15E-B79F-9619-C10F38F0CAD7}"/>
          </ac:spMkLst>
        </pc:spChg>
      </pc:sldChg>
      <pc:sldChg chg="addSp delSp modSp mod">
        <pc:chgData name="Judyta Kozlowska" userId="b4dee01e-1dd1-4ace-b126-5b3bd0cf451c" providerId="ADAL" clId="{D789F828-1770-4614-8A5F-888E34BA82FC}" dt="2023-03-12T22:38:48.743" v="503" actId="1076"/>
        <pc:sldMkLst>
          <pc:docMk/>
          <pc:sldMk cId="3200011237" sldId="2900"/>
        </pc:sldMkLst>
        <pc:spChg chg="mod">
          <ac:chgData name="Judyta Kozlowska" userId="b4dee01e-1dd1-4ace-b126-5b3bd0cf451c" providerId="ADAL" clId="{D789F828-1770-4614-8A5F-888E34BA82FC}" dt="2023-03-12T22:38:04.876" v="498"/>
          <ac:spMkLst>
            <pc:docMk/>
            <pc:sldMk cId="3200011237" sldId="2900"/>
            <ac:spMk id="2" creationId="{1B444CE3-6913-B191-D3ED-3CC7690DE5CA}"/>
          </ac:spMkLst>
        </pc:spChg>
        <pc:picChg chg="add mod">
          <ac:chgData name="Judyta Kozlowska" userId="b4dee01e-1dd1-4ace-b126-5b3bd0cf451c" providerId="ADAL" clId="{D789F828-1770-4614-8A5F-888E34BA82FC}" dt="2023-03-12T22:38:48.743" v="503" actId="1076"/>
          <ac:picMkLst>
            <pc:docMk/>
            <pc:sldMk cId="3200011237" sldId="2900"/>
            <ac:picMk id="5" creationId="{0696C5E1-858E-BBD9-B0C1-087D9F773DCE}"/>
          </ac:picMkLst>
        </pc:picChg>
        <pc:picChg chg="del">
          <ac:chgData name="Judyta Kozlowska" userId="b4dee01e-1dd1-4ace-b126-5b3bd0cf451c" providerId="ADAL" clId="{D789F828-1770-4614-8A5F-888E34BA82FC}" dt="2023-03-12T22:37:23.274" v="442" actId="478"/>
          <ac:picMkLst>
            <pc:docMk/>
            <pc:sldMk cId="3200011237" sldId="2900"/>
            <ac:picMk id="6" creationId="{6D6992CF-01F3-25EB-E881-59B6689C991A}"/>
          </ac:picMkLst>
        </pc:picChg>
      </pc:sldChg>
      <pc:sldChg chg="addSp delSp modSp add del mod">
        <pc:chgData name="Judyta Kozlowska" userId="b4dee01e-1dd1-4ace-b126-5b3bd0cf451c" providerId="ADAL" clId="{D789F828-1770-4614-8A5F-888E34BA82FC}" dt="2023-03-12T23:06:27.845" v="839" actId="1076"/>
        <pc:sldMkLst>
          <pc:docMk/>
          <pc:sldMk cId="1994188391" sldId="2901"/>
        </pc:sldMkLst>
        <pc:spChg chg="mod">
          <ac:chgData name="Judyta Kozlowska" userId="b4dee01e-1dd1-4ace-b126-5b3bd0cf451c" providerId="ADAL" clId="{D789F828-1770-4614-8A5F-888E34BA82FC}" dt="2023-03-12T22:58:54.809" v="604" actId="5793"/>
          <ac:spMkLst>
            <pc:docMk/>
            <pc:sldMk cId="1994188391" sldId="2901"/>
            <ac:spMk id="2" creationId="{8EEDAC2E-F15E-B79F-9619-C10F38F0CAD7}"/>
          </ac:spMkLst>
        </pc:spChg>
        <pc:spChg chg="mod">
          <ac:chgData name="Judyta Kozlowska" userId="b4dee01e-1dd1-4ace-b126-5b3bd0cf451c" providerId="ADAL" clId="{D789F828-1770-4614-8A5F-888E34BA82FC}" dt="2023-03-12T23:06:25.055" v="838" actId="14100"/>
          <ac:spMkLst>
            <pc:docMk/>
            <pc:sldMk cId="1994188391" sldId="2901"/>
            <ac:spMk id="6" creationId="{E894BCB5-7F98-1252-07B2-779CBBA414BB}"/>
          </ac:spMkLst>
        </pc:spChg>
        <pc:picChg chg="del">
          <ac:chgData name="Judyta Kozlowska" userId="b4dee01e-1dd1-4ace-b126-5b3bd0cf451c" providerId="ADAL" clId="{D789F828-1770-4614-8A5F-888E34BA82FC}" dt="2023-03-12T22:58:41.993" v="583" actId="478"/>
          <ac:picMkLst>
            <pc:docMk/>
            <pc:sldMk cId="1994188391" sldId="2901"/>
            <ac:picMk id="5" creationId="{2384762E-1576-ABD1-C10C-799F36949132}"/>
          </ac:picMkLst>
        </pc:picChg>
        <pc:picChg chg="add mod">
          <ac:chgData name="Judyta Kozlowska" userId="b4dee01e-1dd1-4ace-b126-5b3bd0cf451c" providerId="ADAL" clId="{D789F828-1770-4614-8A5F-888E34BA82FC}" dt="2023-03-12T23:06:27.845" v="839" actId="1076"/>
          <ac:picMkLst>
            <pc:docMk/>
            <pc:sldMk cId="1994188391" sldId="2901"/>
            <ac:picMk id="7" creationId="{0309C76B-1E78-0AFC-733E-777B6C89D1E4}"/>
          </ac:picMkLst>
        </pc:picChg>
      </pc:sldChg>
      <pc:sldChg chg="del">
        <pc:chgData name="Judyta Kozlowska" userId="b4dee01e-1dd1-4ace-b126-5b3bd0cf451c" providerId="ADAL" clId="{D789F828-1770-4614-8A5F-888E34BA82FC}" dt="2023-03-12T23:06:32.267" v="840" actId="2696"/>
        <pc:sldMkLst>
          <pc:docMk/>
          <pc:sldMk cId="2746295703" sldId="2902"/>
        </pc:sldMkLst>
      </pc:sldChg>
      <pc:sldChg chg="addSp delSp modSp mod">
        <pc:chgData name="Judyta Kozlowska" userId="b4dee01e-1dd1-4ace-b126-5b3bd0cf451c" providerId="ADAL" clId="{D789F828-1770-4614-8A5F-888E34BA82FC}" dt="2023-03-13T07:47:54.363" v="1811" actId="478"/>
        <pc:sldMkLst>
          <pc:docMk/>
          <pc:sldMk cId="304985107" sldId="2903"/>
        </pc:sldMkLst>
        <pc:spChg chg="add mod">
          <ac:chgData name="Judyta Kozlowska" userId="b4dee01e-1dd1-4ace-b126-5b3bd0cf451c" providerId="ADAL" clId="{D789F828-1770-4614-8A5F-888E34BA82FC}" dt="2023-03-12T23:19:36.567" v="1673" actId="1076"/>
          <ac:spMkLst>
            <pc:docMk/>
            <pc:sldMk cId="304985107" sldId="2903"/>
            <ac:spMk id="2" creationId="{9AF88816-E416-6CB4-7987-1C50B526CD72}"/>
          </ac:spMkLst>
        </pc:spChg>
        <pc:spChg chg="del mod">
          <ac:chgData name="Judyta Kozlowska" userId="b4dee01e-1dd1-4ace-b126-5b3bd0cf451c" providerId="ADAL" clId="{D789F828-1770-4614-8A5F-888E34BA82FC}" dt="2023-03-12T23:19:31.343" v="1672" actId="478"/>
          <ac:spMkLst>
            <pc:docMk/>
            <pc:sldMk cId="304985107" sldId="2903"/>
            <ac:spMk id="5" creationId="{8F34C24A-4DB1-BAA6-C705-069CFA2CBD19}"/>
          </ac:spMkLst>
        </pc:spChg>
        <pc:spChg chg="add del mod">
          <ac:chgData name="Judyta Kozlowska" userId="b4dee01e-1dd1-4ace-b126-5b3bd0cf451c" providerId="ADAL" clId="{D789F828-1770-4614-8A5F-888E34BA82FC}" dt="2023-03-13T07:47:54.363" v="1811" actId="478"/>
          <ac:spMkLst>
            <pc:docMk/>
            <pc:sldMk cId="304985107" sldId="2903"/>
            <ac:spMk id="7" creationId="{E2AB6E9A-DA10-C4AC-7EE3-379B92CE2DB3}"/>
          </ac:spMkLst>
        </pc:spChg>
        <pc:picChg chg="del">
          <ac:chgData name="Judyta Kozlowska" userId="b4dee01e-1dd1-4ace-b126-5b3bd0cf451c" providerId="ADAL" clId="{D789F828-1770-4614-8A5F-888E34BA82FC}" dt="2023-03-12T23:06:54.548" v="841" actId="478"/>
          <ac:picMkLst>
            <pc:docMk/>
            <pc:sldMk cId="304985107" sldId="2903"/>
            <ac:picMk id="3" creationId="{BDDD295D-2AEE-DA76-ABAF-EE39165E987A}"/>
          </ac:picMkLst>
        </pc:picChg>
        <pc:picChg chg="add mod">
          <ac:chgData name="Judyta Kozlowska" userId="b4dee01e-1dd1-4ace-b126-5b3bd0cf451c" providerId="ADAL" clId="{D789F828-1770-4614-8A5F-888E34BA82FC}" dt="2023-03-12T23:19:19.571" v="1670" actId="1076"/>
          <ac:picMkLst>
            <pc:docMk/>
            <pc:sldMk cId="304985107" sldId="2903"/>
            <ac:picMk id="3074" creationId="{4D2432A2-8919-2EBF-1920-423AA2C2C2D0}"/>
          </ac:picMkLst>
        </pc:picChg>
      </pc:sldChg>
      <pc:sldChg chg="modSp del mod">
        <pc:chgData name="Judyta Kozlowska" userId="b4dee01e-1dd1-4ace-b126-5b3bd0cf451c" providerId="ADAL" clId="{D789F828-1770-4614-8A5F-888E34BA82FC}" dt="2023-03-12T23:19:44.011" v="1674" actId="2696"/>
        <pc:sldMkLst>
          <pc:docMk/>
          <pc:sldMk cId="3010223229" sldId="2904"/>
        </pc:sldMkLst>
        <pc:spChg chg="mod">
          <ac:chgData name="Judyta Kozlowska" userId="b4dee01e-1dd1-4ace-b126-5b3bd0cf451c" providerId="ADAL" clId="{D789F828-1770-4614-8A5F-888E34BA82FC}" dt="2023-03-12T23:07:44.253" v="870" actId="21"/>
          <ac:spMkLst>
            <pc:docMk/>
            <pc:sldMk cId="3010223229" sldId="2904"/>
            <ac:spMk id="2" creationId="{2609E707-9A6B-FB02-7DD2-569966258B01}"/>
          </ac:spMkLst>
        </pc:spChg>
      </pc:sldChg>
      <pc:sldChg chg="delSp modSp mod">
        <pc:chgData name="Judyta Kozlowska" userId="b4dee01e-1dd1-4ace-b126-5b3bd0cf451c" providerId="ADAL" clId="{D789F828-1770-4614-8A5F-888E34BA82FC}" dt="2023-03-12T23:14:45.810" v="1595" actId="20577"/>
        <pc:sldMkLst>
          <pc:docMk/>
          <pc:sldMk cId="2754080841" sldId="2905"/>
        </pc:sldMkLst>
        <pc:spChg chg="mod">
          <ac:chgData name="Judyta Kozlowska" userId="b4dee01e-1dd1-4ace-b126-5b3bd0cf451c" providerId="ADAL" clId="{D789F828-1770-4614-8A5F-888E34BA82FC}" dt="2023-03-12T23:14:45.810" v="1595" actId="20577"/>
          <ac:spMkLst>
            <pc:docMk/>
            <pc:sldMk cId="2754080841" sldId="2905"/>
            <ac:spMk id="2" creationId="{2609E707-9A6B-FB02-7DD2-569966258B01}"/>
          </ac:spMkLst>
        </pc:spChg>
        <pc:picChg chg="del">
          <ac:chgData name="Judyta Kozlowska" userId="b4dee01e-1dd1-4ace-b126-5b3bd0cf451c" providerId="ADAL" clId="{D789F828-1770-4614-8A5F-888E34BA82FC}" dt="2023-03-12T23:07:37.167" v="869" actId="478"/>
          <ac:picMkLst>
            <pc:docMk/>
            <pc:sldMk cId="2754080841" sldId="2905"/>
            <ac:picMk id="10" creationId="{514DA111-FFBA-86C2-11B4-4E3FED23D604}"/>
          </ac:picMkLst>
        </pc:picChg>
      </pc:sldChg>
      <pc:sldChg chg="delSp modSp add mod ord">
        <pc:chgData name="Judyta Kozlowska" userId="b4dee01e-1dd1-4ace-b126-5b3bd0cf451c" providerId="ADAL" clId="{D789F828-1770-4614-8A5F-888E34BA82FC}" dt="2023-03-13T07:44:44.446" v="1773" actId="1076"/>
        <pc:sldMkLst>
          <pc:docMk/>
          <pc:sldMk cId="1468761031" sldId="4084"/>
        </pc:sldMkLst>
        <pc:spChg chg="del">
          <ac:chgData name="Judyta Kozlowska" userId="b4dee01e-1dd1-4ace-b126-5b3bd0cf451c" providerId="ADAL" clId="{D789F828-1770-4614-8A5F-888E34BA82FC}" dt="2023-03-13T07:44:27.250" v="1752" actId="478"/>
          <ac:spMkLst>
            <pc:docMk/>
            <pc:sldMk cId="1468761031" sldId="4084"/>
            <ac:spMk id="6" creationId="{89851F52-88DC-F463-3409-A596E2E03FE7}"/>
          </ac:spMkLst>
        </pc:spChg>
        <pc:spChg chg="mod">
          <ac:chgData name="Judyta Kozlowska" userId="b4dee01e-1dd1-4ace-b126-5b3bd0cf451c" providerId="ADAL" clId="{D789F828-1770-4614-8A5F-888E34BA82FC}" dt="2023-03-13T07:44:40.427" v="1772" actId="20577"/>
          <ac:spMkLst>
            <pc:docMk/>
            <pc:sldMk cId="1468761031" sldId="4084"/>
            <ac:spMk id="206" creationId="{7F77DBB9-BF8E-4B68-B489-3A480081B9AA}"/>
          </ac:spMkLst>
        </pc:spChg>
        <pc:spChg chg="mod">
          <ac:chgData name="Judyta Kozlowska" userId="b4dee01e-1dd1-4ace-b126-5b3bd0cf451c" providerId="ADAL" clId="{D789F828-1770-4614-8A5F-888E34BA82FC}" dt="2023-03-13T07:44:44.446" v="1773" actId="1076"/>
          <ac:spMkLst>
            <pc:docMk/>
            <pc:sldMk cId="1468761031" sldId="4084"/>
            <ac:spMk id="207" creationId="{22F9CE32-447B-4F4D-8C7B-95F76C035BB1}"/>
          </ac:spMkLst>
        </pc:spChg>
      </pc:sldChg>
      <pc:sldChg chg="addSp delSp modSp add del mod">
        <pc:chgData name="Judyta Kozlowska" userId="b4dee01e-1dd1-4ace-b126-5b3bd0cf451c" providerId="ADAL" clId="{D789F828-1770-4614-8A5F-888E34BA82FC}" dt="2023-03-12T21:51:45.901" v="359" actId="14100"/>
        <pc:sldMkLst>
          <pc:docMk/>
          <pc:sldMk cId="1046086577" sldId="4085"/>
        </pc:sldMkLst>
        <pc:picChg chg="add del mod">
          <ac:chgData name="Judyta Kozlowska" userId="b4dee01e-1dd1-4ace-b126-5b3bd0cf451c" providerId="ADAL" clId="{D789F828-1770-4614-8A5F-888E34BA82FC}" dt="2023-03-12T21:50:53.893" v="356" actId="478"/>
          <ac:picMkLst>
            <pc:docMk/>
            <pc:sldMk cId="1046086577" sldId="4085"/>
            <ac:picMk id="3" creationId="{0A52ED21-A99E-E11A-ACCC-D6E90FAE7EA4}"/>
          </ac:picMkLst>
        </pc:picChg>
        <pc:picChg chg="add mod">
          <ac:chgData name="Judyta Kozlowska" userId="b4dee01e-1dd1-4ace-b126-5b3bd0cf451c" providerId="ADAL" clId="{D789F828-1770-4614-8A5F-888E34BA82FC}" dt="2023-03-12T21:51:45.901" v="359" actId="14100"/>
          <ac:picMkLst>
            <pc:docMk/>
            <pc:sldMk cId="1046086577" sldId="4085"/>
            <ac:picMk id="8" creationId="{961B9F78-535E-3C34-FA2E-9313EA567E1C}"/>
          </ac:picMkLst>
        </pc:picChg>
        <pc:picChg chg="del">
          <ac:chgData name="Judyta Kozlowska" userId="b4dee01e-1dd1-4ace-b126-5b3bd0cf451c" providerId="ADAL" clId="{D789F828-1770-4614-8A5F-888E34BA82FC}" dt="2023-03-12T21:35:06.116" v="336" actId="478"/>
          <ac:picMkLst>
            <pc:docMk/>
            <pc:sldMk cId="1046086577" sldId="4085"/>
            <ac:picMk id="10" creationId="{EBAD3B42-F835-B523-0CF5-D2F672E7109D}"/>
          </ac:picMkLst>
        </pc:picChg>
      </pc:sldChg>
      <pc:sldChg chg="addSp delSp modSp add mod">
        <pc:chgData name="Judyta Kozlowska" userId="b4dee01e-1dd1-4ace-b126-5b3bd0cf451c" providerId="ADAL" clId="{D789F828-1770-4614-8A5F-888E34BA82FC}" dt="2023-03-12T21:50:45.581" v="353" actId="14100"/>
        <pc:sldMkLst>
          <pc:docMk/>
          <pc:sldMk cId="2480918371" sldId="4086"/>
        </pc:sldMkLst>
        <pc:picChg chg="add mod">
          <ac:chgData name="Judyta Kozlowska" userId="b4dee01e-1dd1-4ace-b126-5b3bd0cf451c" providerId="ADAL" clId="{D789F828-1770-4614-8A5F-888E34BA82FC}" dt="2023-03-12T21:50:45.581" v="353" actId="14100"/>
          <ac:picMkLst>
            <pc:docMk/>
            <pc:sldMk cId="2480918371" sldId="4086"/>
            <ac:picMk id="3" creationId="{E610BCB1-3A54-E683-D909-428174505A2E}"/>
          </ac:picMkLst>
        </pc:picChg>
        <pc:picChg chg="del">
          <ac:chgData name="Judyta Kozlowska" userId="b4dee01e-1dd1-4ace-b126-5b3bd0cf451c" providerId="ADAL" clId="{D789F828-1770-4614-8A5F-888E34BA82FC}" dt="2023-03-12T21:42:21.318" v="347" actId="478"/>
          <ac:picMkLst>
            <pc:docMk/>
            <pc:sldMk cId="2480918371" sldId="4086"/>
            <ac:picMk id="7" creationId="{8BCFAC19-9A91-7746-D757-201D2887055C}"/>
          </ac:picMkLst>
        </pc:picChg>
      </pc:sldChg>
      <pc:sldChg chg="addSp delSp modSp add mod">
        <pc:chgData name="Judyta Kozlowska" userId="b4dee01e-1dd1-4ace-b126-5b3bd0cf451c" providerId="ADAL" clId="{D789F828-1770-4614-8A5F-888E34BA82FC}" dt="2023-03-12T22:09:46.788" v="403" actId="1076"/>
        <pc:sldMkLst>
          <pc:docMk/>
          <pc:sldMk cId="1464430320" sldId="4087"/>
        </pc:sldMkLst>
        <pc:spChg chg="del">
          <ac:chgData name="Judyta Kozlowska" userId="b4dee01e-1dd1-4ace-b126-5b3bd0cf451c" providerId="ADAL" clId="{D789F828-1770-4614-8A5F-888E34BA82FC}" dt="2023-03-12T22:09:37.648" v="400" actId="478"/>
          <ac:spMkLst>
            <pc:docMk/>
            <pc:sldMk cId="1464430320" sldId="4087"/>
            <ac:spMk id="7" creationId="{26CB480A-83AA-4501-762B-2484F15EB6A6}"/>
          </ac:spMkLst>
        </pc:spChg>
        <pc:picChg chg="add mod">
          <ac:chgData name="Judyta Kozlowska" userId="b4dee01e-1dd1-4ace-b126-5b3bd0cf451c" providerId="ADAL" clId="{D789F828-1770-4614-8A5F-888E34BA82FC}" dt="2023-03-12T22:09:46.788" v="403" actId="1076"/>
          <ac:picMkLst>
            <pc:docMk/>
            <pc:sldMk cId="1464430320" sldId="4087"/>
            <ac:picMk id="5" creationId="{C8D0A02A-F420-097A-A718-6895104B15FB}"/>
          </ac:picMkLst>
        </pc:picChg>
        <pc:picChg chg="del">
          <ac:chgData name="Judyta Kozlowska" userId="b4dee01e-1dd1-4ace-b126-5b3bd0cf451c" providerId="ADAL" clId="{D789F828-1770-4614-8A5F-888E34BA82FC}" dt="2023-03-12T22:09:34.277" v="398" actId="478"/>
          <ac:picMkLst>
            <pc:docMk/>
            <pc:sldMk cId="1464430320" sldId="4087"/>
            <ac:picMk id="6" creationId="{0B72830C-97E5-497B-AED6-857EF2617646}"/>
          </ac:picMkLst>
        </pc:picChg>
      </pc:sldChg>
      <pc:sldChg chg="addSp delSp modSp add mod">
        <pc:chgData name="Judyta Kozlowska" userId="b4dee01e-1dd1-4ace-b126-5b3bd0cf451c" providerId="ADAL" clId="{D789F828-1770-4614-8A5F-888E34BA82FC}" dt="2023-03-12T22:54:30.609" v="580" actId="1076"/>
        <pc:sldMkLst>
          <pc:docMk/>
          <pc:sldMk cId="941718428" sldId="4088"/>
        </pc:sldMkLst>
        <pc:picChg chg="add mod">
          <ac:chgData name="Judyta Kozlowska" userId="b4dee01e-1dd1-4ace-b126-5b3bd0cf451c" providerId="ADAL" clId="{D789F828-1770-4614-8A5F-888E34BA82FC}" dt="2023-03-12T22:54:30.609" v="580" actId="1076"/>
          <ac:picMkLst>
            <pc:docMk/>
            <pc:sldMk cId="941718428" sldId="4088"/>
            <ac:picMk id="5" creationId="{147C03CA-469F-B19E-300F-D7CD75E9B00B}"/>
          </ac:picMkLst>
        </pc:picChg>
        <pc:picChg chg="del">
          <ac:chgData name="Judyta Kozlowska" userId="b4dee01e-1dd1-4ace-b126-5b3bd0cf451c" providerId="ADAL" clId="{D789F828-1770-4614-8A5F-888E34BA82FC}" dt="2023-03-12T22:48:53.778" v="575" actId="478"/>
          <ac:picMkLst>
            <pc:docMk/>
            <pc:sldMk cId="941718428" sldId="4088"/>
            <ac:picMk id="9" creationId="{31CD3899-F4AB-7B74-9F4C-88B3ADA3DF44}"/>
          </ac:picMkLst>
        </pc:picChg>
      </pc:sldChg>
      <pc:sldChg chg="addSp delSp modSp add mod">
        <pc:chgData name="Judyta Kozlowska" userId="b4dee01e-1dd1-4ace-b126-5b3bd0cf451c" providerId="ADAL" clId="{D789F828-1770-4614-8A5F-888E34BA82FC}" dt="2023-03-12T23:17:10.722" v="1638" actId="20577"/>
        <pc:sldMkLst>
          <pc:docMk/>
          <pc:sldMk cId="2703860500" sldId="4089"/>
        </pc:sldMkLst>
        <pc:spChg chg="mod">
          <ac:chgData name="Judyta Kozlowska" userId="b4dee01e-1dd1-4ace-b126-5b3bd0cf451c" providerId="ADAL" clId="{D789F828-1770-4614-8A5F-888E34BA82FC}" dt="2023-03-12T23:16:14.200" v="1630" actId="108"/>
          <ac:spMkLst>
            <pc:docMk/>
            <pc:sldMk cId="2703860500" sldId="4089"/>
            <ac:spMk id="2" creationId="{8EEDAC2E-F15E-B79F-9619-C10F38F0CAD7}"/>
          </ac:spMkLst>
        </pc:spChg>
        <pc:spChg chg="add mod">
          <ac:chgData name="Judyta Kozlowska" userId="b4dee01e-1dd1-4ace-b126-5b3bd0cf451c" providerId="ADAL" clId="{D789F828-1770-4614-8A5F-888E34BA82FC}" dt="2023-03-12T23:17:10.722" v="1638" actId="20577"/>
          <ac:spMkLst>
            <pc:docMk/>
            <pc:sldMk cId="2703860500" sldId="4089"/>
            <ac:spMk id="5" creationId="{B4AA0F37-5730-F16A-35A2-198EFD402048}"/>
          </ac:spMkLst>
        </pc:spChg>
        <pc:spChg chg="mod">
          <ac:chgData name="Judyta Kozlowska" userId="b4dee01e-1dd1-4ace-b126-5b3bd0cf451c" providerId="ADAL" clId="{D789F828-1770-4614-8A5F-888E34BA82FC}" dt="2023-03-12T23:16:29.369" v="1632"/>
          <ac:spMkLst>
            <pc:docMk/>
            <pc:sldMk cId="2703860500" sldId="4089"/>
            <ac:spMk id="6" creationId="{E894BCB5-7F98-1252-07B2-779CBBA414BB}"/>
          </ac:spMkLst>
        </pc:spChg>
        <pc:picChg chg="add mod">
          <ac:chgData name="Judyta Kozlowska" userId="b4dee01e-1dd1-4ace-b126-5b3bd0cf451c" providerId="ADAL" clId="{D789F828-1770-4614-8A5F-888E34BA82FC}" dt="2023-03-12T23:15:51.406" v="1602" actId="1076"/>
          <ac:picMkLst>
            <pc:docMk/>
            <pc:sldMk cId="2703860500" sldId="4089"/>
            <ac:picMk id="3" creationId="{B897FC5F-8BE0-8194-F2F2-442BC9E5CEDA}"/>
          </ac:picMkLst>
        </pc:picChg>
        <pc:picChg chg="del">
          <ac:chgData name="Judyta Kozlowska" userId="b4dee01e-1dd1-4ace-b126-5b3bd0cf451c" providerId="ADAL" clId="{D789F828-1770-4614-8A5F-888E34BA82FC}" dt="2023-03-12T23:15:49.257" v="1600" actId="478"/>
          <ac:picMkLst>
            <pc:docMk/>
            <pc:sldMk cId="2703860500" sldId="4089"/>
            <ac:picMk id="7" creationId="{0309C76B-1E78-0AFC-733E-777B6C89D1E4}"/>
          </ac:picMkLst>
        </pc:picChg>
      </pc:sldChg>
      <pc:sldChg chg="addSp delSp modSp add mod">
        <pc:chgData name="Judyta Kozlowska" userId="b4dee01e-1dd1-4ace-b126-5b3bd0cf451c" providerId="ADAL" clId="{D789F828-1770-4614-8A5F-888E34BA82FC}" dt="2023-03-12T23:18:13.507" v="1654" actId="1076"/>
        <pc:sldMkLst>
          <pc:docMk/>
          <pc:sldMk cId="1282179420" sldId="4090"/>
        </pc:sldMkLst>
        <pc:spChg chg="mod">
          <ac:chgData name="Judyta Kozlowska" userId="b4dee01e-1dd1-4ace-b126-5b3bd0cf451c" providerId="ADAL" clId="{D789F828-1770-4614-8A5F-888E34BA82FC}" dt="2023-03-12T23:18:13.507" v="1654" actId="1076"/>
          <ac:spMkLst>
            <pc:docMk/>
            <pc:sldMk cId="1282179420" sldId="4090"/>
            <ac:spMk id="5" creationId="{B4AA0F37-5730-F16A-35A2-198EFD402048}"/>
          </ac:spMkLst>
        </pc:spChg>
        <pc:picChg chg="del mod">
          <ac:chgData name="Judyta Kozlowska" userId="b4dee01e-1dd1-4ace-b126-5b3bd0cf451c" providerId="ADAL" clId="{D789F828-1770-4614-8A5F-888E34BA82FC}" dt="2023-03-12T23:17:28.928" v="1643" actId="478"/>
          <ac:picMkLst>
            <pc:docMk/>
            <pc:sldMk cId="1282179420" sldId="4090"/>
            <ac:picMk id="3" creationId="{B897FC5F-8BE0-8194-F2F2-442BC9E5CEDA}"/>
          </ac:picMkLst>
        </pc:picChg>
        <pc:picChg chg="add del mod">
          <ac:chgData name="Judyta Kozlowska" userId="b4dee01e-1dd1-4ace-b126-5b3bd0cf451c" providerId="ADAL" clId="{D789F828-1770-4614-8A5F-888E34BA82FC}" dt="2023-03-12T23:17:28.928" v="1643" actId="478"/>
          <ac:picMkLst>
            <pc:docMk/>
            <pc:sldMk cId="1282179420" sldId="4090"/>
            <ac:picMk id="1026" creationId="{E73FA9F9-F935-5AB5-E7BC-8133C8C27913}"/>
          </ac:picMkLst>
        </pc:picChg>
        <pc:picChg chg="add mod">
          <ac:chgData name="Judyta Kozlowska" userId="b4dee01e-1dd1-4ace-b126-5b3bd0cf451c" providerId="ADAL" clId="{D789F828-1770-4614-8A5F-888E34BA82FC}" dt="2023-03-12T23:17:37.103" v="1648" actId="14100"/>
          <ac:picMkLst>
            <pc:docMk/>
            <pc:sldMk cId="1282179420" sldId="4090"/>
            <ac:picMk id="1028" creationId="{85DC4451-9B41-F884-2442-5988CA83456C}"/>
          </ac:picMkLst>
        </pc:picChg>
      </pc:sldChg>
      <pc:sldChg chg="delSp modSp add mod">
        <pc:chgData name="Judyta Kozlowska" userId="b4dee01e-1dd1-4ace-b126-5b3bd0cf451c" providerId="ADAL" clId="{D789F828-1770-4614-8A5F-888E34BA82FC}" dt="2023-03-13T07:44:53.559" v="1776" actId="1076"/>
        <pc:sldMkLst>
          <pc:docMk/>
          <pc:sldMk cId="2774137710" sldId="4091"/>
        </pc:sldMkLst>
        <pc:spChg chg="mod">
          <ac:chgData name="Judyta Kozlowska" userId="b4dee01e-1dd1-4ace-b126-5b3bd0cf451c" providerId="ADAL" clId="{D789F828-1770-4614-8A5F-888E34BA82FC}" dt="2023-03-13T07:44:53.559" v="1776" actId="1076"/>
          <ac:spMkLst>
            <pc:docMk/>
            <pc:sldMk cId="2774137710" sldId="4091"/>
            <ac:spMk id="6" creationId="{89851F52-88DC-F463-3409-A596E2E03FE7}"/>
          </ac:spMkLst>
        </pc:spChg>
        <pc:spChg chg="del">
          <ac:chgData name="Judyta Kozlowska" userId="b4dee01e-1dd1-4ace-b126-5b3bd0cf451c" providerId="ADAL" clId="{D789F828-1770-4614-8A5F-888E34BA82FC}" dt="2023-03-13T07:44:48.693" v="1774" actId="478"/>
          <ac:spMkLst>
            <pc:docMk/>
            <pc:sldMk cId="2774137710" sldId="4091"/>
            <ac:spMk id="206" creationId="{7F77DBB9-BF8E-4B68-B489-3A480081B9AA}"/>
          </ac:spMkLst>
        </pc:spChg>
        <pc:spChg chg="del">
          <ac:chgData name="Judyta Kozlowska" userId="b4dee01e-1dd1-4ace-b126-5b3bd0cf451c" providerId="ADAL" clId="{D789F828-1770-4614-8A5F-888E34BA82FC}" dt="2023-03-13T07:44:50.138" v="1775" actId="478"/>
          <ac:spMkLst>
            <pc:docMk/>
            <pc:sldMk cId="2774137710" sldId="4091"/>
            <ac:spMk id="207" creationId="{22F9CE32-447B-4F4D-8C7B-95F76C035BB1}"/>
          </ac:spMkLst>
        </pc:spChg>
      </pc:sldChg>
      <pc:sldMasterChg chg="delSldLayout">
        <pc:chgData name="Judyta Kozlowska" userId="b4dee01e-1dd1-4ace-b126-5b3bd0cf451c" providerId="ADAL" clId="{D789F828-1770-4614-8A5F-888E34BA82FC}" dt="2023-03-12T23:17:14.844" v="1639" actId="47"/>
        <pc:sldMasterMkLst>
          <pc:docMk/>
          <pc:sldMasterMk cId="480132290" sldId="2147483681"/>
        </pc:sldMasterMkLst>
        <pc:sldLayoutChg chg="del">
          <pc:chgData name="Judyta Kozlowska" userId="b4dee01e-1dd1-4ace-b126-5b3bd0cf451c" providerId="ADAL" clId="{D789F828-1770-4614-8A5F-888E34BA82FC}" dt="2023-03-12T23:17:14.844" v="1639" actId="47"/>
          <pc:sldLayoutMkLst>
            <pc:docMk/>
            <pc:sldMasterMk cId="480132290" sldId="2147483681"/>
            <pc:sldLayoutMk cId="1165840005" sldId="2147483731"/>
          </pc:sldLayoutMkLst>
        </pc:sldLayoutChg>
      </pc:sldMasterChg>
    </pc:docChg>
  </pc:docChgLst>
  <pc:docChgLst>
    <pc:chgData name="Dawid Janik" userId="S::dawid.janik@upfieldbrands.com::81a947f4-3345-42c0-a461-2bf27ee4639f" providerId="AD" clId="Web-{F7B984A2-7DCE-4DDA-8F75-CDA88E041269}"/>
    <pc:docChg chg="modSld">
      <pc:chgData name="Dawid Janik" userId="S::dawid.janik@upfieldbrands.com::81a947f4-3345-42c0-a461-2bf27ee4639f" providerId="AD" clId="Web-{F7B984A2-7DCE-4DDA-8F75-CDA88E041269}" dt="2023-06-05T13:30:06.691" v="232"/>
      <pc:docMkLst>
        <pc:docMk/>
      </pc:docMkLst>
      <pc:sldChg chg="addSp delSp modSp">
        <pc:chgData name="Dawid Janik" userId="S::dawid.janik@upfieldbrands.com::81a947f4-3345-42c0-a461-2bf27ee4639f" providerId="AD" clId="Web-{F7B984A2-7DCE-4DDA-8F75-CDA88E041269}" dt="2023-06-05T13:30:06.691" v="232"/>
        <pc:sldMkLst>
          <pc:docMk/>
          <pc:sldMk cId="1173544550" sldId="2147469990"/>
        </pc:sldMkLst>
        <pc:spChg chg="add del mod">
          <ac:chgData name="Dawid Janik" userId="S::dawid.janik@upfieldbrands.com::81a947f4-3345-42c0-a461-2bf27ee4639f" providerId="AD" clId="Web-{F7B984A2-7DCE-4DDA-8F75-CDA88E041269}" dt="2023-06-05T13:26:16.229" v="36"/>
          <ac:spMkLst>
            <pc:docMk/>
            <pc:sldMk cId="1173544550" sldId="2147469990"/>
            <ac:spMk id="3" creationId="{2375E025-1045-039C-3609-818C4AF4BA63}"/>
          </ac:spMkLst>
        </pc:spChg>
        <pc:spChg chg="add del mod">
          <ac:chgData name="Dawid Janik" userId="S::dawid.janik@upfieldbrands.com::81a947f4-3345-42c0-a461-2bf27ee4639f" providerId="AD" clId="Web-{F7B984A2-7DCE-4DDA-8F75-CDA88E041269}" dt="2023-06-05T13:27:10.669" v="42"/>
          <ac:spMkLst>
            <pc:docMk/>
            <pc:sldMk cId="1173544550" sldId="2147469990"/>
            <ac:spMk id="8" creationId="{4AC7D11F-3577-0338-4DF4-84BF0386E04B}"/>
          </ac:spMkLst>
        </pc:spChg>
        <pc:graphicFrameChg chg="add del mod ord modGraphic">
          <ac:chgData name="Dawid Janik" userId="S::dawid.janik@upfieldbrands.com::81a947f4-3345-42c0-a461-2bf27ee4639f" providerId="AD" clId="Web-{F7B984A2-7DCE-4DDA-8F75-CDA88E041269}" dt="2023-06-05T13:27:02.543" v="41"/>
          <ac:graphicFrameMkLst>
            <pc:docMk/>
            <pc:sldMk cId="1173544550" sldId="2147469990"/>
            <ac:graphicFrameMk id="6" creationId="{849D7BDB-85AC-5501-78D2-58CF92D946C6}"/>
          </ac:graphicFrameMkLst>
        </pc:graphicFrameChg>
        <pc:graphicFrameChg chg="del modGraphic">
          <ac:chgData name="Dawid Janik" userId="S::dawid.janik@upfieldbrands.com::81a947f4-3345-42c0-a461-2bf27ee4639f" providerId="AD" clId="Web-{F7B984A2-7DCE-4DDA-8F75-CDA88E041269}" dt="2023-06-05T13:26:15.245" v="35"/>
          <ac:graphicFrameMkLst>
            <pc:docMk/>
            <pc:sldMk cId="1173544550" sldId="2147469990"/>
            <ac:graphicFrameMk id="9" creationId="{3275F67D-9261-03F9-FCA6-39E3EAAE8923}"/>
          </ac:graphicFrameMkLst>
        </pc:graphicFrameChg>
        <pc:graphicFrameChg chg="del mod modGraphic">
          <ac:chgData name="Dawid Janik" userId="S::dawid.janik@upfieldbrands.com::81a947f4-3345-42c0-a461-2bf27ee4639f" providerId="AD" clId="Web-{F7B984A2-7DCE-4DDA-8F75-CDA88E041269}" dt="2023-06-05T13:27:01.121" v="40"/>
          <ac:graphicFrameMkLst>
            <pc:docMk/>
            <pc:sldMk cId="1173544550" sldId="2147469990"/>
            <ac:graphicFrameMk id="11" creationId="{147DA55D-8971-7364-6DA5-52224804D215}"/>
          </ac:graphicFrameMkLst>
        </pc:graphicFrameChg>
        <pc:graphicFrameChg chg="add mod modGraphic">
          <ac:chgData name="Dawid Janik" userId="S::dawid.janik@upfieldbrands.com::81a947f4-3345-42c0-a461-2bf27ee4639f" providerId="AD" clId="Web-{F7B984A2-7DCE-4DDA-8F75-CDA88E041269}" dt="2023-06-05T13:28:23.421" v="151"/>
          <ac:graphicFrameMkLst>
            <pc:docMk/>
            <pc:sldMk cId="1173544550" sldId="2147469990"/>
            <ac:graphicFrameMk id="12" creationId="{4ED50428-40AA-6D7C-D4C2-CE8CB5038D26}"/>
          </ac:graphicFrameMkLst>
        </pc:graphicFrameChg>
        <pc:graphicFrameChg chg="add del mod modGraphic">
          <ac:chgData name="Dawid Janik" userId="S::dawid.janik@upfieldbrands.com::81a947f4-3345-42c0-a461-2bf27ee4639f" providerId="AD" clId="Web-{F7B984A2-7DCE-4DDA-8F75-CDA88E041269}" dt="2023-06-05T13:29:15.642" v="222"/>
          <ac:graphicFrameMkLst>
            <pc:docMk/>
            <pc:sldMk cId="1173544550" sldId="2147469990"/>
            <ac:graphicFrameMk id="14" creationId="{5E5DA7AA-9127-3A06-EF1C-E90AF6C62AA5}"/>
          </ac:graphicFrameMkLst>
        </pc:graphicFrameChg>
        <pc:graphicFrameChg chg="add del mod modGraphic">
          <ac:chgData name="Dawid Janik" userId="S::dawid.janik@upfieldbrands.com::81a947f4-3345-42c0-a461-2bf27ee4639f" providerId="AD" clId="Web-{F7B984A2-7DCE-4DDA-8F75-CDA88E041269}" dt="2023-06-05T13:29:40.252" v="228"/>
          <ac:graphicFrameMkLst>
            <pc:docMk/>
            <pc:sldMk cId="1173544550" sldId="2147469990"/>
            <ac:graphicFrameMk id="16" creationId="{BFCB386E-4F82-649A-EDB9-3E89F1297DD5}"/>
          </ac:graphicFrameMkLst>
        </pc:graphicFrameChg>
        <pc:graphicFrameChg chg="add mod modGraphic">
          <ac:chgData name="Dawid Janik" userId="S::dawid.janik@upfieldbrands.com::81a947f4-3345-42c0-a461-2bf27ee4639f" providerId="AD" clId="Web-{F7B984A2-7DCE-4DDA-8F75-CDA88E041269}" dt="2023-06-05T13:30:06.691" v="232"/>
          <ac:graphicFrameMkLst>
            <pc:docMk/>
            <pc:sldMk cId="1173544550" sldId="2147469990"/>
            <ac:graphicFrameMk id="18" creationId="{E6C21E1F-2971-E362-D1DD-86ED550BEE0C}"/>
          </ac:graphicFrameMkLst>
        </pc:graphicFrameChg>
      </pc:sldChg>
    </pc:docChg>
  </pc:docChgLst>
  <pc:docChgLst>
    <pc:chgData name="Dawid Janik" userId="S::dawid.janik@upfieldbrands.com::81a947f4-3345-42c0-a461-2bf27ee4639f" providerId="AD" clId="Web-{B01FE5FC-E407-49A1-B64A-9B61E3DE8A71}"/>
    <pc:docChg chg="modSld">
      <pc:chgData name="Dawid Janik" userId="S::dawid.janik@upfieldbrands.com::81a947f4-3345-42c0-a461-2bf27ee4639f" providerId="AD" clId="Web-{B01FE5FC-E407-49A1-B64A-9B61E3DE8A71}" dt="2023-06-07T10:31:39.128" v="23"/>
      <pc:docMkLst>
        <pc:docMk/>
      </pc:docMkLst>
      <pc:sldChg chg="addSp delSp modSp">
        <pc:chgData name="Dawid Janik" userId="S::dawid.janik@upfieldbrands.com::81a947f4-3345-42c0-a461-2bf27ee4639f" providerId="AD" clId="Web-{B01FE5FC-E407-49A1-B64A-9B61E3DE8A71}" dt="2023-06-07T10:22:16.841" v="3" actId="14100"/>
        <pc:sldMkLst>
          <pc:docMk/>
          <pc:sldMk cId="2461597442" sldId="2147469989"/>
        </pc:sldMkLst>
        <pc:graphicFrameChg chg="add mod">
          <ac:chgData name="Dawid Janik" userId="S::dawid.janik@upfieldbrands.com::81a947f4-3345-42c0-a461-2bf27ee4639f" providerId="AD" clId="Web-{B01FE5FC-E407-49A1-B64A-9B61E3DE8A71}" dt="2023-06-07T10:22:16.841" v="3" actId="14100"/>
          <ac:graphicFrameMkLst>
            <pc:docMk/>
            <pc:sldMk cId="2461597442" sldId="2147469989"/>
            <ac:graphicFrameMk id="2" creationId="{0C7CCDEB-7596-4380-A802-A754E86AEF4C}"/>
          </ac:graphicFrameMkLst>
        </pc:graphicFrameChg>
        <pc:graphicFrameChg chg="del">
          <ac:chgData name="Dawid Janik" userId="S::dawid.janik@upfieldbrands.com::81a947f4-3345-42c0-a461-2bf27ee4639f" providerId="AD" clId="Web-{B01FE5FC-E407-49A1-B64A-9B61E3DE8A71}" dt="2023-06-07T10:22:10.419" v="0"/>
          <ac:graphicFrameMkLst>
            <pc:docMk/>
            <pc:sldMk cId="2461597442" sldId="2147469989"/>
            <ac:graphicFrameMk id="9" creationId="{0C7CCDEB-7596-4380-A802-A754E86AEF4C}"/>
          </ac:graphicFrameMkLst>
        </pc:graphicFrameChg>
      </pc:sldChg>
      <pc:sldChg chg="addSp modSp">
        <pc:chgData name="Dawid Janik" userId="S::dawid.janik@upfieldbrands.com::81a947f4-3345-42c0-a461-2bf27ee4639f" providerId="AD" clId="Web-{B01FE5FC-E407-49A1-B64A-9B61E3DE8A71}" dt="2023-06-07T10:31:39.128" v="23"/>
        <pc:sldMkLst>
          <pc:docMk/>
          <pc:sldMk cId="1086150633" sldId="2147469993"/>
        </pc:sldMkLst>
        <pc:graphicFrameChg chg="add mod modGraphic">
          <ac:chgData name="Dawid Janik" userId="S::dawid.janik@upfieldbrands.com::81a947f4-3345-42c0-a461-2bf27ee4639f" providerId="AD" clId="Web-{B01FE5FC-E407-49A1-B64A-9B61E3DE8A71}" dt="2023-06-07T10:31:01.329" v="17"/>
          <ac:graphicFrameMkLst>
            <pc:docMk/>
            <pc:sldMk cId="1086150633" sldId="2147469993"/>
            <ac:graphicFrameMk id="3" creationId="{7A8F2E86-CAD1-52BB-75BF-1A6DE05AD0E8}"/>
          </ac:graphicFrameMkLst>
        </pc:graphicFrameChg>
        <pc:graphicFrameChg chg="add mod">
          <ac:chgData name="Dawid Janik" userId="S::dawid.janik@upfieldbrands.com::81a947f4-3345-42c0-a461-2bf27ee4639f" providerId="AD" clId="Web-{B01FE5FC-E407-49A1-B64A-9B61E3DE8A71}" dt="2023-06-07T10:31:25.768" v="20" actId="14100"/>
          <ac:graphicFrameMkLst>
            <pc:docMk/>
            <pc:sldMk cId="1086150633" sldId="2147469993"/>
            <ac:graphicFrameMk id="5" creationId="{13E87854-6E9B-74AE-DB30-517875DD0296}"/>
          </ac:graphicFrameMkLst>
        </pc:graphicFrameChg>
        <pc:graphicFrameChg chg="mod modGraphic">
          <ac:chgData name="Dawid Janik" userId="S::dawid.janik@upfieldbrands.com::81a947f4-3345-42c0-a461-2bf27ee4639f" providerId="AD" clId="Web-{B01FE5FC-E407-49A1-B64A-9B61E3DE8A71}" dt="2023-06-07T10:31:39.128" v="23"/>
          <ac:graphicFrameMkLst>
            <pc:docMk/>
            <pc:sldMk cId="1086150633" sldId="2147469993"/>
            <ac:graphicFrameMk id="10" creationId="{A3588B4E-0A46-5C40-3E16-60846A16768D}"/>
          </ac:graphicFrameMkLst>
        </pc:graphicFrameChg>
        <pc:graphicFrameChg chg="mod">
          <ac:chgData name="Dawid Janik" userId="S::dawid.janik@upfieldbrands.com::81a947f4-3345-42c0-a461-2bf27ee4639f" providerId="AD" clId="Web-{B01FE5FC-E407-49A1-B64A-9B61E3DE8A71}" dt="2023-06-07T10:31:31.550" v="21" actId="1076"/>
          <ac:graphicFrameMkLst>
            <pc:docMk/>
            <pc:sldMk cId="1086150633" sldId="2147469993"/>
            <ac:graphicFrameMk id="11" creationId="{5F975D20-8ED9-4485-3FE7-A1948D2F32AD}"/>
          </ac:graphicFrameMkLst>
        </pc:graphicFrameChg>
      </pc:sldChg>
    </pc:docChg>
  </pc:docChgLst>
  <pc:docChgLst>
    <pc:chgData name="Judyta Kozlowska" userId="b4dee01e-1dd1-4ace-b126-5b3bd0cf451c" providerId="ADAL" clId="{E2CD95B0-88B4-4EA0-AB26-19BEED9A8673}"/>
    <pc:docChg chg="undo custSel addSld delSld modSld">
      <pc:chgData name="Judyta Kozlowska" userId="b4dee01e-1dd1-4ace-b126-5b3bd0cf451c" providerId="ADAL" clId="{E2CD95B0-88B4-4EA0-AB26-19BEED9A8673}" dt="2023-01-11T13:32:24.150" v="471" actId="20577"/>
      <pc:docMkLst>
        <pc:docMk/>
      </pc:docMkLst>
      <pc:sldChg chg="modSp mod">
        <pc:chgData name="Judyta Kozlowska" userId="b4dee01e-1dd1-4ace-b126-5b3bd0cf451c" providerId="ADAL" clId="{E2CD95B0-88B4-4EA0-AB26-19BEED9A8673}" dt="2023-01-11T13:32:24.150" v="471" actId="20577"/>
        <pc:sldMkLst>
          <pc:docMk/>
          <pc:sldMk cId="387532369" sldId="262"/>
        </pc:sldMkLst>
        <pc:spChg chg="mod">
          <ac:chgData name="Judyta Kozlowska" userId="b4dee01e-1dd1-4ace-b126-5b3bd0cf451c" providerId="ADAL" clId="{E2CD95B0-88B4-4EA0-AB26-19BEED9A8673}" dt="2023-01-11T13:32:24.150" v="471" actId="20577"/>
          <ac:spMkLst>
            <pc:docMk/>
            <pc:sldMk cId="387532369" sldId="262"/>
            <ac:spMk id="2" creationId="{00000000-0000-0000-0000-000000000000}"/>
          </ac:spMkLst>
        </pc:spChg>
      </pc:sldChg>
      <pc:sldChg chg="modSp mod">
        <pc:chgData name="Judyta Kozlowska" userId="b4dee01e-1dd1-4ace-b126-5b3bd0cf451c" providerId="ADAL" clId="{E2CD95B0-88B4-4EA0-AB26-19BEED9A8673}" dt="2023-01-11T08:19:53.751" v="200" actId="108"/>
        <pc:sldMkLst>
          <pc:docMk/>
          <pc:sldMk cId="4146182223" sldId="2856"/>
        </pc:sldMkLst>
        <pc:spChg chg="mod">
          <ac:chgData name="Judyta Kozlowska" userId="b4dee01e-1dd1-4ace-b126-5b3bd0cf451c" providerId="ADAL" clId="{E2CD95B0-88B4-4EA0-AB26-19BEED9A8673}" dt="2023-01-11T08:19:53.751" v="200" actId="108"/>
          <ac:spMkLst>
            <pc:docMk/>
            <pc:sldMk cId="4146182223" sldId="2856"/>
            <ac:spMk id="5" creationId="{0273C515-273B-4A52-93A2-AF69298D6266}"/>
          </ac:spMkLst>
        </pc:spChg>
        <pc:spChg chg="mod">
          <ac:chgData name="Judyta Kozlowska" userId="b4dee01e-1dd1-4ace-b126-5b3bd0cf451c" providerId="ADAL" clId="{E2CD95B0-88B4-4EA0-AB26-19BEED9A8673}" dt="2023-01-11T08:19:34.752" v="199" actId="20577"/>
          <ac:spMkLst>
            <pc:docMk/>
            <pc:sldMk cId="4146182223" sldId="2856"/>
            <ac:spMk id="6" creationId="{B3953017-58C0-4B73-BD7C-6A3501B81345}"/>
          </ac:spMkLst>
        </pc:spChg>
      </pc:sldChg>
      <pc:sldChg chg="addSp delSp modSp mod">
        <pc:chgData name="Judyta Kozlowska" userId="b4dee01e-1dd1-4ace-b126-5b3bd0cf451c" providerId="ADAL" clId="{E2CD95B0-88B4-4EA0-AB26-19BEED9A8673}" dt="2023-01-11T08:53:36.652" v="448" actId="1076"/>
        <pc:sldMkLst>
          <pc:docMk/>
          <pc:sldMk cId="3222772883" sldId="2857"/>
        </pc:sldMkLst>
        <pc:picChg chg="add mod">
          <ac:chgData name="Judyta Kozlowska" userId="b4dee01e-1dd1-4ace-b126-5b3bd0cf451c" providerId="ADAL" clId="{E2CD95B0-88B4-4EA0-AB26-19BEED9A8673}" dt="2023-01-11T08:53:36.652" v="448" actId="1076"/>
          <ac:picMkLst>
            <pc:docMk/>
            <pc:sldMk cId="3222772883" sldId="2857"/>
            <ac:picMk id="5" creationId="{AFD59537-FD8F-56F9-4CEA-D2F9509382BC}"/>
          </ac:picMkLst>
        </pc:picChg>
        <pc:picChg chg="del">
          <ac:chgData name="Judyta Kozlowska" userId="b4dee01e-1dd1-4ace-b126-5b3bd0cf451c" providerId="ADAL" clId="{E2CD95B0-88B4-4EA0-AB26-19BEED9A8673}" dt="2023-01-11T08:52:46.026" v="439" actId="478"/>
          <ac:picMkLst>
            <pc:docMk/>
            <pc:sldMk cId="3222772883" sldId="2857"/>
            <ac:picMk id="6" creationId="{B6FDF1C7-BC9A-6B04-E551-BBB91CCF19E9}"/>
          </ac:picMkLst>
        </pc:picChg>
      </pc:sldChg>
      <pc:sldChg chg="addSp delSp modSp mod">
        <pc:chgData name="Judyta Kozlowska" userId="b4dee01e-1dd1-4ace-b126-5b3bd0cf451c" providerId="ADAL" clId="{E2CD95B0-88B4-4EA0-AB26-19BEED9A8673}" dt="2023-01-11T08:04:13.083" v="31" actId="108"/>
        <pc:sldMkLst>
          <pc:docMk/>
          <pc:sldMk cId="289989424" sldId="2858"/>
        </pc:sldMkLst>
        <pc:spChg chg="mod">
          <ac:chgData name="Judyta Kozlowska" userId="b4dee01e-1dd1-4ace-b126-5b3bd0cf451c" providerId="ADAL" clId="{E2CD95B0-88B4-4EA0-AB26-19BEED9A8673}" dt="2023-01-11T08:04:13.083" v="31" actId="108"/>
          <ac:spMkLst>
            <pc:docMk/>
            <pc:sldMk cId="289989424" sldId="2858"/>
            <ac:spMk id="2" creationId="{CF04DB44-42D0-7DDA-052D-69EE10190E3D}"/>
          </ac:spMkLst>
        </pc:spChg>
        <pc:graphicFrameChg chg="del">
          <ac:chgData name="Judyta Kozlowska" userId="b4dee01e-1dd1-4ace-b126-5b3bd0cf451c" providerId="ADAL" clId="{E2CD95B0-88B4-4EA0-AB26-19BEED9A8673}" dt="2023-01-11T07:59:56.613" v="8" actId="478"/>
          <ac:graphicFrameMkLst>
            <pc:docMk/>
            <pc:sldMk cId="289989424" sldId="2858"/>
            <ac:graphicFrameMk id="10" creationId="{05DDF4AA-075D-65B1-E732-6A27B95FB07D}"/>
          </ac:graphicFrameMkLst>
        </pc:graphicFrameChg>
        <pc:picChg chg="add del mod">
          <ac:chgData name="Judyta Kozlowska" userId="b4dee01e-1dd1-4ace-b126-5b3bd0cf451c" providerId="ADAL" clId="{E2CD95B0-88B4-4EA0-AB26-19BEED9A8673}" dt="2023-01-11T08:03:36.663" v="13" actId="478"/>
          <ac:picMkLst>
            <pc:docMk/>
            <pc:sldMk cId="289989424" sldId="2858"/>
            <ac:picMk id="5" creationId="{1A09339B-7659-FD9E-1CC0-7F7ACE5805B2}"/>
          </ac:picMkLst>
        </pc:picChg>
        <pc:picChg chg="add">
          <ac:chgData name="Judyta Kozlowska" userId="b4dee01e-1dd1-4ace-b126-5b3bd0cf451c" providerId="ADAL" clId="{E2CD95B0-88B4-4EA0-AB26-19BEED9A8673}" dt="2023-01-11T08:03:50.687" v="14" actId="22"/>
          <ac:picMkLst>
            <pc:docMk/>
            <pc:sldMk cId="289989424" sldId="2858"/>
            <ac:picMk id="7" creationId="{E8249687-FA88-463A-028B-A54341C29C0F}"/>
          </ac:picMkLst>
        </pc:picChg>
        <pc:picChg chg="del">
          <ac:chgData name="Judyta Kozlowska" userId="b4dee01e-1dd1-4ace-b126-5b3bd0cf451c" providerId="ADAL" clId="{E2CD95B0-88B4-4EA0-AB26-19BEED9A8673}" dt="2023-01-11T07:59:55.072" v="7" actId="478"/>
          <ac:picMkLst>
            <pc:docMk/>
            <pc:sldMk cId="289989424" sldId="2858"/>
            <ac:picMk id="9" creationId="{0F3B0292-807A-C5E7-EB3B-824F3715A9E0}"/>
          </ac:picMkLst>
        </pc:picChg>
      </pc:sldChg>
      <pc:sldChg chg="addSp delSp modSp mod">
        <pc:chgData name="Judyta Kozlowska" userId="b4dee01e-1dd1-4ace-b126-5b3bd0cf451c" providerId="ADAL" clId="{E2CD95B0-88B4-4EA0-AB26-19BEED9A8673}" dt="2023-01-11T08:17:19.664" v="79" actId="1076"/>
        <pc:sldMkLst>
          <pc:docMk/>
          <pc:sldMk cId="1363534449" sldId="2859"/>
        </pc:sldMkLst>
        <pc:spChg chg="mod">
          <ac:chgData name="Judyta Kozlowska" userId="b4dee01e-1dd1-4ace-b126-5b3bd0cf451c" providerId="ADAL" clId="{E2CD95B0-88B4-4EA0-AB26-19BEED9A8673}" dt="2023-01-11T08:07:08.697" v="53" actId="20577"/>
          <ac:spMkLst>
            <pc:docMk/>
            <pc:sldMk cId="1363534449" sldId="2859"/>
            <ac:spMk id="2" creationId="{8EEDAC2E-F15E-B79F-9619-C10F38F0CAD7}"/>
          </ac:spMkLst>
        </pc:spChg>
        <pc:spChg chg="add del">
          <ac:chgData name="Judyta Kozlowska" userId="b4dee01e-1dd1-4ace-b126-5b3bd0cf451c" providerId="ADAL" clId="{E2CD95B0-88B4-4EA0-AB26-19BEED9A8673}" dt="2023-01-11T08:06:55.182" v="38" actId="22"/>
          <ac:spMkLst>
            <pc:docMk/>
            <pc:sldMk cId="1363534449" sldId="2859"/>
            <ac:spMk id="5" creationId="{E52BE3D6-C685-B497-10E1-5C7AC41292B6}"/>
          </ac:spMkLst>
        </pc:spChg>
        <pc:spChg chg="add del mod">
          <ac:chgData name="Judyta Kozlowska" userId="b4dee01e-1dd1-4ace-b126-5b3bd0cf451c" providerId="ADAL" clId="{E2CD95B0-88B4-4EA0-AB26-19BEED9A8673}" dt="2023-01-11T08:10:15.530" v="57" actId="478"/>
          <ac:spMkLst>
            <pc:docMk/>
            <pc:sldMk cId="1363534449" sldId="2859"/>
            <ac:spMk id="6" creationId="{61EB2105-51A0-9921-635D-7D620B4F2B62}"/>
          </ac:spMkLst>
        </pc:spChg>
        <pc:picChg chg="del">
          <ac:chgData name="Judyta Kozlowska" userId="b4dee01e-1dd1-4ace-b126-5b3bd0cf451c" providerId="ADAL" clId="{E2CD95B0-88B4-4EA0-AB26-19BEED9A8673}" dt="2023-01-11T08:06:38.587" v="32" actId="478"/>
          <ac:picMkLst>
            <pc:docMk/>
            <pc:sldMk cId="1363534449" sldId="2859"/>
            <ac:picMk id="7" creationId="{4C996473-5DAC-D254-AD50-852211C1AE47}"/>
          </ac:picMkLst>
        </pc:picChg>
        <pc:picChg chg="add mod">
          <ac:chgData name="Judyta Kozlowska" userId="b4dee01e-1dd1-4ace-b126-5b3bd0cf451c" providerId="ADAL" clId="{E2CD95B0-88B4-4EA0-AB26-19BEED9A8673}" dt="2023-01-11T08:17:19.664" v="79" actId="1076"/>
          <ac:picMkLst>
            <pc:docMk/>
            <pc:sldMk cId="1363534449" sldId="2859"/>
            <ac:picMk id="9" creationId="{F2940A8C-BFB1-76BF-CCC9-3223A49DD793}"/>
          </ac:picMkLst>
        </pc:picChg>
        <pc:picChg chg="del">
          <ac:chgData name="Judyta Kozlowska" userId="b4dee01e-1dd1-4ace-b126-5b3bd0cf451c" providerId="ADAL" clId="{E2CD95B0-88B4-4EA0-AB26-19BEED9A8673}" dt="2023-01-11T08:06:40.080" v="33" actId="478"/>
          <ac:picMkLst>
            <pc:docMk/>
            <pc:sldMk cId="1363534449" sldId="2859"/>
            <ac:picMk id="10" creationId="{F4186A96-C26C-5B88-A21F-841A6BC4CAE0}"/>
          </ac:picMkLst>
        </pc:picChg>
        <pc:picChg chg="add del mod">
          <ac:chgData name="Judyta Kozlowska" userId="b4dee01e-1dd1-4ace-b126-5b3bd0cf451c" providerId="ADAL" clId="{E2CD95B0-88B4-4EA0-AB26-19BEED9A8673}" dt="2023-01-11T08:17:04.410" v="71" actId="478"/>
          <ac:picMkLst>
            <pc:docMk/>
            <pc:sldMk cId="1363534449" sldId="2859"/>
            <ac:picMk id="12" creationId="{DC4630B4-7CC0-C81C-0898-4EB16D6A3AA1}"/>
          </ac:picMkLst>
        </pc:picChg>
      </pc:sldChg>
      <pc:sldChg chg="addSp delSp modSp mod">
        <pc:chgData name="Judyta Kozlowska" userId="b4dee01e-1dd1-4ace-b126-5b3bd0cf451c" providerId="ADAL" clId="{E2CD95B0-88B4-4EA0-AB26-19BEED9A8673}" dt="2023-01-11T08:51:15.556" v="432" actId="1076"/>
        <pc:sldMkLst>
          <pc:docMk/>
          <pc:sldMk cId="3969372951" sldId="2860"/>
        </pc:sldMkLst>
        <pc:picChg chg="add mod">
          <ac:chgData name="Judyta Kozlowska" userId="b4dee01e-1dd1-4ace-b126-5b3bd0cf451c" providerId="ADAL" clId="{E2CD95B0-88B4-4EA0-AB26-19BEED9A8673}" dt="2023-01-11T08:51:15.556" v="432" actId="1076"/>
          <ac:picMkLst>
            <pc:docMk/>
            <pc:sldMk cId="3969372951" sldId="2860"/>
            <ac:picMk id="5" creationId="{005A66E4-27D6-4B3E-36A0-D6D423D905F3}"/>
          </ac:picMkLst>
        </pc:picChg>
        <pc:picChg chg="del">
          <ac:chgData name="Judyta Kozlowska" userId="b4dee01e-1dd1-4ace-b126-5b3bd0cf451c" providerId="ADAL" clId="{E2CD95B0-88B4-4EA0-AB26-19BEED9A8673}" dt="2023-01-11T08:50:59.442" v="429" actId="478"/>
          <ac:picMkLst>
            <pc:docMk/>
            <pc:sldMk cId="3969372951" sldId="2860"/>
            <ac:picMk id="8" creationId="{E54C14A2-4CCB-3AAF-18E7-3F432C1092B3}"/>
          </ac:picMkLst>
        </pc:picChg>
      </pc:sldChg>
      <pc:sldChg chg="addSp delSp modSp del mod">
        <pc:chgData name="Judyta Kozlowska" userId="b4dee01e-1dd1-4ace-b126-5b3bd0cf451c" providerId="ADAL" clId="{E2CD95B0-88B4-4EA0-AB26-19BEED9A8673}" dt="2023-01-11T08:52:24.752" v="438" actId="2696"/>
        <pc:sldMkLst>
          <pc:docMk/>
          <pc:sldMk cId="1064048237" sldId="2866"/>
        </pc:sldMkLst>
        <pc:picChg chg="del">
          <ac:chgData name="Judyta Kozlowska" userId="b4dee01e-1dd1-4ace-b126-5b3bd0cf451c" providerId="ADAL" clId="{E2CD95B0-88B4-4EA0-AB26-19BEED9A8673}" dt="2023-01-11T08:51:21.447" v="433" actId="478"/>
          <ac:picMkLst>
            <pc:docMk/>
            <pc:sldMk cId="1064048237" sldId="2866"/>
            <ac:picMk id="5" creationId="{B5E3C397-61C4-21A3-6D19-1984396BD559}"/>
          </ac:picMkLst>
        </pc:picChg>
        <pc:picChg chg="add del mod">
          <ac:chgData name="Judyta Kozlowska" userId="b4dee01e-1dd1-4ace-b126-5b3bd0cf451c" providerId="ADAL" clId="{E2CD95B0-88B4-4EA0-AB26-19BEED9A8673}" dt="2023-01-11T08:52:20.847" v="437" actId="478"/>
          <ac:picMkLst>
            <pc:docMk/>
            <pc:sldMk cId="1064048237" sldId="2866"/>
            <ac:picMk id="6" creationId="{A488D5B6-5D14-86E8-7BEB-1607B783E271}"/>
          </ac:picMkLst>
        </pc:picChg>
      </pc:sldChg>
      <pc:sldChg chg="modSp mod">
        <pc:chgData name="Judyta Kozlowska" userId="b4dee01e-1dd1-4ace-b126-5b3bd0cf451c" providerId="ADAL" clId="{E2CD95B0-88B4-4EA0-AB26-19BEED9A8673}" dt="2023-01-11T08:21:24.616" v="428" actId="20577"/>
        <pc:sldMkLst>
          <pc:docMk/>
          <pc:sldMk cId="3222622094" sldId="2881"/>
        </pc:sldMkLst>
        <pc:spChg chg="mod">
          <ac:chgData name="Judyta Kozlowska" userId="b4dee01e-1dd1-4ace-b126-5b3bd0cf451c" providerId="ADAL" clId="{E2CD95B0-88B4-4EA0-AB26-19BEED9A8673}" dt="2023-01-11T08:19:57.264" v="201" actId="108"/>
          <ac:spMkLst>
            <pc:docMk/>
            <pc:sldMk cId="3222622094" sldId="2881"/>
            <ac:spMk id="5" creationId="{0273C515-273B-4A52-93A2-AF69298D6266}"/>
          </ac:spMkLst>
        </pc:spChg>
        <pc:spChg chg="mod">
          <ac:chgData name="Judyta Kozlowska" userId="b4dee01e-1dd1-4ace-b126-5b3bd0cf451c" providerId="ADAL" clId="{E2CD95B0-88B4-4EA0-AB26-19BEED9A8673}" dt="2023-01-11T08:21:24.616" v="428" actId="20577"/>
          <ac:spMkLst>
            <pc:docMk/>
            <pc:sldMk cId="3222622094" sldId="2881"/>
            <ac:spMk id="7" creationId="{988DD88B-DBE8-C35A-A0BE-BE7BD0B4BE7D}"/>
          </ac:spMkLst>
        </pc:spChg>
      </pc:sldChg>
      <pc:sldChg chg="addSp delSp modSp mod">
        <pc:chgData name="Judyta Kozlowska" userId="b4dee01e-1dd1-4ace-b126-5b3bd0cf451c" providerId="ADAL" clId="{E2CD95B0-88B4-4EA0-AB26-19BEED9A8673}" dt="2023-01-11T09:33:53.486" v="458" actId="108"/>
        <pc:sldMkLst>
          <pc:docMk/>
          <pc:sldMk cId="2835097437" sldId="2890"/>
        </pc:sldMkLst>
        <pc:spChg chg="mod">
          <ac:chgData name="Judyta Kozlowska" userId="b4dee01e-1dd1-4ace-b126-5b3bd0cf451c" providerId="ADAL" clId="{E2CD95B0-88B4-4EA0-AB26-19BEED9A8673}" dt="2023-01-11T09:33:53.486" v="458" actId="108"/>
          <ac:spMkLst>
            <pc:docMk/>
            <pc:sldMk cId="2835097437" sldId="2890"/>
            <ac:spMk id="5" creationId="{8F34C24A-4DB1-BAA6-C705-069CFA2CBD19}"/>
          </ac:spMkLst>
        </pc:spChg>
        <pc:spChg chg="add del mod">
          <ac:chgData name="Judyta Kozlowska" userId="b4dee01e-1dd1-4ace-b126-5b3bd0cf451c" providerId="ADAL" clId="{E2CD95B0-88B4-4EA0-AB26-19BEED9A8673}" dt="2023-01-11T08:59:53.522" v="450" actId="478"/>
          <ac:spMkLst>
            <pc:docMk/>
            <pc:sldMk cId="2835097437" sldId="2890"/>
            <ac:spMk id="6" creationId="{078ADCE8-BCA6-7A44-9314-212A1D39330F}"/>
          </ac:spMkLst>
        </pc:spChg>
        <pc:picChg chg="del">
          <ac:chgData name="Judyta Kozlowska" userId="b4dee01e-1dd1-4ace-b126-5b3bd0cf451c" providerId="ADAL" clId="{E2CD95B0-88B4-4EA0-AB26-19BEED9A8673}" dt="2023-01-11T08:59:51.126" v="449" actId="478"/>
          <ac:picMkLst>
            <pc:docMk/>
            <pc:sldMk cId="2835097437" sldId="2890"/>
            <ac:picMk id="3" creationId="{AFBF99C1-D184-09E6-24F5-1C039FAAA82C}"/>
          </ac:picMkLst>
        </pc:picChg>
        <pc:picChg chg="add del mod">
          <ac:chgData name="Judyta Kozlowska" userId="b4dee01e-1dd1-4ace-b126-5b3bd0cf451c" providerId="ADAL" clId="{E2CD95B0-88B4-4EA0-AB26-19BEED9A8673}" dt="2023-01-11T09:31:44.591" v="454" actId="478"/>
          <ac:picMkLst>
            <pc:docMk/>
            <pc:sldMk cId="2835097437" sldId="2890"/>
            <ac:picMk id="8" creationId="{0C034A55-3DFD-1324-020D-5B67EE6D4411}"/>
          </ac:picMkLst>
        </pc:picChg>
        <pc:picChg chg="add mod">
          <ac:chgData name="Judyta Kozlowska" userId="b4dee01e-1dd1-4ace-b126-5b3bd0cf451c" providerId="ADAL" clId="{E2CD95B0-88B4-4EA0-AB26-19BEED9A8673}" dt="2023-01-11T09:33:15.764" v="456" actId="1076"/>
          <ac:picMkLst>
            <pc:docMk/>
            <pc:sldMk cId="2835097437" sldId="2890"/>
            <ac:picMk id="10" creationId="{D629DEAE-7F10-9615-5FC5-50D38AD93A3C}"/>
          </ac:picMkLst>
        </pc:picChg>
      </pc:sldChg>
      <pc:sldChg chg="del">
        <pc:chgData name="Judyta Kozlowska" userId="b4dee01e-1dd1-4ace-b126-5b3bd0cf451c" providerId="ADAL" clId="{E2CD95B0-88B4-4EA0-AB26-19BEED9A8673}" dt="2023-01-11T08:17:39.629" v="86" actId="2696"/>
        <pc:sldMkLst>
          <pc:docMk/>
          <pc:sldMk cId="1008623920" sldId="2892"/>
        </pc:sldMkLst>
      </pc:sldChg>
      <pc:sldChg chg="del">
        <pc:chgData name="Judyta Kozlowska" userId="b4dee01e-1dd1-4ace-b126-5b3bd0cf451c" providerId="ADAL" clId="{E2CD95B0-88B4-4EA0-AB26-19BEED9A8673}" dt="2023-01-11T08:17:42.320" v="87" actId="2696"/>
        <pc:sldMkLst>
          <pc:docMk/>
          <pc:sldMk cId="1432125664" sldId="2894"/>
        </pc:sldMkLst>
      </pc:sldChg>
      <pc:sldChg chg="addSp delSp modSp">
        <pc:chgData name="Judyta Kozlowska" userId="b4dee01e-1dd1-4ace-b126-5b3bd0cf451c" providerId="ADAL" clId="{E2CD95B0-88B4-4EA0-AB26-19BEED9A8673}" dt="2023-01-11T07:46:49.122" v="6" actId="1076"/>
        <pc:sldMkLst>
          <pc:docMk/>
          <pc:sldMk cId="3016541242" sldId="2897"/>
        </pc:sldMkLst>
        <pc:picChg chg="add mod">
          <ac:chgData name="Judyta Kozlowska" userId="b4dee01e-1dd1-4ace-b126-5b3bd0cf451c" providerId="ADAL" clId="{E2CD95B0-88B4-4EA0-AB26-19BEED9A8673}" dt="2023-01-11T07:46:49.122" v="6" actId="1076"/>
          <ac:picMkLst>
            <pc:docMk/>
            <pc:sldMk cId="3016541242" sldId="2897"/>
            <ac:picMk id="1026" creationId="{1F63928C-6FF3-690F-05AC-E5990EC4C3F9}"/>
          </ac:picMkLst>
        </pc:picChg>
        <pc:picChg chg="del">
          <ac:chgData name="Judyta Kozlowska" userId="b4dee01e-1dd1-4ace-b126-5b3bd0cf451c" providerId="ADAL" clId="{E2CD95B0-88B4-4EA0-AB26-19BEED9A8673}" dt="2023-01-11T07:46:35.532" v="0" actId="478"/>
          <ac:picMkLst>
            <pc:docMk/>
            <pc:sldMk cId="3016541242" sldId="2897"/>
            <ac:picMk id="2050" creationId="{CF75747C-E39C-3BFB-1010-098BCC9C1C7F}"/>
          </ac:picMkLst>
        </pc:picChg>
        <pc:picChg chg="mod">
          <ac:chgData name="Judyta Kozlowska" userId="b4dee01e-1dd1-4ace-b126-5b3bd0cf451c" providerId="ADAL" clId="{E2CD95B0-88B4-4EA0-AB26-19BEED9A8673}" dt="2023-01-11T07:46:47.462" v="5" actId="1076"/>
          <ac:picMkLst>
            <pc:docMk/>
            <pc:sldMk cId="3016541242" sldId="2897"/>
            <ac:picMk id="2052" creationId="{B131F52C-E094-EF7E-8AC4-244DD8BC00FF}"/>
          </ac:picMkLst>
        </pc:picChg>
      </pc:sldChg>
      <pc:sldChg chg="modSp mod">
        <pc:chgData name="Judyta Kozlowska" userId="b4dee01e-1dd1-4ace-b126-5b3bd0cf451c" providerId="ADAL" clId="{E2CD95B0-88B4-4EA0-AB26-19BEED9A8673}" dt="2023-01-11T09:33:44.506" v="457" actId="108"/>
        <pc:sldMkLst>
          <pc:docMk/>
          <pc:sldMk cId="1501911350" sldId="2898"/>
        </pc:sldMkLst>
        <pc:spChg chg="mod">
          <ac:chgData name="Judyta Kozlowska" userId="b4dee01e-1dd1-4ace-b126-5b3bd0cf451c" providerId="ADAL" clId="{E2CD95B0-88B4-4EA0-AB26-19BEED9A8673}" dt="2023-01-11T09:33:44.506" v="457" actId="108"/>
          <ac:spMkLst>
            <pc:docMk/>
            <pc:sldMk cId="1501911350" sldId="2898"/>
            <ac:spMk id="5" creationId="{8F34C24A-4DB1-BAA6-C705-069CFA2CBD19}"/>
          </ac:spMkLst>
        </pc:spChg>
      </pc:sldChg>
      <pc:sldChg chg="delSp modSp add mod">
        <pc:chgData name="Judyta Kozlowska" userId="b4dee01e-1dd1-4ace-b126-5b3bd0cf451c" providerId="ADAL" clId="{E2CD95B0-88B4-4EA0-AB26-19BEED9A8673}" dt="2023-01-11T08:17:28.928" v="85" actId="1076"/>
        <pc:sldMkLst>
          <pc:docMk/>
          <pc:sldMk cId="1532946291" sldId="2899"/>
        </pc:sldMkLst>
        <pc:picChg chg="del">
          <ac:chgData name="Judyta Kozlowska" userId="b4dee01e-1dd1-4ace-b126-5b3bd0cf451c" providerId="ADAL" clId="{E2CD95B0-88B4-4EA0-AB26-19BEED9A8673}" dt="2023-01-11T08:17:22.137" v="80" actId="478"/>
          <ac:picMkLst>
            <pc:docMk/>
            <pc:sldMk cId="1532946291" sldId="2899"/>
            <ac:picMk id="9" creationId="{F2940A8C-BFB1-76BF-CCC9-3223A49DD793}"/>
          </ac:picMkLst>
        </pc:picChg>
        <pc:picChg chg="mod">
          <ac:chgData name="Judyta Kozlowska" userId="b4dee01e-1dd1-4ace-b126-5b3bd0cf451c" providerId="ADAL" clId="{E2CD95B0-88B4-4EA0-AB26-19BEED9A8673}" dt="2023-01-11T08:17:28.928" v="85" actId="1076"/>
          <ac:picMkLst>
            <pc:docMk/>
            <pc:sldMk cId="1532946291" sldId="2899"/>
            <ac:picMk id="12" creationId="{DC4630B4-7CC0-C81C-0898-4EB16D6A3AA1}"/>
          </ac:picMkLst>
        </pc:picChg>
      </pc:sldChg>
    </pc:docChg>
  </pc:docChgLst>
  <pc:docChgLst>
    <pc:chgData name="Dawid Janik" userId="S::dawid.janik@upfieldbrands.com::81a947f4-3345-42c0-a461-2bf27ee4639f" providerId="AD" clId="Web-{4995667A-E34E-435D-ADF1-64AED14ABEB3}"/>
    <pc:docChg chg="modSld">
      <pc:chgData name="Dawid Janik" userId="S::dawid.janik@upfieldbrands.com::81a947f4-3345-42c0-a461-2bf27ee4639f" providerId="AD" clId="Web-{4995667A-E34E-435D-ADF1-64AED14ABEB3}" dt="2023-06-07T13:56:25.934" v="9"/>
      <pc:docMkLst>
        <pc:docMk/>
      </pc:docMkLst>
      <pc:sldChg chg="modSp">
        <pc:chgData name="Dawid Janik" userId="S::dawid.janik@upfieldbrands.com::81a947f4-3345-42c0-a461-2bf27ee4639f" providerId="AD" clId="Web-{4995667A-E34E-435D-ADF1-64AED14ABEB3}" dt="2023-06-07T13:56:25.934" v="9"/>
        <pc:sldMkLst>
          <pc:docMk/>
          <pc:sldMk cId="1361416781" sldId="2147469996"/>
        </pc:sldMkLst>
        <pc:graphicFrameChg chg="mod modGraphic">
          <ac:chgData name="Dawid Janik" userId="S::dawid.janik@upfieldbrands.com::81a947f4-3345-42c0-a461-2bf27ee4639f" providerId="AD" clId="Web-{4995667A-E34E-435D-ADF1-64AED14ABEB3}" dt="2023-06-07T13:56:25.934" v="9"/>
          <ac:graphicFrameMkLst>
            <pc:docMk/>
            <pc:sldMk cId="1361416781" sldId="2147469996"/>
            <ac:graphicFrameMk id="12" creationId="{26D59C8B-D204-BFA5-1CEA-4CE313D5DD1A}"/>
          </ac:graphicFrameMkLst>
        </pc:graphicFrameChg>
      </pc:sldChg>
      <pc:sldChg chg="modSp">
        <pc:chgData name="Dawid Janik" userId="S::dawid.janik@upfieldbrands.com::81a947f4-3345-42c0-a461-2bf27ee4639f" providerId="AD" clId="Web-{4995667A-E34E-435D-ADF1-64AED14ABEB3}" dt="2023-06-07T13:54:20.900" v="3"/>
        <pc:sldMkLst>
          <pc:docMk/>
          <pc:sldMk cId="1556072929" sldId="2147469997"/>
        </pc:sldMkLst>
        <pc:graphicFrameChg chg="mod modGraphic">
          <ac:chgData name="Dawid Janik" userId="S::dawid.janik@upfieldbrands.com::81a947f4-3345-42c0-a461-2bf27ee4639f" providerId="AD" clId="Web-{4995667A-E34E-435D-ADF1-64AED14ABEB3}" dt="2023-06-07T13:54:20.900" v="3"/>
          <ac:graphicFrameMkLst>
            <pc:docMk/>
            <pc:sldMk cId="1556072929" sldId="2147469997"/>
            <ac:graphicFrameMk id="3" creationId="{D60AF2BF-FC5F-92E5-140E-E1D2E3DF3635}"/>
          </ac:graphicFrameMkLst>
        </pc:graphicFrameChg>
      </pc:sldChg>
    </pc:docChg>
  </pc:docChgLst>
  <pc:docChgLst>
    <pc:chgData name="Dawid Janik" userId="S::dawid.janik@upfieldbrands.com::81a947f4-3345-42c0-a461-2bf27ee4639f" providerId="AD" clId="Web-{1E8C26A8-E753-41E8-8AD7-412BF4171A27}"/>
    <pc:docChg chg="addSld modSld">
      <pc:chgData name="Dawid Janik" userId="S::dawid.janik@upfieldbrands.com::81a947f4-3345-42c0-a461-2bf27ee4639f" providerId="AD" clId="Web-{1E8C26A8-E753-41E8-8AD7-412BF4171A27}" dt="2023-06-07T11:07:02.589" v="308" actId="20577"/>
      <pc:docMkLst>
        <pc:docMk/>
      </pc:docMkLst>
      <pc:sldChg chg="modSp">
        <pc:chgData name="Dawid Janik" userId="S::dawid.janik@upfieldbrands.com::81a947f4-3345-42c0-a461-2bf27ee4639f" providerId="AD" clId="Web-{1E8C26A8-E753-41E8-8AD7-412BF4171A27}" dt="2023-06-07T10:54:45.440" v="55" actId="1076"/>
        <pc:sldMkLst>
          <pc:docMk/>
          <pc:sldMk cId="1086150633" sldId="2147469993"/>
        </pc:sldMkLst>
        <pc:spChg chg="mod">
          <ac:chgData name="Dawid Janik" userId="S::dawid.janik@upfieldbrands.com::81a947f4-3345-42c0-a461-2bf27ee4639f" providerId="AD" clId="Web-{1E8C26A8-E753-41E8-8AD7-412BF4171A27}" dt="2023-06-07T10:54:45.440" v="55" actId="1076"/>
          <ac:spMkLst>
            <pc:docMk/>
            <pc:sldMk cId="1086150633" sldId="2147469993"/>
            <ac:spMk id="8" creationId="{79F74B84-C419-FBE8-6819-ECC1B4E40683}"/>
          </ac:spMkLst>
        </pc:spChg>
      </pc:sldChg>
      <pc:sldChg chg="addSp delSp modSp">
        <pc:chgData name="Dawid Janik" userId="S::dawid.janik@upfieldbrands.com::81a947f4-3345-42c0-a461-2bf27ee4639f" providerId="AD" clId="Web-{1E8C26A8-E753-41E8-8AD7-412BF4171A27}" dt="2023-06-07T10:54:05.673" v="41" actId="1076"/>
        <pc:sldMkLst>
          <pc:docMk/>
          <pc:sldMk cId="876068050" sldId="2147469994"/>
        </pc:sldMkLst>
        <pc:spChg chg="del">
          <ac:chgData name="Dawid Janik" userId="S::dawid.janik@upfieldbrands.com::81a947f4-3345-42c0-a461-2bf27ee4639f" providerId="AD" clId="Web-{1E8C26A8-E753-41E8-8AD7-412BF4171A27}" dt="2023-06-07T10:48:13.162" v="1"/>
          <ac:spMkLst>
            <pc:docMk/>
            <pc:sldMk cId="876068050" sldId="2147469994"/>
            <ac:spMk id="2" creationId="{38F9B1EC-AE0C-563A-2F80-E1180170F263}"/>
          </ac:spMkLst>
        </pc:spChg>
        <pc:spChg chg="del">
          <ac:chgData name="Dawid Janik" userId="S::dawid.janik@upfieldbrands.com::81a947f4-3345-42c0-a461-2bf27ee4639f" providerId="AD" clId="Web-{1E8C26A8-E753-41E8-8AD7-412BF4171A27}" dt="2023-06-07T10:48:14.943" v="3"/>
          <ac:spMkLst>
            <pc:docMk/>
            <pc:sldMk cId="876068050" sldId="2147469994"/>
            <ac:spMk id="3" creationId="{DF55A978-A771-113F-D333-0B451B57387A}"/>
          </ac:spMkLst>
        </pc:spChg>
        <pc:spChg chg="del">
          <ac:chgData name="Dawid Janik" userId="S::dawid.janik@upfieldbrands.com::81a947f4-3345-42c0-a461-2bf27ee4639f" providerId="AD" clId="Web-{1E8C26A8-E753-41E8-8AD7-412BF4171A27}" dt="2023-06-07T10:48:12.193" v="0"/>
          <ac:spMkLst>
            <pc:docMk/>
            <pc:sldMk cId="876068050" sldId="2147469994"/>
            <ac:spMk id="5" creationId="{4C2522F4-2157-F55E-6E84-F7CB97992A4E}"/>
          </ac:spMkLst>
        </pc:spChg>
        <pc:spChg chg="del">
          <ac:chgData name="Dawid Janik" userId="S::dawid.janik@upfieldbrands.com::81a947f4-3345-42c0-a461-2bf27ee4639f" providerId="AD" clId="Web-{1E8C26A8-E753-41E8-8AD7-412BF4171A27}" dt="2023-06-07T10:48:13.771" v="2"/>
          <ac:spMkLst>
            <pc:docMk/>
            <pc:sldMk cId="876068050" sldId="2147469994"/>
            <ac:spMk id="6" creationId="{F2E73AF8-D764-054E-601F-6D76EDF212CE}"/>
          </ac:spMkLst>
        </pc:spChg>
        <pc:spChg chg="del">
          <ac:chgData name="Dawid Janik" userId="S::dawid.janik@upfieldbrands.com::81a947f4-3345-42c0-a461-2bf27ee4639f" providerId="AD" clId="Web-{1E8C26A8-E753-41E8-8AD7-412BF4171A27}" dt="2023-06-07T10:48:15.975" v="4"/>
          <ac:spMkLst>
            <pc:docMk/>
            <pc:sldMk cId="876068050" sldId="2147469994"/>
            <ac:spMk id="7" creationId="{D806289D-6DAD-C3C4-BA70-BBED4ABC506F}"/>
          </ac:spMkLst>
        </pc:spChg>
        <pc:spChg chg="add mod">
          <ac:chgData name="Dawid Janik" userId="S::dawid.janik@upfieldbrands.com::81a947f4-3345-42c0-a461-2bf27ee4639f" providerId="AD" clId="Web-{1E8C26A8-E753-41E8-8AD7-412BF4171A27}" dt="2023-06-07T10:54:05.673" v="41" actId="1076"/>
          <ac:spMkLst>
            <pc:docMk/>
            <pc:sldMk cId="876068050" sldId="2147469994"/>
            <ac:spMk id="8" creationId="{1ADCE64E-EF3B-B784-B783-DB453B380643}"/>
          </ac:spMkLst>
        </pc:spChg>
        <pc:graphicFrameChg chg="add mod modGraphic">
          <ac:chgData name="Dawid Janik" userId="S::dawid.janik@upfieldbrands.com::81a947f4-3345-42c0-a461-2bf27ee4639f" providerId="AD" clId="Web-{1E8C26A8-E753-41E8-8AD7-412BF4171A27}" dt="2023-06-07T10:53:35.672" v="40" actId="1076"/>
          <ac:graphicFrameMkLst>
            <pc:docMk/>
            <pc:sldMk cId="876068050" sldId="2147469994"/>
            <ac:graphicFrameMk id="10" creationId="{BF01CA8B-4A32-11E3-9D20-4788CC7B2DCF}"/>
          </ac:graphicFrameMkLst>
        </pc:graphicFrameChg>
        <pc:graphicFrameChg chg="add mod">
          <ac:chgData name="Dawid Janik" userId="S::dawid.janik@upfieldbrands.com::81a947f4-3345-42c0-a461-2bf27ee4639f" providerId="AD" clId="Web-{1E8C26A8-E753-41E8-8AD7-412BF4171A27}" dt="2023-06-07T10:53:15.141" v="37" actId="1076"/>
          <ac:graphicFrameMkLst>
            <pc:docMk/>
            <pc:sldMk cId="876068050" sldId="2147469994"/>
            <ac:graphicFrameMk id="11" creationId="{4A3E6939-95C1-C80A-4EC1-8DDEDC4194D4}"/>
          </ac:graphicFrameMkLst>
        </pc:graphicFrameChg>
      </pc:sldChg>
      <pc:sldChg chg="addSp delSp modSp new">
        <pc:chgData name="Dawid Janik" userId="S::dawid.janik@upfieldbrands.com::81a947f4-3345-42c0-a461-2bf27ee4639f" providerId="AD" clId="Web-{1E8C26A8-E753-41E8-8AD7-412BF4171A27}" dt="2023-06-07T11:07:02.589" v="308" actId="20577"/>
        <pc:sldMkLst>
          <pc:docMk/>
          <pc:sldMk cId="3175105478" sldId="2147469995"/>
        </pc:sldMkLst>
        <pc:spChg chg="del">
          <ac:chgData name="Dawid Janik" userId="S::dawid.janik@upfieldbrands.com::81a947f4-3345-42c0-a461-2bf27ee4639f" providerId="AD" clId="Web-{1E8C26A8-E753-41E8-8AD7-412BF4171A27}" dt="2023-06-07T10:54:13.799" v="44"/>
          <ac:spMkLst>
            <pc:docMk/>
            <pc:sldMk cId="3175105478" sldId="2147469995"/>
            <ac:spMk id="2" creationId="{1295DAA6-8354-2A32-9497-F4B588879466}"/>
          </ac:spMkLst>
        </pc:spChg>
        <pc:spChg chg="del">
          <ac:chgData name="Dawid Janik" userId="S::dawid.janik@upfieldbrands.com::81a947f4-3345-42c0-a461-2bf27ee4639f" providerId="AD" clId="Web-{1E8C26A8-E753-41E8-8AD7-412BF4171A27}" dt="2023-06-07T10:54:15.486" v="46"/>
          <ac:spMkLst>
            <pc:docMk/>
            <pc:sldMk cId="3175105478" sldId="2147469995"/>
            <ac:spMk id="3" creationId="{A042D38A-0D44-60A1-5877-F323D9118CE8}"/>
          </ac:spMkLst>
        </pc:spChg>
        <pc:spChg chg="del">
          <ac:chgData name="Dawid Janik" userId="S::dawid.janik@upfieldbrands.com::81a947f4-3345-42c0-a461-2bf27ee4639f" providerId="AD" clId="Web-{1E8C26A8-E753-41E8-8AD7-412BF4171A27}" dt="2023-06-07T10:54:12.830" v="43"/>
          <ac:spMkLst>
            <pc:docMk/>
            <pc:sldMk cId="3175105478" sldId="2147469995"/>
            <ac:spMk id="5" creationId="{C5C489FA-240A-E828-AA33-9651A08FA7F9}"/>
          </ac:spMkLst>
        </pc:spChg>
        <pc:spChg chg="del">
          <ac:chgData name="Dawid Janik" userId="S::dawid.janik@upfieldbrands.com::81a947f4-3345-42c0-a461-2bf27ee4639f" providerId="AD" clId="Web-{1E8C26A8-E753-41E8-8AD7-412BF4171A27}" dt="2023-06-07T10:54:14.564" v="45"/>
          <ac:spMkLst>
            <pc:docMk/>
            <pc:sldMk cId="3175105478" sldId="2147469995"/>
            <ac:spMk id="6" creationId="{F3349EA3-633F-152C-4CE7-3B24807343A7}"/>
          </ac:spMkLst>
        </pc:spChg>
        <pc:spChg chg="del">
          <ac:chgData name="Dawid Janik" userId="S::dawid.janik@upfieldbrands.com::81a947f4-3345-42c0-a461-2bf27ee4639f" providerId="AD" clId="Web-{1E8C26A8-E753-41E8-8AD7-412BF4171A27}" dt="2023-06-07T10:54:16.314" v="47"/>
          <ac:spMkLst>
            <pc:docMk/>
            <pc:sldMk cId="3175105478" sldId="2147469995"/>
            <ac:spMk id="7" creationId="{64B42326-3CE0-CC51-98F9-CE26D70FD84F}"/>
          </ac:spMkLst>
        </pc:spChg>
        <pc:spChg chg="add mod">
          <ac:chgData name="Dawid Janik" userId="S::dawid.janik@upfieldbrands.com::81a947f4-3345-42c0-a461-2bf27ee4639f" providerId="AD" clId="Web-{1E8C26A8-E753-41E8-8AD7-412BF4171A27}" dt="2023-06-07T10:54:35.252" v="54" actId="1076"/>
          <ac:spMkLst>
            <pc:docMk/>
            <pc:sldMk cId="3175105478" sldId="2147469995"/>
            <ac:spMk id="8" creationId="{C876B7A0-6A8F-8B6F-EA36-5D148F7AB865}"/>
          </ac:spMkLst>
        </pc:spChg>
        <pc:spChg chg="add mod">
          <ac:chgData name="Dawid Janik" userId="S::dawid.janik@upfieldbrands.com::81a947f4-3345-42c0-a461-2bf27ee4639f" providerId="AD" clId="Web-{1E8C26A8-E753-41E8-8AD7-412BF4171A27}" dt="2023-06-07T11:04:16.834" v="269" actId="20577"/>
          <ac:spMkLst>
            <pc:docMk/>
            <pc:sldMk cId="3175105478" sldId="2147469995"/>
            <ac:spMk id="13" creationId="{10F4C7A7-5FE8-9123-9BC0-1BE30D4F5752}"/>
          </ac:spMkLst>
        </pc:spChg>
        <pc:spChg chg="add del mod">
          <ac:chgData name="Dawid Janik" userId="S::dawid.janik@upfieldbrands.com::81a947f4-3345-42c0-a461-2bf27ee4639f" providerId="AD" clId="Web-{1E8C26A8-E753-41E8-8AD7-412BF4171A27}" dt="2023-06-07T11:01:08.828" v="184"/>
          <ac:spMkLst>
            <pc:docMk/>
            <pc:sldMk cId="3175105478" sldId="2147469995"/>
            <ac:spMk id="14" creationId="{A0626D41-E761-75E9-2CFF-9235C7AF4AC5}"/>
          </ac:spMkLst>
        </pc:spChg>
        <pc:spChg chg="add mod">
          <ac:chgData name="Dawid Janik" userId="S::dawid.janik@upfieldbrands.com::81a947f4-3345-42c0-a461-2bf27ee4639f" providerId="AD" clId="Web-{1E8C26A8-E753-41E8-8AD7-412BF4171A27}" dt="2023-06-07T11:04:16.037" v="267" actId="20577"/>
          <ac:spMkLst>
            <pc:docMk/>
            <pc:sldMk cId="3175105478" sldId="2147469995"/>
            <ac:spMk id="15" creationId="{56462C3D-6167-40AA-0C1D-696EF175BEF6}"/>
          </ac:spMkLst>
        </pc:spChg>
        <pc:spChg chg="add mod">
          <ac:chgData name="Dawid Janik" userId="S::dawid.janik@upfieldbrands.com::81a947f4-3345-42c0-a461-2bf27ee4639f" providerId="AD" clId="Web-{1E8C26A8-E753-41E8-8AD7-412BF4171A27}" dt="2023-06-07T11:07:02.589" v="308" actId="20577"/>
          <ac:spMkLst>
            <pc:docMk/>
            <pc:sldMk cId="3175105478" sldId="2147469995"/>
            <ac:spMk id="16" creationId="{6720F78B-8479-E834-9C30-174798C51A69}"/>
          </ac:spMkLst>
        </pc:spChg>
        <pc:spChg chg="add mod">
          <ac:chgData name="Dawid Janik" userId="S::dawid.janik@upfieldbrands.com::81a947f4-3345-42c0-a461-2bf27ee4639f" providerId="AD" clId="Web-{1E8C26A8-E753-41E8-8AD7-412BF4171A27}" dt="2023-06-07T11:05:20.758" v="296" actId="1076"/>
          <ac:spMkLst>
            <pc:docMk/>
            <pc:sldMk cId="3175105478" sldId="2147469995"/>
            <ac:spMk id="17" creationId="{08DE14F4-0E3C-16EA-BC2A-28718CB9B354}"/>
          </ac:spMkLst>
        </pc:spChg>
        <pc:graphicFrameChg chg="add del mod modGraphic">
          <ac:chgData name="Dawid Janik" userId="S::dawid.janik@upfieldbrands.com::81a947f4-3345-42c0-a461-2bf27ee4639f" providerId="AD" clId="Web-{1E8C26A8-E753-41E8-8AD7-412BF4171A27}" dt="2023-06-07T10:59:07.949" v="64"/>
          <ac:graphicFrameMkLst>
            <pc:docMk/>
            <pc:sldMk cId="3175105478" sldId="2147469995"/>
            <ac:graphicFrameMk id="10" creationId="{C924BD52-ED65-80E6-BE71-9C3668530B96}"/>
          </ac:graphicFrameMkLst>
        </pc:graphicFrameChg>
        <pc:graphicFrameChg chg="add mod modGraphic">
          <ac:chgData name="Dawid Janik" userId="S::dawid.janik@upfieldbrands.com::81a947f4-3345-42c0-a461-2bf27ee4639f" providerId="AD" clId="Web-{1E8C26A8-E753-41E8-8AD7-412BF4171A27}" dt="2023-06-07T10:59:35.965" v="77"/>
          <ac:graphicFrameMkLst>
            <pc:docMk/>
            <pc:sldMk cId="3175105478" sldId="2147469995"/>
            <ac:graphicFrameMk id="12" creationId="{9EDAD055-7810-4045-744A-3DB4ECC8475F}"/>
          </ac:graphicFrameMkLst>
        </pc:graphicFrameChg>
      </pc:sldChg>
    </pc:docChg>
  </pc:docChgLst>
  <pc:docChgLst>
    <pc:chgData name="Dawid Janik" userId="S::dawid.janik@upfieldbrands.com::81a947f4-3345-42c0-a461-2bf27ee4639f" providerId="AD" clId="Web-{3DAB59CC-BB3E-A1CD-F608-FCFD87603FD8}"/>
    <pc:docChg chg="modSld">
      <pc:chgData name="Dawid Janik" userId="S::dawid.janik@upfieldbrands.com::81a947f4-3345-42c0-a461-2bf27ee4639f" providerId="AD" clId="Web-{3DAB59CC-BB3E-A1CD-F608-FCFD87603FD8}" dt="2023-04-07T07:04:41.747" v="64" actId="14100"/>
      <pc:docMkLst>
        <pc:docMk/>
      </pc:docMkLst>
      <pc:sldChg chg="addSp delSp modSp">
        <pc:chgData name="Dawid Janik" userId="S::dawid.janik@upfieldbrands.com::81a947f4-3345-42c0-a461-2bf27ee4639f" providerId="AD" clId="Web-{3DAB59CC-BB3E-A1CD-F608-FCFD87603FD8}" dt="2023-04-07T07:04:41.747" v="64" actId="14100"/>
        <pc:sldMkLst>
          <pc:docMk/>
          <pc:sldMk cId="3969372951" sldId="2860"/>
        </pc:sldMkLst>
        <pc:spChg chg="mod">
          <ac:chgData name="Dawid Janik" userId="S::dawid.janik@upfieldbrands.com::81a947f4-3345-42c0-a461-2bf27ee4639f" providerId="AD" clId="Web-{3DAB59CC-BB3E-A1CD-F608-FCFD87603FD8}" dt="2023-04-07T06:59:24.871" v="37" actId="20577"/>
          <ac:spMkLst>
            <pc:docMk/>
            <pc:sldMk cId="3969372951" sldId="2860"/>
            <ac:spMk id="3" creationId="{70A29806-3FA9-55EB-A5A4-937C2FBA0C72}"/>
          </ac:spMkLst>
        </pc:spChg>
        <pc:graphicFrameChg chg="add del mod">
          <ac:chgData name="Dawid Janik" userId="S::dawid.janik@upfieldbrands.com::81a947f4-3345-42c0-a461-2bf27ee4639f" providerId="AD" clId="Web-{3DAB59CC-BB3E-A1CD-F608-FCFD87603FD8}" dt="2023-04-07T06:53:54.713" v="3"/>
          <ac:graphicFrameMkLst>
            <pc:docMk/>
            <pc:sldMk cId="3969372951" sldId="2860"/>
            <ac:graphicFrameMk id="5" creationId="{02211EDB-357B-3EBD-8563-829190157A54}"/>
          </ac:graphicFrameMkLst>
        </pc:graphicFrameChg>
        <pc:picChg chg="del">
          <ac:chgData name="Dawid Janik" userId="S::dawid.janik@upfieldbrands.com::81a947f4-3345-42c0-a461-2bf27ee4639f" providerId="AD" clId="Web-{3DAB59CC-BB3E-A1CD-F608-FCFD87603FD8}" dt="2023-04-07T06:53:22.649" v="0"/>
          <ac:picMkLst>
            <pc:docMk/>
            <pc:sldMk cId="3969372951" sldId="2860"/>
            <ac:picMk id="6" creationId="{924E20BA-59B8-E6EB-7E3D-7ED6E70E7AB6}"/>
          </ac:picMkLst>
        </pc:picChg>
        <pc:picChg chg="add del mod">
          <ac:chgData name="Dawid Janik" userId="S::dawid.janik@upfieldbrands.com::81a947f4-3345-42c0-a461-2bf27ee4639f" providerId="AD" clId="Web-{3DAB59CC-BB3E-A1CD-F608-FCFD87603FD8}" dt="2023-04-07T06:54:49.966" v="8"/>
          <ac:picMkLst>
            <pc:docMk/>
            <pc:sldMk cId="3969372951" sldId="2860"/>
            <ac:picMk id="8" creationId="{BFE78013-FFC8-A3CD-1A36-93FFBD4B5748}"/>
          </ac:picMkLst>
        </pc:picChg>
        <pc:picChg chg="add mod">
          <ac:chgData name="Dawid Janik" userId="S::dawid.janik@upfieldbrands.com::81a947f4-3345-42c0-a461-2bf27ee4639f" providerId="AD" clId="Web-{3DAB59CC-BB3E-A1CD-F608-FCFD87603FD8}" dt="2023-04-07T07:04:41.747" v="64" actId="14100"/>
          <ac:picMkLst>
            <pc:docMk/>
            <pc:sldMk cId="3969372951" sldId="2860"/>
            <ac:picMk id="9" creationId="{E737997F-1C12-6C97-9D7F-A8393406089F}"/>
          </ac:picMkLst>
        </pc:picChg>
      </pc:sldChg>
      <pc:sldChg chg="addSp delSp modSp">
        <pc:chgData name="Dawid Janik" userId="S::dawid.janik@upfieldbrands.com::81a947f4-3345-42c0-a461-2bf27ee4639f" providerId="AD" clId="Web-{3DAB59CC-BB3E-A1CD-F608-FCFD87603FD8}" dt="2023-04-07T07:03:22.946" v="63" actId="1076"/>
        <pc:sldMkLst>
          <pc:docMk/>
          <pc:sldMk cId="773440969" sldId="2861"/>
        </pc:sldMkLst>
        <pc:spChg chg="mod">
          <ac:chgData name="Dawid Janik" userId="S::dawid.janik@upfieldbrands.com::81a947f4-3345-42c0-a461-2bf27ee4639f" providerId="AD" clId="Web-{3DAB59CC-BB3E-A1CD-F608-FCFD87603FD8}" dt="2023-04-07T06:59:21.871" v="33" actId="20577"/>
          <ac:spMkLst>
            <pc:docMk/>
            <pc:sldMk cId="773440969" sldId="2861"/>
            <ac:spMk id="2" creationId="{1B444CE3-6913-B191-D3ED-3CC7690DE5CA}"/>
          </ac:spMkLst>
        </pc:spChg>
        <pc:picChg chg="del">
          <ac:chgData name="Dawid Janik" userId="S::dawid.janik@upfieldbrands.com::81a947f4-3345-42c0-a461-2bf27ee4639f" providerId="AD" clId="Web-{3DAB59CC-BB3E-A1CD-F608-FCFD87603FD8}" dt="2023-04-07T06:56:28.299" v="13"/>
          <ac:picMkLst>
            <pc:docMk/>
            <pc:sldMk cId="773440969" sldId="2861"/>
            <ac:picMk id="5" creationId="{B45F6A1E-EE8E-AD41-E7B3-656F602A1B46}"/>
          </ac:picMkLst>
        </pc:picChg>
        <pc:picChg chg="del">
          <ac:chgData name="Dawid Janik" userId="S::dawid.janik@upfieldbrands.com::81a947f4-3345-42c0-a461-2bf27ee4639f" providerId="AD" clId="Web-{3DAB59CC-BB3E-A1CD-F608-FCFD87603FD8}" dt="2023-04-07T06:55:06.732" v="12"/>
          <ac:picMkLst>
            <pc:docMk/>
            <pc:sldMk cId="773440969" sldId="2861"/>
            <ac:picMk id="6" creationId="{55D7B215-A6F4-42D6-6A97-0872D1283D6C}"/>
          </ac:picMkLst>
        </pc:picChg>
        <pc:picChg chg="add del mod">
          <ac:chgData name="Dawid Janik" userId="S::dawid.janik@upfieldbrands.com::81a947f4-3345-42c0-a461-2bf27ee4639f" providerId="AD" clId="Web-{3DAB59CC-BB3E-A1CD-F608-FCFD87603FD8}" dt="2023-04-07T06:57:40.412" v="18"/>
          <ac:picMkLst>
            <pc:docMk/>
            <pc:sldMk cId="773440969" sldId="2861"/>
            <ac:picMk id="7" creationId="{A35B9B4A-4C4F-7E3A-C6F7-BC9D6CF3528A}"/>
          </ac:picMkLst>
        </pc:picChg>
        <pc:picChg chg="add mod">
          <ac:chgData name="Dawid Janik" userId="S::dawid.janik@upfieldbrands.com::81a947f4-3345-42c0-a461-2bf27ee4639f" providerId="AD" clId="Web-{3DAB59CC-BB3E-A1CD-F608-FCFD87603FD8}" dt="2023-04-07T07:03:17.773" v="61" actId="14100"/>
          <ac:picMkLst>
            <pc:docMk/>
            <pc:sldMk cId="773440969" sldId="2861"/>
            <ac:picMk id="8" creationId="{B9615C80-0CFC-CE0B-2498-2A37108D107D}"/>
          </ac:picMkLst>
        </pc:picChg>
        <pc:picChg chg="add mod">
          <ac:chgData name="Dawid Janik" userId="S::dawid.janik@upfieldbrands.com::81a947f4-3345-42c0-a461-2bf27ee4639f" providerId="AD" clId="Web-{3DAB59CC-BB3E-A1CD-F608-FCFD87603FD8}" dt="2023-04-07T07:03:22.946" v="63" actId="1076"/>
          <ac:picMkLst>
            <pc:docMk/>
            <pc:sldMk cId="773440969" sldId="2861"/>
            <ac:picMk id="9" creationId="{664FC15B-7BC2-F331-20CE-778AE8670093}"/>
          </ac:picMkLst>
        </pc:picChg>
        <pc:picChg chg="add mod">
          <ac:chgData name="Dawid Janik" userId="S::dawid.janik@upfieldbrands.com::81a947f4-3345-42c0-a461-2bf27ee4639f" providerId="AD" clId="Web-{3DAB59CC-BB3E-A1CD-F608-FCFD87603FD8}" dt="2023-04-07T07:03:14.414" v="60" actId="14100"/>
          <ac:picMkLst>
            <pc:docMk/>
            <pc:sldMk cId="773440969" sldId="2861"/>
            <ac:picMk id="10" creationId="{33AE2FF3-E6E3-E600-2706-0C35426C7CB1}"/>
          </ac:picMkLst>
        </pc:picChg>
      </pc:sldChg>
      <pc:sldChg chg="addSp delSp modSp">
        <pc:chgData name="Dawid Janik" userId="S::dawid.janik@upfieldbrands.com::81a947f4-3345-42c0-a461-2bf27ee4639f" providerId="AD" clId="Web-{3DAB59CC-BB3E-A1CD-F608-FCFD87603FD8}" dt="2023-04-07T07:01:42.175" v="47" actId="1076"/>
        <pc:sldMkLst>
          <pc:docMk/>
          <pc:sldMk cId="4281873408" sldId="2868"/>
        </pc:sldMkLst>
        <pc:spChg chg="mod">
          <ac:chgData name="Dawid Janik" userId="S::dawid.janik@upfieldbrands.com::81a947f4-3345-42c0-a461-2bf27ee4639f" providerId="AD" clId="Web-{3DAB59CC-BB3E-A1CD-F608-FCFD87603FD8}" dt="2023-04-07T07:01:35.143" v="41" actId="20577"/>
          <ac:spMkLst>
            <pc:docMk/>
            <pc:sldMk cId="4281873408" sldId="2868"/>
            <ac:spMk id="5" creationId="{ABB7EFFD-62DD-FC6E-99E5-79D113FAEAA2}"/>
          </ac:spMkLst>
        </pc:spChg>
        <pc:picChg chg="del">
          <ac:chgData name="Dawid Janik" userId="S::dawid.janik@upfieldbrands.com::81a947f4-3345-42c0-a461-2bf27ee4639f" providerId="AD" clId="Web-{3DAB59CC-BB3E-A1CD-F608-FCFD87603FD8}" dt="2023-04-07T07:01:36.003" v="42"/>
          <ac:picMkLst>
            <pc:docMk/>
            <pc:sldMk cId="4281873408" sldId="2868"/>
            <ac:picMk id="3" creationId="{1019DD5D-B528-DD7D-787B-70237EC2A4A2}"/>
          </ac:picMkLst>
        </pc:picChg>
        <pc:picChg chg="add mod">
          <ac:chgData name="Dawid Janik" userId="S::dawid.janik@upfieldbrands.com::81a947f4-3345-42c0-a461-2bf27ee4639f" providerId="AD" clId="Web-{3DAB59CC-BB3E-A1CD-F608-FCFD87603FD8}" dt="2023-04-07T07:01:42.175" v="47" actId="1076"/>
          <ac:picMkLst>
            <pc:docMk/>
            <pc:sldMk cId="4281873408" sldId="2868"/>
            <ac:picMk id="6" creationId="{36217676-4B8B-18B5-AA3A-CC0E07986321}"/>
          </ac:picMkLst>
        </pc:picChg>
      </pc:sldChg>
      <pc:sldChg chg="addSp delSp modSp">
        <pc:chgData name="Dawid Janik" userId="S::dawid.janik@upfieldbrands.com::81a947f4-3345-42c0-a461-2bf27ee4639f" providerId="AD" clId="Web-{3DAB59CC-BB3E-A1CD-F608-FCFD87603FD8}" dt="2023-04-07T07:02:23.130" v="53" actId="1076"/>
        <pc:sldMkLst>
          <pc:docMk/>
          <pc:sldMk cId="3716441291" sldId="2869"/>
        </pc:sldMkLst>
        <pc:spChg chg="mod">
          <ac:chgData name="Dawid Janik" userId="S::dawid.janik@upfieldbrands.com::81a947f4-3345-42c0-a461-2bf27ee4639f" providerId="AD" clId="Web-{3DAB59CC-BB3E-A1CD-F608-FCFD87603FD8}" dt="2023-04-07T07:01:53.894" v="49" actId="20577"/>
          <ac:spMkLst>
            <pc:docMk/>
            <pc:sldMk cId="3716441291" sldId="2869"/>
            <ac:spMk id="5" creationId="{81607E81-3099-15AA-7538-53CE92E5517B}"/>
          </ac:spMkLst>
        </pc:spChg>
        <pc:picChg chg="add mod">
          <ac:chgData name="Dawid Janik" userId="S::dawid.janik@upfieldbrands.com::81a947f4-3345-42c0-a461-2bf27ee4639f" providerId="AD" clId="Web-{3DAB59CC-BB3E-A1CD-F608-FCFD87603FD8}" dt="2023-04-07T07:02:23.130" v="53" actId="1076"/>
          <ac:picMkLst>
            <pc:docMk/>
            <pc:sldMk cId="3716441291" sldId="2869"/>
            <ac:picMk id="3" creationId="{A8272F24-B00C-FE5D-5CFC-FADBF77DC453}"/>
          </ac:picMkLst>
        </pc:picChg>
        <pc:picChg chg="del">
          <ac:chgData name="Dawid Janik" userId="S::dawid.janik@upfieldbrands.com::81a947f4-3345-42c0-a461-2bf27ee4639f" providerId="AD" clId="Web-{3DAB59CC-BB3E-A1CD-F608-FCFD87603FD8}" dt="2023-04-07T07:01:54.894" v="50"/>
          <ac:picMkLst>
            <pc:docMk/>
            <pc:sldMk cId="3716441291" sldId="2869"/>
            <ac:picMk id="6" creationId="{87A48A7C-2E89-DFC6-2B16-A0FEF00227FF}"/>
          </ac:picMkLst>
        </pc:picChg>
      </pc:sldChg>
      <pc:sldChg chg="addSp delSp modSp">
        <pc:chgData name="Dawid Janik" userId="S::dawid.janik@upfieldbrands.com::81a947f4-3345-42c0-a461-2bf27ee4639f" providerId="AD" clId="Web-{3DAB59CC-BB3E-A1CD-F608-FCFD87603FD8}" dt="2023-04-07T06:59:47.716" v="39" actId="20577"/>
        <pc:sldMkLst>
          <pc:docMk/>
          <pc:sldMk cId="3200011237" sldId="2900"/>
        </pc:sldMkLst>
        <pc:spChg chg="mod">
          <ac:chgData name="Dawid Janik" userId="S::dawid.janik@upfieldbrands.com::81a947f4-3345-42c0-a461-2bf27ee4639f" providerId="AD" clId="Web-{3DAB59CC-BB3E-A1CD-F608-FCFD87603FD8}" dt="2023-04-07T06:59:47.716" v="39" actId="20577"/>
          <ac:spMkLst>
            <pc:docMk/>
            <pc:sldMk cId="3200011237" sldId="2900"/>
            <ac:spMk id="2" creationId="{1B444CE3-6913-B191-D3ED-3CC7690DE5CA}"/>
          </ac:spMkLst>
        </pc:spChg>
        <pc:picChg chg="del">
          <ac:chgData name="Dawid Janik" userId="S::dawid.janik@upfieldbrands.com::81a947f4-3345-42c0-a461-2bf27ee4639f" providerId="AD" clId="Web-{3DAB59CC-BB3E-A1CD-F608-FCFD87603FD8}" dt="2023-04-07T06:58:55.479" v="26"/>
          <ac:picMkLst>
            <pc:docMk/>
            <pc:sldMk cId="3200011237" sldId="2900"/>
            <ac:picMk id="5" creationId="{0696C5E1-858E-BBD9-B0C1-087D9F773DCE}"/>
          </ac:picMkLst>
        </pc:picChg>
        <pc:picChg chg="add mod">
          <ac:chgData name="Dawid Janik" userId="S::dawid.janik@upfieldbrands.com::81a947f4-3345-42c0-a461-2bf27ee4639f" providerId="AD" clId="Web-{3DAB59CC-BB3E-A1CD-F608-FCFD87603FD8}" dt="2023-04-07T06:59:09.792" v="30" actId="1076"/>
          <ac:picMkLst>
            <pc:docMk/>
            <pc:sldMk cId="3200011237" sldId="2900"/>
            <ac:picMk id="6" creationId="{1CC3CCA3-AE69-AE88-698D-6FA8C404A609}"/>
          </ac:picMkLst>
        </pc:picChg>
      </pc:sldChg>
    </pc:docChg>
  </pc:docChgLst>
  <pc:docChgLst>
    <pc:chgData name="Dawid Janik" userId="S::dawid.janik@upfieldbrands.com::81a947f4-3345-42c0-a461-2bf27ee4639f" providerId="AD" clId="Web-{54DC6D4D-3316-4CF1-AEC4-EDB07B84F5FC}"/>
    <pc:docChg chg="addSld modSld">
      <pc:chgData name="Dawid Janik" userId="S::dawid.janik@upfieldbrands.com::81a947f4-3345-42c0-a461-2bf27ee4639f" providerId="AD" clId="Web-{54DC6D4D-3316-4CF1-AEC4-EDB07B84F5FC}" dt="2023-06-07T13:30:40.431" v="101" actId="1076"/>
      <pc:docMkLst>
        <pc:docMk/>
      </pc:docMkLst>
      <pc:sldChg chg="addSp delSp modSp">
        <pc:chgData name="Dawid Janik" userId="S::dawid.janik@upfieldbrands.com::81a947f4-3345-42c0-a461-2bf27ee4639f" providerId="AD" clId="Web-{54DC6D4D-3316-4CF1-AEC4-EDB07B84F5FC}" dt="2023-06-07T13:28:26.326" v="40" actId="1076"/>
        <pc:sldMkLst>
          <pc:docMk/>
          <pc:sldMk cId="1361416781" sldId="2147469996"/>
        </pc:sldMkLst>
        <pc:graphicFrameChg chg="add mod">
          <ac:chgData name="Dawid Janik" userId="S::dawid.janik@upfieldbrands.com::81a947f4-3345-42c0-a461-2bf27ee4639f" providerId="AD" clId="Web-{54DC6D4D-3316-4CF1-AEC4-EDB07B84F5FC}" dt="2023-06-07T13:28:26.326" v="40" actId="1076"/>
          <ac:graphicFrameMkLst>
            <pc:docMk/>
            <pc:sldMk cId="1361416781" sldId="2147469996"/>
            <ac:graphicFrameMk id="2" creationId="{743DA750-E386-391F-38BD-83E748B18AEE}"/>
          </ac:graphicFrameMkLst>
        </pc:graphicFrameChg>
        <pc:graphicFrameChg chg="del">
          <ac:chgData name="Dawid Janik" userId="S::dawid.janik@upfieldbrands.com::81a947f4-3345-42c0-a461-2bf27ee4639f" providerId="AD" clId="Web-{54DC6D4D-3316-4CF1-AEC4-EDB07B84F5FC}" dt="2023-06-07T13:28:14.966" v="38"/>
          <ac:graphicFrameMkLst>
            <pc:docMk/>
            <pc:sldMk cId="1361416781" sldId="2147469996"/>
            <ac:graphicFrameMk id="16" creationId="{743DA750-E386-391F-38BD-83E748B18AEE}"/>
          </ac:graphicFrameMkLst>
        </pc:graphicFrameChg>
      </pc:sldChg>
      <pc:sldChg chg="addSp delSp modSp new">
        <pc:chgData name="Dawid Janik" userId="S::dawid.janik@upfieldbrands.com::81a947f4-3345-42c0-a461-2bf27ee4639f" providerId="AD" clId="Web-{54DC6D4D-3316-4CF1-AEC4-EDB07B84F5FC}" dt="2023-06-07T13:30:40.431" v="101" actId="1076"/>
        <pc:sldMkLst>
          <pc:docMk/>
          <pc:sldMk cId="1556072929" sldId="2147469997"/>
        </pc:sldMkLst>
        <pc:spChg chg="del">
          <ac:chgData name="Dawid Janik" userId="S::dawid.janik@upfieldbrands.com::81a947f4-3345-42c0-a461-2bf27ee4639f" providerId="AD" clId="Web-{54DC6D4D-3316-4CF1-AEC4-EDB07B84F5FC}" dt="2023-06-07T13:20:11.741" v="2"/>
          <ac:spMkLst>
            <pc:docMk/>
            <pc:sldMk cId="1556072929" sldId="2147469997"/>
            <ac:spMk id="2" creationId="{28A15E80-CF26-723B-B55F-28D0206AD740}"/>
          </ac:spMkLst>
        </pc:spChg>
        <pc:spChg chg="del">
          <ac:chgData name="Dawid Janik" userId="S::dawid.janik@upfieldbrands.com::81a947f4-3345-42c0-a461-2bf27ee4639f" providerId="AD" clId="Web-{54DC6D4D-3316-4CF1-AEC4-EDB07B84F5FC}" dt="2023-06-07T13:20:15.053" v="4"/>
          <ac:spMkLst>
            <pc:docMk/>
            <pc:sldMk cId="1556072929" sldId="2147469997"/>
            <ac:spMk id="3" creationId="{A53FCD34-83B5-0023-0F7F-1CF9E947A1A6}"/>
          </ac:spMkLst>
        </pc:spChg>
        <pc:spChg chg="del">
          <ac:chgData name="Dawid Janik" userId="S::dawid.janik@upfieldbrands.com::81a947f4-3345-42c0-a461-2bf27ee4639f" providerId="AD" clId="Web-{54DC6D4D-3316-4CF1-AEC4-EDB07B84F5FC}" dt="2023-06-07T13:20:10.616" v="1"/>
          <ac:spMkLst>
            <pc:docMk/>
            <pc:sldMk cId="1556072929" sldId="2147469997"/>
            <ac:spMk id="5" creationId="{0B7D27FC-3C63-31CC-035A-DCC8869F55CF}"/>
          </ac:spMkLst>
        </pc:spChg>
        <pc:spChg chg="del">
          <ac:chgData name="Dawid Janik" userId="S::dawid.janik@upfieldbrands.com::81a947f4-3345-42c0-a461-2bf27ee4639f" providerId="AD" clId="Web-{54DC6D4D-3316-4CF1-AEC4-EDB07B84F5FC}" dt="2023-06-07T13:20:15.710" v="5"/>
          <ac:spMkLst>
            <pc:docMk/>
            <pc:sldMk cId="1556072929" sldId="2147469997"/>
            <ac:spMk id="6" creationId="{68F0423C-9674-D519-5EED-DDE2BF80F250}"/>
          </ac:spMkLst>
        </pc:spChg>
        <pc:spChg chg="del">
          <ac:chgData name="Dawid Janik" userId="S::dawid.janik@upfieldbrands.com::81a947f4-3345-42c0-a461-2bf27ee4639f" providerId="AD" clId="Web-{54DC6D4D-3316-4CF1-AEC4-EDB07B84F5FC}" dt="2023-06-07T13:20:14.100" v="3"/>
          <ac:spMkLst>
            <pc:docMk/>
            <pc:sldMk cId="1556072929" sldId="2147469997"/>
            <ac:spMk id="7" creationId="{D72163CF-8B82-C96E-2D3B-BA505C27FFC3}"/>
          </ac:spMkLst>
        </pc:spChg>
        <pc:spChg chg="add mod">
          <ac:chgData name="Dawid Janik" userId="S::dawid.janik@upfieldbrands.com::81a947f4-3345-42c0-a461-2bf27ee4639f" providerId="AD" clId="Web-{54DC6D4D-3316-4CF1-AEC4-EDB07B84F5FC}" dt="2023-06-07T13:20:40.665" v="23" actId="1076"/>
          <ac:spMkLst>
            <pc:docMk/>
            <pc:sldMk cId="1556072929" sldId="2147469997"/>
            <ac:spMk id="8" creationId="{938CC91B-808B-EB3A-A57D-784915A5ED0A}"/>
          </ac:spMkLst>
        </pc:spChg>
        <pc:spChg chg="add mod">
          <ac:chgData name="Dawid Janik" userId="S::dawid.janik@upfieldbrands.com::81a947f4-3345-42c0-a461-2bf27ee4639f" providerId="AD" clId="Web-{54DC6D4D-3316-4CF1-AEC4-EDB07B84F5FC}" dt="2023-06-07T13:30:40.431" v="101" actId="1076"/>
          <ac:spMkLst>
            <pc:docMk/>
            <pc:sldMk cId="1556072929" sldId="2147469997"/>
            <ac:spMk id="13" creationId="{EF2030BF-F17A-5C1A-CF2B-B3CE3154F2FE}"/>
          </ac:spMkLst>
        </pc:spChg>
        <pc:graphicFrameChg chg="add del mod modGraphic">
          <ac:chgData name="Dawid Janik" userId="S::dawid.janik@upfieldbrands.com::81a947f4-3345-42c0-a461-2bf27ee4639f" providerId="AD" clId="Web-{54DC6D4D-3316-4CF1-AEC4-EDB07B84F5FC}" dt="2023-06-07T13:29:41.239" v="43"/>
          <ac:graphicFrameMkLst>
            <pc:docMk/>
            <pc:sldMk cId="1556072929" sldId="2147469997"/>
            <ac:graphicFrameMk id="10" creationId="{EE321269-90E5-73D8-13F3-5D588325295F}"/>
          </ac:graphicFrameMkLst>
        </pc:graphicFrameChg>
        <pc:graphicFrameChg chg="add mod modGraphic">
          <ac:chgData name="Dawid Janik" userId="S::dawid.janik@upfieldbrands.com::81a947f4-3345-42c0-a461-2bf27ee4639f" providerId="AD" clId="Web-{54DC6D4D-3316-4CF1-AEC4-EDB07B84F5FC}" dt="2023-06-07T13:30:06.881" v="48" actId="1076"/>
          <ac:graphicFrameMkLst>
            <pc:docMk/>
            <pc:sldMk cId="1556072929" sldId="2147469997"/>
            <ac:graphicFrameMk id="12" creationId="{A9247756-7DED-DB5D-C970-6D7CAEE95029}"/>
          </ac:graphicFrameMkLst>
        </pc:graphicFrameChg>
      </pc:sldChg>
    </pc:docChg>
  </pc:docChgLst>
  <pc:docChgLst>
    <pc:chgData name="Dawid Janik" userId="81a947f4-3345-42c0-a461-2bf27ee4639f" providerId="ADAL" clId="{39B4958F-2A7E-4A5E-A354-A1124CE44183}"/>
    <pc:docChg chg="undo custSel addSld delSld modSld sldOrd">
      <pc:chgData name="Dawid Janik" userId="81a947f4-3345-42c0-a461-2bf27ee4639f" providerId="ADAL" clId="{39B4958F-2A7E-4A5E-A354-A1124CE44183}" dt="2024-10-21T11:14:49.785" v="1075"/>
      <pc:docMkLst>
        <pc:docMk/>
      </pc:docMkLst>
      <pc:sldChg chg="modSp mod">
        <pc:chgData name="Dawid Janik" userId="81a947f4-3345-42c0-a461-2bf27ee4639f" providerId="ADAL" clId="{39B4958F-2A7E-4A5E-A354-A1124CE44183}" dt="2024-10-08T07:58:58.896" v="893" actId="20577"/>
        <pc:sldMkLst>
          <pc:docMk/>
          <pc:sldMk cId="387532369" sldId="262"/>
        </pc:sldMkLst>
        <pc:spChg chg="mod">
          <ac:chgData name="Dawid Janik" userId="81a947f4-3345-42c0-a461-2bf27ee4639f" providerId="ADAL" clId="{39B4958F-2A7E-4A5E-A354-A1124CE44183}" dt="2024-10-08T07:58:58.896" v="893" actId="20577"/>
          <ac:spMkLst>
            <pc:docMk/>
            <pc:sldMk cId="387532369" sldId="262"/>
            <ac:spMk id="2" creationId="{00000000-0000-0000-0000-000000000000}"/>
          </ac:spMkLst>
        </pc:spChg>
      </pc:sldChg>
      <pc:sldChg chg="addSp delSp modSp mod">
        <pc:chgData name="Dawid Janik" userId="81a947f4-3345-42c0-a461-2bf27ee4639f" providerId="ADAL" clId="{39B4958F-2A7E-4A5E-A354-A1124CE44183}" dt="2024-10-08T08:27:06.596" v="919" actId="1076"/>
        <pc:sldMkLst>
          <pc:docMk/>
          <pc:sldMk cId="2461597442" sldId="2147469989"/>
        </pc:sldMkLst>
        <pc:spChg chg="mod">
          <ac:chgData name="Dawid Janik" userId="81a947f4-3345-42c0-a461-2bf27ee4639f" providerId="ADAL" clId="{39B4958F-2A7E-4A5E-A354-A1124CE44183}" dt="2024-10-08T08:00:52.962" v="915" actId="6549"/>
          <ac:spMkLst>
            <pc:docMk/>
            <pc:sldMk cId="2461597442" sldId="2147469989"/>
            <ac:spMk id="2" creationId="{E319CF1B-5ADD-612A-A367-4BA508BA5F23}"/>
          </ac:spMkLst>
        </pc:spChg>
        <pc:spChg chg="mod">
          <ac:chgData name="Dawid Janik" userId="81a947f4-3345-42c0-a461-2bf27ee4639f" providerId="ADAL" clId="{39B4958F-2A7E-4A5E-A354-A1124CE44183}" dt="2024-10-08T07:59:03.799" v="902" actId="20577"/>
          <ac:spMkLst>
            <pc:docMk/>
            <pc:sldMk cId="2461597442" sldId="2147469989"/>
            <ac:spMk id="3" creationId="{909A103A-960B-4112-EBD6-9F2255AE6CE7}"/>
          </ac:spMkLst>
        </pc:spChg>
        <pc:picChg chg="add del mod">
          <ac:chgData name="Dawid Janik" userId="81a947f4-3345-42c0-a461-2bf27ee4639f" providerId="ADAL" clId="{39B4958F-2A7E-4A5E-A354-A1124CE44183}" dt="2024-06-11T10:05:25.182" v="524" actId="478"/>
          <ac:picMkLst>
            <pc:docMk/>
            <pc:sldMk cId="2461597442" sldId="2147469989"/>
            <ac:picMk id="5" creationId="{33D48B5B-74C5-8926-BF0F-93110B726F5E}"/>
          </ac:picMkLst>
        </pc:picChg>
        <pc:picChg chg="add del mod">
          <ac:chgData name="Dawid Janik" userId="81a947f4-3345-42c0-a461-2bf27ee4639f" providerId="ADAL" clId="{39B4958F-2A7E-4A5E-A354-A1124CE44183}" dt="2024-10-08T07:59:20.334" v="907" actId="478"/>
          <ac:picMkLst>
            <pc:docMk/>
            <pc:sldMk cId="2461597442" sldId="2147469989"/>
            <ac:picMk id="5" creationId="{EA308615-7F82-C519-A289-344365F71351}"/>
          </ac:picMkLst>
        </pc:picChg>
        <pc:picChg chg="add del mod">
          <ac:chgData name="Dawid Janik" userId="81a947f4-3345-42c0-a461-2bf27ee4639f" providerId="ADAL" clId="{39B4958F-2A7E-4A5E-A354-A1124CE44183}" dt="2024-10-08T07:59:29.543" v="910" actId="478"/>
          <ac:picMkLst>
            <pc:docMk/>
            <pc:sldMk cId="2461597442" sldId="2147469989"/>
            <ac:picMk id="6" creationId="{6DE0F71A-1AC8-0A22-5F0D-91B31F270522}"/>
          </ac:picMkLst>
        </pc:picChg>
        <pc:picChg chg="add del mod">
          <ac:chgData name="Dawid Janik" userId="81a947f4-3345-42c0-a461-2bf27ee4639f" providerId="ADAL" clId="{39B4958F-2A7E-4A5E-A354-A1124CE44183}" dt="2024-06-11T10:05:58.409" v="538" actId="478"/>
          <ac:picMkLst>
            <pc:docMk/>
            <pc:sldMk cId="2461597442" sldId="2147469989"/>
            <ac:picMk id="6" creationId="{FDD92588-0F69-668A-100D-5AC35EA985FC}"/>
          </ac:picMkLst>
        </pc:picChg>
        <pc:picChg chg="add del mod">
          <ac:chgData name="Dawid Janik" userId="81a947f4-3345-42c0-a461-2bf27ee4639f" providerId="ADAL" clId="{39B4958F-2A7E-4A5E-A354-A1124CE44183}" dt="2024-10-08T08:26:59.559" v="917" actId="478"/>
          <ac:picMkLst>
            <pc:docMk/>
            <pc:sldMk cId="2461597442" sldId="2147469989"/>
            <ac:picMk id="1025" creationId="{74114777-462A-E51C-B05F-B98663651ED9}"/>
          </ac:picMkLst>
        </pc:picChg>
        <pc:picChg chg="add del mod">
          <ac:chgData name="Dawid Janik" userId="81a947f4-3345-42c0-a461-2bf27ee4639f" providerId="ADAL" clId="{39B4958F-2A7E-4A5E-A354-A1124CE44183}" dt="2024-07-17T09:42:32.779" v="776" actId="478"/>
          <ac:picMkLst>
            <pc:docMk/>
            <pc:sldMk cId="2461597442" sldId="2147469989"/>
            <ac:picMk id="1025" creationId="{A2381DB7-12B3-124F-2285-E7FC2DFD7D44}"/>
          </ac:picMkLst>
        </pc:picChg>
        <pc:picChg chg="del">
          <ac:chgData name="Dawid Janik" userId="81a947f4-3345-42c0-a461-2bf27ee4639f" providerId="ADAL" clId="{39B4958F-2A7E-4A5E-A354-A1124CE44183}" dt="2024-05-08T08:54:18.558" v="5" actId="478"/>
          <ac:picMkLst>
            <pc:docMk/>
            <pc:sldMk cId="2461597442" sldId="2147469989"/>
            <ac:picMk id="1025" creationId="{F436B45B-48FD-EB4F-0386-CCB2F3B762DE}"/>
          </ac:picMkLst>
        </pc:picChg>
        <pc:picChg chg="add del mod">
          <ac:chgData name="Dawid Janik" userId="81a947f4-3345-42c0-a461-2bf27ee4639f" providerId="ADAL" clId="{39B4958F-2A7E-4A5E-A354-A1124CE44183}" dt="2024-07-17T09:43:12.484" v="796" actId="478"/>
          <ac:picMkLst>
            <pc:docMk/>
            <pc:sldMk cId="2461597442" sldId="2147469989"/>
            <ac:picMk id="1026" creationId="{121DD7D9-579A-6B6E-0AD5-440858E33082}"/>
          </ac:picMkLst>
        </pc:picChg>
        <pc:picChg chg="del">
          <ac:chgData name="Dawid Janik" userId="81a947f4-3345-42c0-a461-2bf27ee4639f" providerId="ADAL" clId="{39B4958F-2A7E-4A5E-A354-A1124CE44183}" dt="2024-05-08T08:54:20.385" v="6" actId="478"/>
          <ac:picMkLst>
            <pc:docMk/>
            <pc:sldMk cId="2461597442" sldId="2147469989"/>
            <ac:picMk id="1026" creationId="{83AE0A32-96B3-50DE-95B7-688177F1EAE0}"/>
          </ac:picMkLst>
        </pc:picChg>
        <pc:picChg chg="add mod">
          <ac:chgData name="Dawid Janik" userId="81a947f4-3345-42c0-a461-2bf27ee4639f" providerId="ADAL" clId="{39B4958F-2A7E-4A5E-A354-A1124CE44183}" dt="2024-10-08T08:01:09.219" v="916" actId="14100"/>
          <ac:picMkLst>
            <pc:docMk/>
            <pc:sldMk cId="2461597442" sldId="2147469989"/>
            <ac:picMk id="1026" creationId="{BAB8D0E7-1AA6-0D2D-5960-816F18B2F3F8}"/>
          </ac:picMkLst>
        </pc:picChg>
        <pc:picChg chg="add mod">
          <ac:chgData name="Dawid Janik" userId="81a947f4-3345-42c0-a461-2bf27ee4639f" providerId="ADAL" clId="{39B4958F-2A7E-4A5E-A354-A1124CE44183}" dt="2024-10-08T08:27:06.596" v="919" actId="1076"/>
          <ac:picMkLst>
            <pc:docMk/>
            <pc:sldMk cId="2461597442" sldId="2147469989"/>
            <ac:picMk id="1027" creationId="{5685F161-7C24-E985-8F91-BE48E1BBCC36}"/>
          </ac:picMkLst>
        </pc:picChg>
      </pc:sldChg>
      <pc:sldChg chg="addSp delSp modSp mod">
        <pc:chgData name="Dawid Janik" userId="81a947f4-3345-42c0-a461-2bf27ee4639f" providerId="ADAL" clId="{39B4958F-2A7E-4A5E-A354-A1124CE44183}" dt="2024-10-21T11:14:49.785" v="1075"/>
        <pc:sldMkLst>
          <pc:docMk/>
          <pc:sldMk cId="1173544550" sldId="2147469990"/>
        </pc:sldMkLst>
        <pc:spChg chg="mod">
          <ac:chgData name="Dawid Janik" userId="81a947f4-3345-42c0-a461-2bf27ee4639f" providerId="ADAL" clId="{39B4958F-2A7E-4A5E-A354-A1124CE44183}" dt="2024-10-08T08:27:22.313" v="929" actId="20577"/>
          <ac:spMkLst>
            <pc:docMk/>
            <pc:sldMk cId="1173544550" sldId="2147469990"/>
            <ac:spMk id="10" creationId="{C9C6750A-7217-3D84-2204-66C3205C3870}"/>
          </ac:spMkLst>
        </pc:spChg>
        <pc:graphicFrameChg chg="add del mod modGraphic">
          <ac:chgData name="Dawid Janik" userId="81a947f4-3345-42c0-a461-2bf27ee4639f" providerId="ADAL" clId="{39B4958F-2A7E-4A5E-A354-A1124CE44183}" dt="2024-10-08T08:51:05.039" v="930" actId="478"/>
          <ac:graphicFrameMkLst>
            <pc:docMk/>
            <pc:sldMk cId="1173544550" sldId="2147469990"/>
            <ac:graphicFrameMk id="2" creationId="{4FA32484-9819-ECA2-A15E-9469AEDD0BAE}"/>
          </ac:graphicFrameMkLst>
        </pc:graphicFrameChg>
        <pc:graphicFrameChg chg="add del mod modGraphic">
          <ac:chgData name="Dawid Janik" userId="81a947f4-3345-42c0-a461-2bf27ee4639f" providerId="ADAL" clId="{39B4958F-2A7E-4A5E-A354-A1124CE44183}" dt="2024-06-11T10:10:21.453" v="569" actId="478"/>
          <ac:graphicFrameMkLst>
            <pc:docMk/>
            <pc:sldMk cId="1173544550" sldId="2147469990"/>
            <ac:graphicFrameMk id="2" creationId="{731202B5-F144-7C5B-DC8D-96E0D968C119}"/>
          </ac:graphicFrameMkLst>
        </pc:graphicFrameChg>
        <pc:graphicFrameChg chg="add del mod modGraphic">
          <ac:chgData name="Dawid Janik" userId="81a947f4-3345-42c0-a461-2bf27ee4639f" providerId="ADAL" clId="{39B4958F-2A7E-4A5E-A354-A1124CE44183}" dt="2024-06-11T10:11:43.508" v="574" actId="478"/>
          <ac:graphicFrameMkLst>
            <pc:docMk/>
            <pc:sldMk cId="1173544550" sldId="2147469990"/>
            <ac:graphicFrameMk id="3" creationId="{B7BC11F7-9F83-B304-9DB3-BBA37EA9B521}"/>
          </ac:graphicFrameMkLst>
        </pc:graphicFrameChg>
        <pc:graphicFrameChg chg="add del mod modGraphic">
          <ac:chgData name="Dawid Janik" userId="81a947f4-3345-42c0-a461-2bf27ee4639f" providerId="ADAL" clId="{39B4958F-2A7E-4A5E-A354-A1124CE44183}" dt="2024-10-08T08:56:36.388" v="934" actId="478"/>
          <ac:graphicFrameMkLst>
            <pc:docMk/>
            <pc:sldMk cId="1173544550" sldId="2147469990"/>
            <ac:graphicFrameMk id="3" creationId="{C1059B81-153C-5861-5E17-0933FA700779}"/>
          </ac:graphicFrameMkLst>
        </pc:graphicFrameChg>
        <pc:graphicFrameChg chg="add del mod modGraphic">
          <ac:chgData name="Dawid Janik" userId="81a947f4-3345-42c0-a461-2bf27ee4639f" providerId="ADAL" clId="{39B4958F-2A7E-4A5E-A354-A1124CE44183}" dt="2024-07-17T09:45:59.388" v="827" actId="478"/>
          <ac:graphicFrameMkLst>
            <pc:docMk/>
            <pc:sldMk cId="1173544550" sldId="2147469990"/>
            <ac:graphicFrameMk id="5" creationId="{11BE8AF3-9EDB-F639-8DB9-D0F75B241FC1}"/>
          </ac:graphicFrameMkLst>
        </pc:graphicFrameChg>
        <pc:graphicFrameChg chg="add mod modGraphic">
          <ac:chgData name="Dawid Janik" userId="81a947f4-3345-42c0-a461-2bf27ee4639f" providerId="ADAL" clId="{39B4958F-2A7E-4A5E-A354-A1124CE44183}" dt="2024-10-08T09:24:04.960" v="989" actId="20577"/>
          <ac:graphicFrameMkLst>
            <pc:docMk/>
            <pc:sldMk cId="1173544550" sldId="2147469990"/>
            <ac:graphicFrameMk id="5" creationId="{B1D9E5E5-CF84-0BB7-DC22-968B2505FF52}"/>
          </ac:graphicFrameMkLst>
        </pc:graphicFrameChg>
        <pc:graphicFrameChg chg="del modGraphic">
          <ac:chgData name="Dawid Janik" userId="81a947f4-3345-42c0-a461-2bf27ee4639f" providerId="ADAL" clId="{39B4958F-2A7E-4A5E-A354-A1124CE44183}" dt="2024-05-08T09:16:43.792" v="71" actId="478"/>
          <ac:graphicFrameMkLst>
            <pc:docMk/>
            <pc:sldMk cId="1173544550" sldId="2147469990"/>
            <ac:graphicFrameMk id="6" creationId="{76490567-BA8D-86AC-CD97-98ABDE924B91}"/>
          </ac:graphicFrameMkLst>
        </pc:graphicFrameChg>
        <pc:graphicFrameChg chg="add mod modGraphic">
          <ac:chgData name="Dawid Janik" userId="81a947f4-3345-42c0-a461-2bf27ee4639f" providerId="ADAL" clId="{39B4958F-2A7E-4A5E-A354-A1124CE44183}" dt="2024-10-21T11:14:49.785" v="1075"/>
          <ac:graphicFrameMkLst>
            <pc:docMk/>
            <pc:sldMk cId="1173544550" sldId="2147469990"/>
            <ac:graphicFrameMk id="6" creationId="{93EDA5D0-1511-91DF-A853-F470CE97069B}"/>
          </ac:graphicFrameMkLst>
        </pc:graphicFrameChg>
        <pc:graphicFrameChg chg="add del mod modGraphic">
          <ac:chgData name="Dawid Janik" userId="81a947f4-3345-42c0-a461-2bf27ee4639f" providerId="ADAL" clId="{39B4958F-2A7E-4A5E-A354-A1124CE44183}" dt="2024-07-17T09:47:05.409" v="831" actId="478"/>
          <ac:graphicFrameMkLst>
            <pc:docMk/>
            <pc:sldMk cId="1173544550" sldId="2147469990"/>
            <ac:graphicFrameMk id="6" creationId="{AA0DB2D3-E8D0-0B55-298B-A478DFE2601C}"/>
          </ac:graphicFrameMkLst>
        </pc:graphicFrameChg>
        <pc:graphicFrameChg chg="del">
          <ac:chgData name="Dawid Janik" userId="81a947f4-3345-42c0-a461-2bf27ee4639f" providerId="ADAL" clId="{39B4958F-2A7E-4A5E-A354-A1124CE44183}" dt="2024-05-08T09:16:59.970" v="76" actId="478"/>
          <ac:graphicFrameMkLst>
            <pc:docMk/>
            <pc:sldMk cId="1173544550" sldId="2147469990"/>
            <ac:graphicFrameMk id="9" creationId="{F31E5026-53A1-B64B-27C8-1AB64C997684}"/>
          </ac:graphicFrameMkLst>
        </pc:graphicFrameChg>
      </pc:sldChg>
      <pc:sldChg chg="addSp delSp modSp mod">
        <pc:chgData name="Dawid Janik" userId="81a947f4-3345-42c0-a461-2bf27ee4639f" providerId="ADAL" clId="{39B4958F-2A7E-4A5E-A354-A1124CE44183}" dt="2024-10-08T09:11:26.786" v="976" actId="14100"/>
        <pc:sldMkLst>
          <pc:docMk/>
          <pc:sldMk cId="1598440238" sldId="2147469991"/>
        </pc:sldMkLst>
        <pc:spChg chg="mod">
          <ac:chgData name="Dawid Janik" userId="81a947f4-3345-42c0-a461-2bf27ee4639f" providerId="ADAL" clId="{39B4958F-2A7E-4A5E-A354-A1124CE44183}" dt="2024-10-08T09:01:14.696" v="957" actId="20577"/>
          <ac:spMkLst>
            <pc:docMk/>
            <pc:sldMk cId="1598440238" sldId="2147469991"/>
            <ac:spMk id="6" creationId="{B10C311C-EB7C-38C9-8C3C-9D48EE6F303B}"/>
          </ac:spMkLst>
        </pc:spChg>
        <pc:graphicFrameChg chg="add del mod modGraphic">
          <ac:chgData name="Dawid Janik" userId="81a947f4-3345-42c0-a461-2bf27ee4639f" providerId="ADAL" clId="{39B4958F-2A7E-4A5E-A354-A1124CE44183}" dt="2024-10-08T09:10:50.569" v="965" actId="478"/>
          <ac:graphicFrameMkLst>
            <pc:docMk/>
            <pc:sldMk cId="1598440238" sldId="2147469991"/>
            <ac:graphicFrameMk id="2" creationId="{69FEC605-AF92-41F2-B639-DF86F5D82A72}"/>
          </ac:graphicFrameMkLst>
        </pc:graphicFrameChg>
        <pc:graphicFrameChg chg="del modGraphic">
          <ac:chgData name="Dawid Janik" userId="81a947f4-3345-42c0-a461-2bf27ee4639f" providerId="ADAL" clId="{39B4958F-2A7E-4A5E-A354-A1124CE44183}" dt="2024-05-08T09:21:35.381" v="90" actId="478"/>
          <ac:graphicFrameMkLst>
            <pc:docMk/>
            <pc:sldMk cId="1598440238" sldId="2147469991"/>
            <ac:graphicFrameMk id="3" creationId="{049595E9-6D67-10F4-EBA6-324BACA89BB6}"/>
          </ac:graphicFrameMkLst>
        </pc:graphicFrameChg>
        <pc:graphicFrameChg chg="add mod modGraphic">
          <ac:chgData name="Dawid Janik" userId="81a947f4-3345-42c0-a461-2bf27ee4639f" providerId="ADAL" clId="{39B4958F-2A7E-4A5E-A354-A1124CE44183}" dt="2024-10-08T09:11:26.786" v="976" actId="14100"/>
          <ac:graphicFrameMkLst>
            <pc:docMk/>
            <pc:sldMk cId="1598440238" sldId="2147469991"/>
            <ac:graphicFrameMk id="3" creationId="{685939BC-24F6-5A8F-51D8-5F8BE53B8045}"/>
          </ac:graphicFrameMkLst>
        </pc:graphicFrameChg>
        <pc:picChg chg="add del mod">
          <ac:chgData name="Dawid Janik" userId="81a947f4-3345-42c0-a461-2bf27ee4639f" providerId="ADAL" clId="{39B4958F-2A7E-4A5E-A354-A1124CE44183}" dt="2024-07-17T09:48:31.636" v="837" actId="478"/>
          <ac:picMkLst>
            <pc:docMk/>
            <pc:sldMk cId="1598440238" sldId="2147469991"/>
            <ac:picMk id="3" creationId="{A4CB5F88-5832-70BA-3F10-BB9734FF4C84}"/>
          </ac:picMkLst>
        </pc:picChg>
        <pc:picChg chg="add mod">
          <ac:chgData name="Dawid Janik" userId="81a947f4-3345-42c0-a461-2bf27ee4639f" providerId="ADAL" clId="{39B4958F-2A7E-4A5E-A354-A1124CE44183}" dt="2024-10-08T09:11:07.067" v="971" actId="14100"/>
          <ac:picMkLst>
            <pc:docMk/>
            <pc:sldMk cId="1598440238" sldId="2147469991"/>
            <ac:picMk id="5" creationId="{CC947885-A3BA-5AC7-E959-4475154C9C98}"/>
          </ac:picMkLst>
        </pc:picChg>
        <pc:picChg chg="del">
          <ac:chgData name="Dawid Janik" userId="81a947f4-3345-42c0-a461-2bf27ee4639f" providerId="ADAL" clId="{39B4958F-2A7E-4A5E-A354-A1124CE44183}" dt="2024-05-08T09:21:42.737" v="95" actId="478"/>
          <ac:picMkLst>
            <pc:docMk/>
            <pc:sldMk cId="1598440238" sldId="2147469991"/>
            <ac:picMk id="1025" creationId="{FDB7E76F-E89F-7994-AE71-57410E0038FC}"/>
          </ac:picMkLst>
        </pc:picChg>
        <pc:picChg chg="add del mod">
          <ac:chgData name="Dawid Janik" userId="81a947f4-3345-42c0-a461-2bf27ee4639f" providerId="ADAL" clId="{39B4958F-2A7E-4A5E-A354-A1124CE44183}" dt="2024-10-08T09:10:58.190" v="968" actId="478"/>
          <ac:picMkLst>
            <pc:docMk/>
            <pc:sldMk cId="1598440238" sldId="2147469991"/>
            <ac:picMk id="3073" creationId="{93F2162E-FE95-7480-9C03-13BE6D5E21FB}"/>
          </ac:picMkLst>
        </pc:picChg>
        <pc:picChg chg="add del mod">
          <ac:chgData name="Dawid Janik" userId="81a947f4-3345-42c0-a461-2bf27ee4639f" providerId="ADAL" clId="{39B4958F-2A7E-4A5E-A354-A1124CE44183}" dt="2024-06-11T10:14:20.588" v="593" actId="478"/>
          <ac:picMkLst>
            <pc:docMk/>
            <pc:sldMk cId="1598440238" sldId="2147469991"/>
            <ac:picMk id="3073" creationId="{D561864A-DE40-D46F-6547-DD98DDE8E20A}"/>
          </ac:picMkLst>
        </pc:picChg>
      </pc:sldChg>
      <pc:sldChg chg="addSp delSp modSp mod">
        <pc:chgData name="Dawid Janik" userId="81a947f4-3345-42c0-a461-2bf27ee4639f" providerId="ADAL" clId="{39B4958F-2A7E-4A5E-A354-A1124CE44183}" dt="2024-10-08T10:37:38.900" v="997" actId="1076"/>
        <pc:sldMkLst>
          <pc:docMk/>
          <pc:sldMk cId="2735338271" sldId="2147470000"/>
        </pc:sldMkLst>
        <pc:spChg chg="mod">
          <ac:chgData name="Dawid Janik" userId="81a947f4-3345-42c0-a461-2bf27ee4639f" providerId="ADAL" clId="{39B4958F-2A7E-4A5E-A354-A1124CE44183}" dt="2024-10-08T09:17:39.255" v="985" actId="20577"/>
          <ac:spMkLst>
            <pc:docMk/>
            <pc:sldMk cId="2735338271" sldId="2147470000"/>
            <ac:spMk id="6" creationId="{B10C311C-EB7C-38C9-8C3C-9D48EE6F303B}"/>
          </ac:spMkLst>
        </pc:spChg>
        <pc:graphicFrameChg chg="add del mod modGraphic">
          <ac:chgData name="Dawid Janik" userId="81a947f4-3345-42c0-a461-2bf27ee4639f" providerId="ADAL" clId="{39B4958F-2A7E-4A5E-A354-A1124CE44183}" dt="2024-10-08T10:37:25.079" v="990" actId="478"/>
          <ac:graphicFrameMkLst>
            <pc:docMk/>
            <pc:sldMk cId="2735338271" sldId="2147470000"/>
            <ac:graphicFrameMk id="2" creationId="{460BF06F-8C84-6468-83A5-E084FF94954F}"/>
          </ac:graphicFrameMkLst>
        </pc:graphicFrameChg>
        <pc:graphicFrameChg chg="add mod modGraphic">
          <ac:chgData name="Dawid Janik" userId="81a947f4-3345-42c0-a461-2bf27ee4639f" providerId="ADAL" clId="{39B4958F-2A7E-4A5E-A354-A1124CE44183}" dt="2024-10-08T10:37:29.467" v="993" actId="14100"/>
          <ac:graphicFrameMkLst>
            <pc:docMk/>
            <pc:sldMk cId="2735338271" sldId="2147470000"/>
            <ac:graphicFrameMk id="3" creationId="{76CD8E2F-1D1B-BD9D-5124-FA6D660E09F9}"/>
          </ac:graphicFrameMkLst>
        </pc:graphicFrameChg>
        <pc:graphicFrameChg chg="del">
          <ac:chgData name="Dawid Janik" userId="81a947f4-3345-42c0-a461-2bf27ee4639f" providerId="ADAL" clId="{39B4958F-2A7E-4A5E-A354-A1124CE44183}" dt="2024-05-08T09:23:32.349" v="105" actId="478"/>
          <ac:graphicFrameMkLst>
            <pc:docMk/>
            <pc:sldMk cId="2735338271" sldId="2147470000"/>
            <ac:graphicFrameMk id="8" creationId="{663A3792-7723-0AC2-1F3E-7F46BE4FA2C3}"/>
          </ac:graphicFrameMkLst>
        </pc:graphicFrameChg>
        <pc:picChg chg="add del mod">
          <ac:chgData name="Dawid Janik" userId="81a947f4-3345-42c0-a461-2bf27ee4639f" providerId="ADAL" clId="{39B4958F-2A7E-4A5E-A354-A1124CE44183}" dt="2024-07-17T09:49:40.771" v="844" actId="478"/>
          <ac:picMkLst>
            <pc:docMk/>
            <pc:sldMk cId="2735338271" sldId="2147470000"/>
            <ac:picMk id="3" creationId="{E04EBFB5-9FA4-E6A5-FB0A-FEFA27AE98DC}"/>
          </ac:picMkLst>
        </pc:picChg>
        <pc:picChg chg="add mod">
          <ac:chgData name="Dawid Janik" userId="81a947f4-3345-42c0-a461-2bf27ee4639f" providerId="ADAL" clId="{39B4958F-2A7E-4A5E-A354-A1124CE44183}" dt="2024-10-08T10:37:38.900" v="997" actId="1076"/>
          <ac:picMkLst>
            <pc:docMk/>
            <pc:sldMk cId="2735338271" sldId="2147470000"/>
            <ac:picMk id="1025" creationId="{C420CC63-9FCF-5182-E370-9DE8F32CFA2C}"/>
          </ac:picMkLst>
        </pc:picChg>
        <pc:picChg chg="del">
          <ac:chgData name="Dawid Janik" userId="81a947f4-3345-42c0-a461-2bf27ee4639f" providerId="ADAL" clId="{39B4958F-2A7E-4A5E-A354-A1124CE44183}" dt="2024-05-08T09:23:42.303" v="110" actId="478"/>
          <ac:picMkLst>
            <pc:docMk/>
            <pc:sldMk cId="2735338271" sldId="2147470000"/>
            <ac:picMk id="2049" creationId="{55B34F43-1C1C-C790-AA22-F79ED2500CCD}"/>
          </ac:picMkLst>
        </pc:picChg>
        <pc:picChg chg="add del mod">
          <ac:chgData name="Dawid Janik" userId="81a947f4-3345-42c0-a461-2bf27ee4639f" providerId="ADAL" clId="{39B4958F-2A7E-4A5E-A354-A1124CE44183}" dt="2024-06-11T10:23:40.889" v="631" actId="478"/>
          <ac:picMkLst>
            <pc:docMk/>
            <pc:sldMk cId="2735338271" sldId="2147470000"/>
            <ac:picMk id="4097" creationId="{566ED4E9-ECCB-C446-BCCB-98784AA231FD}"/>
          </ac:picMkLst>
        </pc:picChg>
        <pc:picChg chg="add del mod">
          <ac:chgData name="Dawid Janik" userId="81a947f4-3345-42c0-a461-2bf27ee4639f" providerId="ADAL" clId="{39B4958F-2A7E-4A5E-A354-A1124CE44183}" dt="2024-10-08T10:37:31.060" v="994" actId="478"/>
          <ac:picMkLst>
            <pc:docMk/>
            <pc:sldMk cId="2735338271" sldId="2147470000"/>
            <ac:picMk id="4097" creationId="{9752DF6A-B466-0C8E-6E65-8E5CA8143683}"/>
          </ac:picMkLst>
        </pc:picChg>
      </pc:sldChg>
      <pc:sldChg chg="addSp delSp modSp mod">
        <pc:chgData name="Dawid Janik" userId="81a947f4-3345-42c0-a461-2bf27ee4639f" providerId="ADAL" clId="{39B4958F-2A7E-4A5E-A354-A1124CE44183}" dt="2024-10-08T10:39:40.077" v="1020" actId="14734"/>
        <pc:sldMkLst>
          <pc:docMk/>
          <pc:sldMk cId="443538584" sldId="2147470001"/>
        </pc:sldMkLst>
        <pc:spChg chg="mod">
          <ac:chgData name="Dawid Janik" userId="81a947f4-3345-42c0-a461-2bf27ee4639f" providerId="ADAL" clId="{39B4958F-2A7E-4A5E-A354-A1124CE44183}" dt="2024-10-08T10:37:52.568" v="1012" actId="20577"/>
          <ac:spMkLst>
            <pc:docMk/>
            <pc:sldMk cId="443538584" sldId="2147470001"/>
            <ac:spMk id="6" creationId="{B10C311C-EB7C-38C9-8C3C-9D48EE6F303B}"/>
          </ac:spMkLst>
        </pc:spChg>
        <pc:graphicFrameChg chg="add del mod modGraphic">
          <ac:chgData name="Dawid Janik" userId="81a947f4-3345-42c0-a461-2bf27ee4639f" providerId="ADAL" clId="{39B4958F-2A7E-4A5E-A354-A1124CE44183}" dt="2024-10-08T10:39:22.687" v="1013" actId="478"/>
          <ac:graphicFrameMkLst>
            <pc:docMk/>
            <pc:sldMk cId="443538584" sldId="2147470001"/>
            <ac:graphicFrameMk id="2" creationId="{2EF3D656-D735-5E6D-C4A0-1606D4BCEF4E}"/>
          </ac:graphicFrameMkLst>
        </pc:graphicFrameChg>
        <pc:graphicFrameChg chg="add del mod modGraphic">
          <ac:chgData name="Dawid Janik" userId="81a947f4-3345-42c0-a461-2bf27ee4639f" providerId="ADAL" clId="{39B4958F-2A7E-4A5E-A354-A1124CE44183}" dt="2024-06-11T10:25:18.616" v="637" actId="478"/>
          <ac:graphicFrameMkLst>
            <pc:docMk/>
            <pc:sldMk cId="443538584" sldId="2147470001"/>
            <ac:graphicFrameMk id="2" creationId="{EDE260F2-2A99-610C-51CA-DF1BE0E27DC3}"/>
          </ac:graphicFrameMkLst>
        </pc:graphicFrameChg>
        <pc:graphicFrameChg chg="add del mod modGraphic">
          <ac:chgData name="Dawid Janik" userId="81a947f4-3345-42c0-a461-2bf27ee4639f" providerId="ADAL" clId="{39B4958F-2A7E-4A5E-A354-A1124CE44183}" dt="2024-06-11T10:45:58.059" v="692" actId="478"/>
          <ac:graphicFrameMkLst>
            <pc:docMk/>
            <pc:sldMk cId="443538584" sldId="2147470001"/>
            <ac:graphicFrameMk id="3" creationId="{21DE88D8-2372-BB5F-A18D-D6D0034D666C}"/>
          </ac:graphicFrameMkLst>
        </pc:graphicFrameChg>
        <pc:graphicFrameChg chg="add mod modGraphic">
          <ac:chgData name="Dawid Janik" userId="81a947f4-3345-42c0-a461-2bf27ee4639f" providerId="ADAL" clId="{39B4958F-2A7E-4A5E-A354-A1124CE44183}" dt="2024-10-08T10:39:40.077" v="1020" actId="14734"/>
          <ac:graphicFrameMkLst>
            <pc:docMk/>
            <pc:sldMk cId="443538584" sldId="2147470001"/>
            <ac:graphicFrameMk id="3" creationId="{A090D3AA-3C8C-E4EB-DF65-856D9E8A1E89}"/>
          </ac:graphicFrameMkLst>
        </pc:graphicFrameChg>
        <pc:graphicFrameChg chg="add del mod modGraphic">
          <ac:chgData name="Dawid Janik" userId="81a947f4-3345-42c0-a461-2bf27ee4639f" providerId="ADAL" clId="{39B4958F-2A7E-4A5E-A354-A1124CE44183}" dt="2024-07-17T09:52:43.587" v="867" actId="478"/>
          <ac:graphicFrameMkLst>
            <pc:docMk/>
            <pc:sldMk cId="443538584" sldId="2147470001"/>
            <ac:graphicFrameMk id="7" creationId="{A856FA48-ACC6-771B-2132-11470B37B8DA}"/>
          </ac:graphicFrameMkLst>
        </pc:graphicFrameChg>
        <pc:graphicFrameChg chg="del">
          <ac:chgData name="Dawid Janik" userId="81a947f4-3345-42c0-a461-2bf27ee4639f" providerId="ADAL" clId="{39B4958F-2A7E-4A5E-A354-A1124CE44183}" dt="2024-05-08T09:26:03.057" v="121" actId="478"/>
          <ac:graphicFrameMkLst>
            <pc:docMk/>
            <pc:sldMk cId="443538584" sldId="2147470001"/>
            <ac:graphicFrameMk id="9" creationId="{AEDFBF47-2268-A22B-67F7-D5AA0A62D760}"/>
          </ac:graphicFrameMkLst>
        </pc:graphicFrameChg>
        <pc:picChg chg="add del mod">
          <ac:chgData name="Dawid Janik" userId="81a947f4-3345-42c0-a461-2bf27ee4639f" providerId="ADAL" clId="{39B4958F-2A7E-4A5E-A354-A1124CE44183}" dt="2024-06-11T10:46:04.009" v="696" actId="478"/>
          <ac:picMkLst>
            <pc:docMk/>
            <pc:sldMk cId="443538584" sldId="2147470001"/>
            <ac:picMk id="5" creationId="{9F7EC40A-6921-7B40-E7C3-27CC0D9108C7}"/>
          </ac:picMkLst>
        </pc:picChg>
        <pc:picChg chg="add mod">
          <ac:chgData name="Dawid Janik" userId="81a947f4-3345-42c0-a461-2bf27ee4639f" providerId="ADAL" clId="{39B4958F-2A7E-4A5E-A354-A1124CE44183}" dt="2024-10-08T10:39:31.293" v="1018" actId="1076"/>
          <ac:picMkLst>
            <pc:docMk/>
            <pc:sldMk cId="443538584" sldId="2147470001"/>
            <ac:picMk id="2049" creationId="{AC29D168-4C4D-A8BB-1A9E-98D6B09EB757}"/>
          </ac:picMkLst>
        </pc:picChg>
        <pc:picChg chg="del">
          <ac:chgData name="Dawid Janik" userId="81a947f4-3345-42c0-a461-2bf27ee4639f" providerId="ADAL" clId="{39B4958F-2A7E-4A5E-A354-A1124CE44183}" dt="2024-05-08T09:26:09.233" v="125" actId="478"/>
          <ac:picMkLst>
            <pc:docMk/>
            <pc:sldMk cId="443538584" sldId="2147470001"/>
            <ac:picMk id="3073" creationId="{AD40AC45-324E-480B-967F-D6DE0082ECF3}"/>
          </ac:picMkLst>
        </pc:picChg>
        <pc:picChg chg="add del mod">
          <ac:chgData name="Dawid Janik" userId="81a947f4-3345-42c0-a461-2bf27ee4639f" providerId="ADAL" clId="{39B4958F-2A7E-4A5E-A354-A1124CE44183}" dt="2024-06-11T10:25:25" v="641" actId="478"/>
          <ac:picMkLst>
            <pc:docMk/>
            <pc:sldMk cId="443538584" sldId="2147470001"/>
            <ac:picMk id="5121" creationId="{19337D42-7D31-4EB1-FD6F-F25F8860F682}"/>
          </ac:picMkLst>
        </pc:picChg>
        <pc:picChg chg="add del mod">
          <ac:chgData name="Dawid Janik" userId="81a947f4-3345-42c0-a461-2bf27ee4639f" providerId="ADAL" clId="{39B4958F-2A7E-4A5E-A354-A1124CE44183}" dt="2024-10-08T10:39:26.493" v="1016" actId="478"/>
          <ac:picMkLst>
            <pc:docMk/>
            <pc:sldMk cId="443538584" sldId="2147470001"/>
            <ac:picMk id="5121" creationId="{974E9F1B-1413-8EAB-28FA-A97767153875}"/>
          </ac:picMkLst>
        </pc:picChg>
        <pc:picChg chg="add del mod">
          <ac:chgData name="Dawid Janik" userId="81a947f4-3345-42c0-a461-2bf27ee4639f" providerId="ADAL" clId="{39B4958F-2A7E-4A5E-A354-A1124CE44183}" dt="2024-06-11T10:47:14.545" v="707" actId="478"/>
          <ac:picMkLst>
            <pc:docMk/>
            <pc:sldMk cId="443538584" sldId="2147470001"/>
            <ac:picMk id="5122" creationId="{9403AF47-57C2-179E-2E35-5D2F68E2D522}"/>
          </ac:picMkLst>
        </pc:picChg>
        <pc:picChg chg="add del mod">
          <ac:chgData name="Dawid Janik" userId="81a947f4-3345-42c0-a461-2bf27ee4639f" providerId="ADAL" clId="{39B4958F-2A7E-4A5E-A354-A1124CE44183}" dt="2024-07-17T09:52:35.093" v="864" actId="478"/>
          <ac:picMkLst>
            <pc:docMk/>
            <pc:sldMk cId="443538584" sldId="2147470001"/>
            <ac:picMk id="5123" creationId="{E5A4F7C8-9E24-E8DC-0E69-164316AD6399}"/>
          </ac:picMkLst>
        </pc:picChg>
      </pc:sldChg>
      <pc:sldChg chg="addSp delSp modSp mod ord">
        <pc:chgData name="Dawid Janik" userId="81a947f4-3345-42c0-a461-2bf27ee4639f" providerId="ADAL" clId="{39B4958F-2A7E-4A5E-A354-A1124CE44183}" dt="2024-06-12T10:07:20.530" v="766" actId="1076"/>
        <pc:sldMkLst>
          <pc:docMk/>
          <pc:sldMk cId="3703399132" sldId="2147470028"/>
        </pc:sldMkLst>
        <pc:spChg chg="mod">
          <ac:chgData name="Dawid Janik" userId="81a947f4-3345-42c0-a461-2bf27ee4639f" providerId="ADAL" clId="{39B4958F-2A7E-4A5E-A354-A1124CE44183}" dt="2024-06-12T10:07:20.530" v="766" actId="1076"/>
          <ac:spMkLst>
            <pc:docMk/>
            <pc:sldMk cId="3703399132" sldId="2147470028"/>
            <ac:spMk id="3" creationId="{F40A98AE-67EB-C895-3140-C34CE4AC4830}"/>
          </ac:spMkLst>
        </pc:spChg>
        <pc:graphicFrameChg chg="del">
          <ac:chgData name="Dawid Janik" userId="81a947f4-3345-42c0-a461-2bf27ee4639f" providerId="ADAL" clId="{39B4958F-2A7E-4A5E-A354-A1124CE44183}" dt="2024-05-08T11:28:29.293" v="510" actId="478"/>
          <ac:graphicFrameMkLst>
            <pc:docMk/>
            <pc:sldMk cId="3703399132" sldId="2147470028"/>
            <ac:graphicFrameMk id="2" creationId="{A958B0F7-6365-96A8-A4F1-452C0DCE2D85}"/>
          </ac:graphicFrameMkLst>
        </pc:graphicFrameChg>
        <pc:graphicFrameChg chg="add mod modGraphic">
          <ac:chgData name="Dawid Janik" userId="81a947f4-3345-42c0-a461-2bf27ee4639f" providerId="ADAL" clId="{39B4958F-2A7E-4A5E-A354-A1124CE44183}" dt="2024-05-08T11:28:46.094" v="517" actId="14100"/>
          <ac:graphicFrameMkLst>
            <pc:docMk/>
            <pc:sldMk cId="3703399132" sldId="2147470028"/>
            <ac:graphicFrameMk id="5" creationId="{D6C7C91D-A6EC-1CA7-0C50-EC78362543AC}"/>
          </ac:graphicFrameMkLst>
        </pc:graphicFrameChg>
      </pc:sldChg>
      <pc:sldChg chg="addSp delSp modSp mod">
        <pc:chgData name="Dawid Janik" userId="81a947f4-3345-42c0-a461-2bf27ee4639f" providerId="ADAL" clId="{39B4958F-2A7E-4A5E-A354-A1124CE44183}" dt="2024-10-08T11:02:39.115" v="1066" actId="14100"/>
        <pc:sldMkLst>
          <pc:docMk/>
          <pc:sldMk cId="3477982134" sldId="2147470029"/>
        </pc:sldMkLst>
        <pc:graphicFrameChg chg="del">
          <ac:chgData name="Dawid Janik" userId="81a947f4-3345-42c0-a461-2bf27ee4639f" providerId="ADAL" clId="{39B4958F-2A7E-4A5E-A354-A1124CE44183}" dt="2024-05-08T09:58:29.387" v="485" actId="478"/>
          <ac:graphicFrameMkLst>
            <pc:docMk/>
            <pc:sldMk cId="3477982134" sldId="2147470029"/>
            <ac:graphicFrameMk id="2" creationId="{01D6741B-B1E6-2A78-1B56-A17BEFE78FAA}"/>
          </ac:graphicFrameMkLst>
        </pc:graphicFrameChg>
        <pc:graphicFrameChg chg="add del mod modGraphic">
          <ac:chgData name="Dawid Janik" userId="81a947f4-3345-42c0-a461-2bf27ee4639f" providerId="ADAL" clId="{39B4958F-2A7E-4A5E-A354-A1124CE44183}" dt="2024-10-08T11:02:17.042" v="1059" actId="478"/>
          <ac:graphicFrameMkLst>
            <pc:docMk/>
            <pc:sldMk cId="3477982134" sldId="2147470029"/>
            <ac:graphicFrameMk id="2" creationId="{FBCB0350-6BD6-407B-F2D6-EB9A8E28A20E}"/>
          </ac:graphicFrameMkLst>
        </pc:graphicFrameChg>
        <pc:graphicFrameChg chg="add mod">
          <ac:chgData name="Dawid Janik" userId="81a947f4-3345-42c0-a461-2bf27ee4639f" providerId="ADAL" clId="{39B4958F-2A7E-4A5E-A354-A1124CE44183}" dt="2024-10-08T11:02:20.315" v="1061" actId="1076"/>
          <ac:graphicFrameMkLst>
            <pc:docMk/>
            <pc:sldMk cId="3477982134" sldId="2147470029"/>
            <ac:graphicFrameMk id="3" creationId="{82D766BD-68CD-4108-C749-53D8C9B9A8FD}"/>
          </ac:graphicFrameMkLst>
        </pc:graphicFrameChg>
        <pc:graphicFrameChg chg="del">
          <ac:chgData name="Dawid Janik" userId="81a947f4-3345-42c0-a461-2bf27ee4639f" providerId="ADAL" clId="{39B4958F-2A7E-4A5E-A354-A1124CE44183}" dt="2024-05-08T09:58:39.982" v="489" actId="478"/>
          <ac:graphicFrameMkLst>
            <pc:docMk/>
            <pc:sldMk cId="3477982134" sldId="2147470029"/>
            <ac:graphicFrameMk id="3" creationId="{FF4B4743-EBA4-A48D-3FCF-91545FA30D57}"/>
          </ac:graphicFrameMkLst>
        </pc:graphicFrameChg>
        <pc:graphicFrameChg chg="add del mod modGraphic">
          <ac:chgData name="Dawid Janik" userId="81a947f4-3345-42c0-a461-2bf27ee4639f" providerId="ADAL" clId="{39B4958F-2A7E-4A5E-A354-A1124CE44183}" dt="2024-06-12T07:08:36.310" v="741" actId="478"/>
          <ac:graphicFrameMkLst>
            <pc:docMk/>
            <pc:sldMk cId="3477982134" sldId="2147470029"/>
            <ac:graphicFrameMk id="5" creationId="{D1D1FCC0-7F36-8695-60CE-871495D012C6}"/>
          </ac:graphicFrameMkLst>
        </pc:graphicFrameChg>
        <pc:picChg chg="add del mod">
          <ac:chgData name="Dawid Janik" userId="81a947f4-3345-42c0-a461-2bf27ee4639f" providerId="ADAL" clId="{39B4958F-2A7E-4A5E-A354-A1124CE44183}" dt="2024-10-08T11:02:21.406" v="1062" actId="478"/>
          <ac:picMkLst>
            <pc:docMk/>
            <pc:sldMk cId="3477982134" sldId="2147470029"/>
            <ac:picMk id="2049" creationId="{6FFE231B-34E6-89CA-C5AA-BEC5FE4CBA68}"/>
          </ac:picMkLst>
        </pc:picChg>
        <pc:picChg chg="add mod">
          <ac:chgData name="Dawid Janik" userId="81a947f4-3345-42c0-a461-2bf27ee4639f" providerId="ADAL" clId="{39B4958F-2A7E-4A5E-A354-A1124CE44183}" dt="2024-10-08T11:02:39.115" v="1066" actId="14100"/>
          <ac:picMkLst>
            <pc:docMk/>
            <pc:sldMk cId="3477982134" sldId="2147470029"/>
            <ac:picMk id="6145" creationId="{B92D0EA1-4FB8-6A50-AE6C-D26FD9DE07D1}"/>
          </ac:picMkLst>
        </pc:picChg>
        <pc:picChg chg="add del mod">
          <ac:chgData name="Dawid Janik" userId="81a947f4-3345-42c0-a461-2bf27ee4639f" providerId="ADAL" clId="{39B4958F-2A7E-4A5E-A354-A1124CE44183}" dt="2024-06-12T07:08:47.951" v="747" actId="478"/>
          <ac:picMkLst>
            <pc:docMk/>
            <pc:sldMk cId="3477982134" sldId="2147470029"/>
            <ac:picMk id="9217" creationId="{63A33FE6-C353-ED9A-2D28-DC12E52C50FC}"/>
          </ac:picMkLst>
        </pc:picChg>
      </pc:sldChg>
      <pc:sldChg chg="addSp delSp modSp mod">
        <pc:chgData name="Dawid Janik" userId="81a947f4-3345-42c0-a461-2bf27ee4639f" providerId="ADAL" clId="{39B4958F-2A7E-4A5E-A354-A1124CE44183}" dt="2024-10-08T10:52:44.216" v="1058" actId="113"/>
        <pc:sldMkLst>
          <pc:docMk/>
          <pc:sldMk cId="816036159" sldId="2147470030"/>
        </pc:sldMkLst>
        <pc:spChg chg="del mod">
          <ac:chgData name="Dawid Janik" userId="81a947f4-3345-42c0-a461-2bf27ee4639f" providerId="ADAL" clId="{39B4958F-2A7E-4A5E-A354-A1124CE44183}" dt="2024-05-08T09:54:03.061" v="462" actId="478"/>
          <ac:spMkLst>
            <pc:docMk/>
            <pc:sldMk cId="816036159" sldId="2147470030"/>
            <ac:spMk id="3" creationId="{0C91F30B-379A-DA0B-8234-54C74A06C751}"/>
          </ac:spMkLst>
        </pc:spChg>
        <pc:graphicFrameChg chg="del">
          <ac:chgData name="Dawid Janik" userId="81a947f4-3345-42c0-a461-2bf27ee4639f" providerId="ADAL" clId="{39B4958F-2A7E-4A5E-A354-A1124CE44183}" dt="2024-05-08T09:53:44.297" v="455" actId="478"/>
          <ac:graphicFrameMkLst>
            <pc:docMk/>
            <pc:sldMk cId="816036159" sldId="2147470030"/>
            <ac:graphicFrameMk id="2" creationId="{7C544FAA-E715-4E3B-3219-961BCAB9126D}"/>
          </ac:graphicFrameMkLst>
        </pc:graphicFrameChg>
        <pc:graphicFrameChg chg="add del mod modGraphic">
          <ac:chgData name="Dawid Janik" userId="81a947f4-3345-42c0-a461-2bf27ee4639f" providerId="ADAL" clId="{39B4958F-2A7E-4A5E-A354-A1124CE44183}" dt="2024-10-08T10:50:46.427" v="1051" actId="478"/>
          <ac:graphicFrameMkLst>
            <pc:docMk/>
            <pc:sldMk cId="816036159" sldId="2147470030"/>
            <ac:graphicFrameMk id="2" creationId="{BC9631F2-458B-3310-11EB-C34EFB439BB2}"/>
          </ac:graphicFrameMkLst>
        </pc:graphicFrameChg>
        <pc:graphicFrameChg chg="add mod modGraphic">
          <ac:chgData name="Dawid Janik" userId="81a947f4-3345-42c0-a461-2bf27ee4639f" providerId="ADAL" clId="{39B4958F-2A7E-4A5E-A354-A1124CE44183}" dt="2024-10-08T10:52:44.216" v="1058" actId="113"/>
          <ac:graphicFrameMkLst>
            <pc:docMk/>
            <pc:sldMk cId="816036159" sldId="2147470030"/>
            <ac:graphicFrameMk id="3" creationId="{FAFF1F51-0552-338A-B126-999B21E96F4A}"/>
          </ac:graphicFrameMkLst>
        </pc:graphicFrameChg>
        <pc:graphicFrameChg chg="add del mod modGraphic">
          <ac:chgData name="Dawid Janik" userId="81a947f4-3345-42c0-a461-2bf27ee4639f" providerId="ADAL" clId="{39B4958F-2A7E-4A5E-A354-A1124CE44183}" dt="2024-06-12T07:05:46.190" v="717" actId="478"/>
          <ac:graphicFrameMkLst>
            <pc:docMk/>
            <pc:sldMk cId="816036159" sldId="2147470030"/>
            <ac:graphicFrameMk id="5" creationId="{9A65C17E-69A7-5980-DDE9-B254225A0D79}"/>
          </ac:graphicFrameMkLst>
        </pc:graphicFrameChg>
        <pc:picChg chg="add del mod">
          <ac:chgData name="Dawid Janik" userId="81a947f4-3345-42c0-a461-2bf27ee4639f" providerId="ADAL" clId="{39B4958F-2A7E-4A5E-A354-A1124CE44183}" dt="2024-10-08T10:50:47.102" v="1052" actId="478"/>
          <ac:picMkLst>
            <pc:docMk/>
            <pc:sldMk cId="816036159" sldId="2147470030"/>
            <ac:picMk id="1025" creationId="{625A6575-BA06-BE4E-E604-75DA61C42075}"/>
          </ac:picMkLst>
        </pc:picChg>
        <pc:picChg chg="del">
          <ac:chgData name="Dawid Janik" userId="81a947f4-3345-42c0-a461-2bf27ee4639f" providerId="ADAL" clId="{39B4958F-2A7E-4A5E-A354-A1124CE44183}" dt="2024-05-08T09:53:45.001" v="456" actId="478"/>
          <ac:picMkLst>
            <pc:docMk/>
            <pc:sldMk cId="816036159" sldId="2147470030"/>
            <ac:picMk id="5121" creationId="{0767D6A0-446D-919F-DE89-69AA34314017}"/>
          </ac:picMkLst>
        </pc:picChg>
        <pc:picChg chg="add mod">
          <ac:chgData name="Dawid Janik" userId="81a947f4-3345-42c0-a461-2bf27ee4639f" providerId="ADAL" clId="{39B4958F-2A7E-4A5E-A354-A1124CE44183}" dt="2024-10-08T10:52:30.207" v="1057" actId="14100"/>
          <ac:picMkLst>
            <pc:docMk/>
            <pc:sldMk cId="816036159" sldId="2147470030"/>
            <ac:picMk id="5121" creationId="{952E4F0B-B1B0-3557-9512-E67488422E89}"/>
          </ac:picMkLst>
        </pc:picChg>
        <pc:picChg chg="add del mod">
          <ac:chgData name="Dawid Janik" userId="81a947f4-3345-42c0-a461-2bf27ee4639f" providerId="ADAL" clId="{39B4958F-2A7E-4A5E-A354-A1124CE44183}" dt="2024-06-12T07:06:20.827" v="722" actId="478"/>
          <ac:picMkLst>
            <pc:docMk/>
            <pc:sldMk cId="816036159" sldId="2147470030"/>
            <ac:picMk id="8193" creationId="{9A085369-3924-3F41-7192-8E56966779E3}"/>
          </ac:picMkLst>
        </pc:picChg>
      </pc:sldChg>
      <pc:sldChg chg="addSp delSp modSp mod">
        <pc:chgData name="Dawid Janik" userId="81a947f4-3345-42c0-a461-2bf27ee4639f" providerId="ADAL" clId="{39B4958F-2A7E-4A5E-A354-A1124CE44183}" dt="2024-10-08T11:21:36.656" v="1074" actId="14100"/>
        <pc:sldMkLst>
          <pc:docMk/>
          <pc:sldMk cId="3695475983" sldId="2147470031"/>
        </pc:sldMkLst>
        <pc:graphicFrameChg chg="add del mod">
          <ac:chgData name="Dawid Janik" userId="81a947f4-3345-42c0-a461-2bf27ee4639f" providerId="ADAL" clId="{39B4958F-2A7E-4A5E-A354-A1124CE44183}" dt="2024-10-08T11:21:21.781" v="1067" actId="478"/>
          <ac:graphicFrameMkLst>
            <pc:docMk/>
            <pc:sldMk cId="3695475983" sldId="2147470031"/>
            <ac:graphicFrameMk id="2" creationId="{C333C430-8A0A-8405-C5A9-665FC106E988}"/>
          </ac:graphicFrameMkLst>
        </pc:graphicFrameChg>
        <pc:graphicFrameChg chg="del">
          <ac:chgData name="Dawid Janik" userId="81a947f4-3345-42c0-a461-2bf27ee4639f" providerId="ADAL" clId="{39B4958F-2A7E-4A5E-A354-A1124CE44183}" dt="2024-05-08T10:04:18.826" v="498" actId="478"/>
          <ac:graphicFrameMkLst>
            <pc:docMk/>
            <pc:sldMk cId="3695475983" sldId="2147470031"/>
            <ac:graphicFrameMk id="2" creationId="{EA036B69-FC4C-913D-1982-B5AF95941206}"/>
          </ac:graphicFrameMkLst>
        </pc:graphicFrameChg>
        <pc:graphicFrameChg chg="del mod">
          <ac:chgData name="Dawid Janik" userId="81a947f4-3345-42c0-a461-2bf27ee4639f" providerId="ADAL" clId="{39B4958F-2A7E-4A5E-A354-A1124CE44183}" dt="2024-05-08T10:04:29.839" v="503" actId="478"/>
          <ac:graphicFrameMkLst>
            <pc:docMk/>
            <pc:sldMk cId="3695475983" sldId="2147470031"/>
            <ac:graphicFrameMk id="3" creationId="{8BB7BF63-4FB7-4F37-3DDF-A079CBE5873E}"/>
          </ac:graphicFrameMkLst>
        </pc:graphicFrameChg>
        <pc:graphicFrameChg chg="add mod">
          <ac:chgData name="Dawid Janik" userId="81a947f4-3345-42c0-a461-2bf27ee4639f" providerId="ADAL" clId="{39B4958F-2A7E-4A5E-A354-A1124CE44183}" dt="2024-10-08T11:21:28.613" v="1070" actId="1076"/>
          <ac:graphicFrameMkLst>
            <pc:docMk/>
            <pc:sldMk cId="3695475983" sldId="2147470031"/>
            <ac:graphicFrameMk id="3" creationId="{E162F2B0-AABB-193A-EDF2-35CEF1800EC6}"/>
          </ac:graphicFrameMkLst>
        </pc:graphicFrameChg>
        <pc:graphicFrameChg chg="add del mod modGraphic">
          <ac:chgData name="Dawid Janik" userId="81a947f4-3345-42c0-a461-2bf27ee4639f" providerId="ADAL" clId="{39B4958F-2A7E-4A5E-A354-A1124CE44183}" dt="2024-06-12T07:13:26.620" v="754" actId="478"/>
          <ac:graphicFrameMkLst>
            <pc:docMk/>
            <pc:sldMk cId="3695475983" sldId="2147470031"/>
            <ac:graphicFrameMk id="5" creationId="{2BD48309-B7E4-E780-DFEE-3F4ED6A450F0}"/>
          </ac:graphicFrameMkLst>
        </pc:graphicFrameChg>
        <pc:picChg chg="add mod">
          <ac:chgData name="Dawid Janik" userId="81a947f4-3345-42c0-a461-2bf27ee4639f" providerId="ADAL" clId="{39B4958F-2A7E-4A5E-A354-A1124CE44183}" dt="2024-10-08T11:21:36.656" v="1074" actId="14100"/>
          <ac:picMkLst>
            <pc:docMk/>
            <pc:sldMk cId="3695475983" sldId="2147470031"/>
            <ac:picMk id="1025" creationId="{FD595A7C-E7A2-A1EF-7525-16918AC810CB}"/>
          </ac:picMkLst>
        </pc:picChg>
        <pc:picChg chg="add del mod">
          <ac:chgData name="Dawid Janik" userId="81a947f4-3345-42c0-a461-2bf27ee4639f" providerId="ADAL" clId="{39B4958F-2A7E-4A5E-A354-A1124CE44183}" dt="2024-10-08T11:21:29.742" v="1071" actId="478"/>
          <ac:picMkLst>
            <pc:docMk/>
            <pc:sldMk cId="3695475983" sldId="2147470031"/>
            <ac:picMk id="3073" creationId="{E9E3CE32-E050-8A14-5FFC-BABEC3A2C574}"/>
          </ac:picMkLst>
        </pc:picChg>
        <pc:picChg chg="add del mod">
          <ac:chgData name="Dawid Janik" userId="81a947f4-3345-42c0-a461-2bf27ee4639f" providerId="ADAL" clId="{39B4958F-2A7E-4A5E-A354-A1124CE44183}" dt="2024-06-12T07:13:24.200" v="753" actId="478"/>
          <ac:picMkLst>
            <pc:docMk/>
            <pc:sldMk cId="3695475983" sldId="2147470031"/>
            <ac:picMk id="10241" creationId="{0EF5B74F-77CA-04EB-6776-BC59EE3E1FA3}"/>
          </ac:picMkLst>
        </pc:picChg>
      </pc:sldChg>
      <pc:sldChg chg="addSp delSp modSp mod">
        <pc:chgData name="Dawid Janik" userId="81a947f4-3345-42c0-a461-2bf27ee4639f" providerId="ADAL" clId="{39B4958F-2A7E-4A5E-A354-A1124CE44183}" dt="2024-10-08T10:43:33.627" v="1034" actId="113"/>
        <pc:sldMkLst>
          <pc:docMk/>
          <pc:sldMk cId="1813020924" sldId="2147470034"/>
        </pc:sldMkLst>
        <pc:spChg chg="add mod">
          <ac:chgData name="Dawid Janik" userId="81a947f4-3345-42c0-a461-2bf27ee4639f" providerId="ADAL" clId="{39B4958F-2A7E-4A5E-A354-A1124CE44183}" dt="2024-10-08T10:43:07.646" v="1026" actId="20577"/>
          <ac:spMkLst>
            <pc:docMk/>
            <pc:sldMk cId="1813020924" sldId="2147470034"/>
            <ac:spMk id="3" creationId="{FC6750C4-6417-1CC6-FEA2-B8D0C8465BB6}"/>
          </ac:spMkLst>
        </pc:spChg>
        <pc:spChg chg="add del mod">
          <ac:chgData name="Dawid Janik" userId="81a947f4-3345-42c0-a461-2bf27ee4639f" providerId="ADAL" clId="{39B4958F-2A7E-4A5E-A354-A1124CE44183}" dt="2024-10-08T10:43:08.172" v="1028"/>
          <ac:spMkLst>
            <pc:docMk/>
            <pc:sldMk cId="1813020924" sldId="2147470034"/>
            <ac:spMk id="5" creationId="{8E1AA6BC-8F10-F505-73F6-A7291CB6272A}"/>
          </ac:spMkLst>
        </pc:spChg>
        <pc:graphicFrameChg chg="add mod modGraphic">
          <ac:chgData name="Dawid Janik" userId="81a947f4-3345-42c0-a461-2bf27ee4639f" providerId="ADAL" clId="{39B4958F-2A7E-4A5E-A354-A1124CE44183}" dt="2024-10-08T10:43:33.627" v="1034" actId="113"/>
          <ac:graphicFrameMkLst>
            <pc:docMk/>
            <pc:sldMk cId="1813020924" sldId="2147470034"/>
            <ac:graphicFrameMk id="2" creationId="{C29BE06A-FAAB-E2C6-B03C-459FC04EDC75}"/>
          </ac:graphicFrameMkLst>
        </pc:graphicFrameChg>
        <pc:graphicFrameChg chg="add del mod modGraphic">
          <ac:chgData name="Dawid Janik" userId="81a947f4-3345-42c0-a461-2bf27ee4639f" providerId="ADAL" clId="{39B4958F-2A7E-4A5E-A354-A1124CE44183}" dt="2024-06-11T10:32:20.973" v="654" actId="478"/>
          <ac:graphicFrameMkLst>
            <pc:docMk/>
            <pc:sldMk cId="1813020924" sldId="2147470034"/>
            <ac:graphicFrameMk id="2" creationId="{FA6B14BD-92B5-1E05-C137-BD290385BA68}"/>
          </ac:graphicFrameMkLst>
        </pc:graphicFrameChg>
        <pc:graphicFrameChg chg="add del mod modGraphic">
          <ac:chgData name="Dawid Janik" userId="81a947f4-3345-42c0-a461-2bf27ee4639f" providerId="ADAL" clId="{39B4958F-2A7E-4A5E-A354-A1124CE44183}" dt="2024-10-08T10:42:51.073" v="1021" actId="478"/>
          <ac:graphicFrameMkLst>
            <pc:docMk/>
            <pc:sldMk cId="1813020924" sldId="2147470034"/>
            <ac:graphicFrameMk id="6" creationId="{A6B8560F-D034-8BB6-61A2-254F20203FFD}"/>
          </ac:graphicFrameMkLst>
        </pc:graphicFrameChg>
        <pc:graphicFrameChg chg="del">
          <ac:chgData name="Dawid Janik" userId="81a947f4-3345-42c0-a461-2bf27ee4639f" providerId="ADAL" clId="{39B4958F-2A7E-4A5E-A354-A1124CE44183}" dt="2024-05-08T09:28:36.442" v="129" actId="478"/>
          <ac:graphicFrameMkLst>
            <pc:docMk/>
            <pc:sldMk cId="1813020924" sldId="2147470034"/>
            <ac:graphicFrameMk id="9" creationId="{2B756AB5-2207-3730-E70C-7856A9CEE45A}"/>
          </ac:graphicFrameMkLst>
        </pc:graphicFrameChg>
        <pc:picChg chg="add del mod">
          <ac:chgData name="Dawid Janik" userId="81a947f4-3345-42c0-a461-2bf27ee4639f" providerId="ADAL" clId="{39B4958F-2A7E-4A5E-A354-A1124CE44183}" dt="2024-10-08T10:43:11.902" v="1030" actId="478"/>
          <ac:picMkLst>
            <pc:docMk/>
            <pc:sldMk cId="1813020924" sldId="2147470034"/>
            <ac:picMk id="7" creationId="{EE33D0E0-AB08-6F94-B094-8CE0A061002E}"/>
          </ac:picMkLst>
        </pc:picChg>
        <pc:picChg chg="add mod">
          <ac:chgData name="Dawid Janik" userId="81a947f4-3345-42c0-a461-2bf27ee4639f" providerId="ADAL" clId="{39B4958F-2A7E-4A5E-A354-A1124CE44183}" dt="2024-10-08T10:43:20.123" v="1033" actId="14100"/>
          <ac:picMkLst>
            <pc:docMk/>
            <pc:sldMk cId="1813020924" sldId="2147470034"/>
            <ac:picMk id="3073" creationId="{4FA25F69-0AAB-6034-5A7F-38CC1323D31A}"/>
          </ac:picMkLst>
        </pc:picChg>
        <pc:picChg chg="del mod">
          <ac:chgData name="Dawid Janik" userId="81a947f4-3345-42c0-a461-2bf27ee4639f" providerId="ADAL" clId="{39B4958F-2A7E-4A5E-A354-A1124CE44183}" dt="2024-05-08T09:28:48.113" v="135" actId="478"/>
          <ac:picMkLst>
            <pc:docMk/>
            <pc:sldMk cId="1813020924" sldId="2147470034"/>
            <ac:picMk id="4097" creationId="{5AAF9602-4A52-F42B-4C7F-10FCD81F9841}"/>
          </ac:picMkLst>
        </pc:picChg>
        <pc:picChg chg="add del mod">
          <ac:chgData name="Dawid Janik" userId="81a947f4-3345-42c0-a461-2bf27ee4639f" providerId="ADAL" clId="{39B4958F-2A7E-4A5E-A354-A1124CE44183}" dt="2024-06-11T10:32:29.828" v="657" actId="478"/>
          <ac:picMkLst>
            <pc:docMk/>
            <pc:sldMk cId="1813020924" sldId="2147470034"/>
            <ac:picMk id="6145" creationId="{304870CD-D450-A074-ED8F-A91DB579A423}"/>
          </ac:picMkLst>
        </pc:picChg>
      </pc:sldChg>
      <pc:sldChg chg="addSp delSp modSp mod">
        <pc:chgData name="Dawid Janik" userId="81a947f4-3345-42c0-a461-2bf27ee4639f" providerId="ADAL" clId="{39B4958F-2A7E-4A5E-A354-A1124CE44183}" dt="2024-10-08T10:46:12.916" v="1050" actId="14100"/>
        <pc:sldMkLst>
          <pc:docMk/>
          <pc:sldMk cId="3501218010" sldId="2147470035"/>
        </pc:sldMkLst>
        <pc:spChg chg="mod">
          <ac:chgData name="Dawid Janik" userId="81a947f4-3345-42c0-a461-2bf27ee4639f" providerId="ADAL" clId="{39B4958F-2A7E-4A5E-A354-A1124CE44183}" dt="2024-10-08T10:44:53.423" v="1043" actId="20577"/>
          <ac:spMkLst>
            <pc:docMk/>
            <pc:sldMk cId="3501218010" sldId="2147470035"/>
            <ac:spMk id="11" creationId="{893A44EC-6782-6284-4B75-618C10063730}"/>
          </ac:spMkLst>
        </pc:spChg>
        <pc:graphicFrameChg chg="add del mod">
          <ac:chgData name="Dawid Janik" userId="81a947f4-3345-42c0-a461-2bf27ee4639f" providerId="ADAL" clId="{39B4958F-2A7E-4A5E-A354-A1124CE44183}" dt="2024-10-08T10:45:52.531" v="1044" actId="478"/>
          <ac:graphicFrameMkLst>
            <pc:docMk/>
            <pc:sldMk cId="3501218010" sldId="2147470035"/>
            <ac:graphicFrameMk id="2" creationId="{B1C73990-DE6E-850C-8550-E8C9F5078CAF}"/>
          </ac:graphicFrameMkLst>
        </pc:graphicFrameChg>
        <pc:graphicFrameChg chg="add mod">
          <ac:chgData name="Dawid Janik" userId="81a947f4-3345-42c0-a461-2bf27ee4639f" providerId="ADAL" clId="{39B4958F-2A7E-4A5E-A354-A1124CE44183}" dt="2024-10-08T10:45:59.756" v="1046" actId="1076"/>
          <ac:graphicFrameMkLst>
            <pc:docMk/>
            <pc:sldMk cId="3501218010" sldId="2147470035"/>
            <ac:graphicFrameMk id="3" creationId="{CA83F9FB-D3C2-F948-51D3-78609FD37AA2}"/>
          </ac:graphicFrameMkLst>
        </pc:graphicFrameChg>
        <pc:graphicFrameChg chg="del">
          <ac:chgData name="Dawid Janik" userId="81a947f4-3345-42c0-a461-2bf27ee4639f" providerId="ADAL" clId="{39B4958F-2A7E-4A5E-A354-A1124CE44183}" dt="2024-06-11T10:46:41.590" v="704" actId="478"/>
          <ac:graphicFrameMkLst>
            <pc:docMk/>
            <pc:sldMk cId="3501218010" sldId="2147470035"/>
            <ac:graphicFrameMk id="9" creationId="{764C0EBF-C41C-98E2-EE19-13BC9907DD70}"/>
          </ac:graphicFrameMkLst>
        </pc:graphicFrameChg>
        <pc:graphicFrameChg chg="del">
          <ac:chgData name="Dawid Janik" userId="81a947f4-3345-42c0-a461-2bf27ee4639f" providerId="ADAL" clId="{39B4958F-2A7E-4A5E-A354-A1124CE44183}" dt="2024-06-11T10:47:42.280" v="714" actId="478"/>
          <ac:graphicFrameMkLst>
            <pc:docMk/>
            <pc:sldMk cId="3501218010" sldId="2147470035"/>
            <ac:graphicFrameMk id="12" creationId="{DE14E2B0-2E28-BC18-64EA-78885DE2DF44}"/>
          </ac:graphicFrameMkLst>
        </pc:graphicFrameChg>
        <pc:picChg chg="add mod">
          <ac:chgData name="Dawid Janik" userId="81a947f4-3345-42c0-a461-2bf27ee4639f" providerId="ADAL" clId="{39B4958F-2A7E-4A5E-A354-A1124CE44183}" dt="2024-10-08T10:46:12.916" v="1050" actId="14100"/>
          <ac:picMkLst>
            <pc:docMk/>
            <pc:sldMk cId="3501218010" sldId="2147470035"/>
            <ac:picMk id="4097" creationId="{CD25268C-A2A0-58C7-67D9-2C19370A1BE8}"/>
          </ac:picMkLst>
        </pc:picChg>
        <pc:picChg chg="add del mod">
          <ac:chgData name="Dawid Janik" userId="81a947f4-3345-42c0-a461-2bf27ee4639f" providerId="ADAL" clId="{39B4958F-2A7E-4A5E-A354-A1124CE44183}" dt="2024-10-08T10:46:01.446" v="1047" actId="478"/>
          <ac:picMkLst>
            <pc:docMk/>
            <pc:sldMk cId="3501218010" sldId="2147470035"/>
            <ac:picMk id="7169" creationId="{37A6CFD8-FB25-7641-25A7-10A32FB5C02E}"/>
          </ac:picMkLst>
        </pc:picChg>
      </pc:sldChg>
      <pc:sldChg chg="add del">
        <pc:chgData name="Dawid Janik" userId="81a947f4-3345-42c0-a461-2bf27ee4639f" providerId="ADAL" clId="{39B4958F-2A7E-4A5E-A354-A1124CE44183}" dt="2024-10-08T10:44:04.389" v="1036" actId="47"/>
        <pc:sldMkLst>
          <pc:docMk/>
          <pc:sldMk cId="392291355" sldId="2147470036"/>
        </pc:sldMkLst>
      </pc:sldChg>
      <pc:sldChg chg="delSp new del mod">
        <pc:chgData name="Dawid Janik" userId="81a947f4-3345-42c0-a461-2bf27ee4639f" providerId="ADAL" clId="{39B4958F-2A7E-4A5E-A354-A1124CE44183}" dt="2024-05-08T09:44:47.947" v="430" actId="47"/>
        <pc:sldMkLst>
          <pc:docMk/>
          <pc:sldMk cId="2515646413" sldId="2147470037"/>
        </pc:sldMkLst>
        <pc:spChg chg="del">
          <ac:chgData name="Dawid Janik" userId="81a947f4-3345-42c0-a461-2bf27ee4639f" providerId="ADAL" clId="{39B4958F-2A7E-4A5E-A354-A1124CE44183}" dt="2024-05-08T09:44:42.445" v="425" actId="478"/>
          <ac:spMkLst>
            <pc:docMk/>
            <pc:sldMk cId="2515646413" sldId="2147470037"/>
            <ac:spMk id="2" creationId="{2ACC434D-7C76-C47C-A265-E449F7BC47D8}"/>
          </ac:spMkLst>
        </pc:spChg>
        <pc:spChg chg="del">
          <ac:chgData name="Dawid Janik" userId="81a947f4-3345-42c0-a461-2bf27ee4639f" providerId="ADAL" clId="{39B4958F-2A7E-4A5E-A354-A1124CE44183}" dt="2024-05-08T09:44:43.865" v="427" actId="478"/>
          <ac:spMkLst>
            <pc:docMk/>
            <pc:sldMk cId="2515646413" sldId="2147470037"/>
            <ac:spMk id="3" creationId="{51DAC1EF-7505-4811-9EBA-AE4AA0A5B3C4}"/>
          </ac:spMkLst>
        </pc:spChg>
        <pc:spChg chg="del">
          <ac:chgData name="Dawid Janik" userId="81a947f4-3345-42c0-a461-2bf27ee4639f" providerId="ADAL" clId="{39B4958F-2A7E-4A5E-A354-A1124CE44183}" dt="2024-05-08T09:44:41.610" v="424" actId="478"/>
          <ac:spMkLst>
            <pc:docMk/>
            <pc:sldMk cId="2515646413" sldId="2147470037"/>
            <ac:spMk id="5" creationId="{71D5490A-7AF0-D0B9-6128-0D599AABD4CF}"/>
          </ac:spMkLst>
        </pc:spChg>
        <pc:spChg chg="del">
          <ac:chgData name="Dawid Janik" userId="81a947f4-3345-42c0-a461-2bf27ee4639f" providerId="ADAL" clId="{39B4958F-2A7E-4A5E-A354-A1124CE44183}" dt="2024-05-08T09:44:43.116" v="426" actId="478"/>
          <ac:spMkLst>
            <pc:docMk/>
            <pc:sldMk cId="2515646413" sldId="2147470037"/>
            <ac:spMk id="6" creationId="{76F82721-F597-7328-CD59-23480CFD6C8F}"/>
          </ac:spMkLst>
        </pc:spChg>
        <pc:spChg chg="del">
          <ac:chgData name="Dawid Janik" userId="81a947f4-3345-42c0-a461-2bf27ee4639f" providerId="ADAL" clId="{39B4958F-2A7E-4A5E-A354-A1124CE44183}" dt="2024-05-08T09:44:44.498" v="428" actId="478"/>
          <ac:spMkLst>
            <pc:docMk/>
            <pc:sldMk cId="2515646413" sldId="2147470037"/>
            <ac:spMk id="7" creationId="{52BBECD7-CBA2-99EB-5230-6217812E521D}"/>
          </ac:spMkLst>
        </pc:spChg>
      </pc:sldChg>
      <pc:sldChg chg="addSp delSp modSp add mod">
        <pc:chgData name="Dawid Janik" userId="81a947f4-3345-42c0-a461-2bf27ee4639f" providerId="ADAL" clId="{39B4958F-2A7E-4A5E-A354-A1124CE44183}" dt="2024-05-08T09:47:00.813" v="454" actId="1076"/>
        <pc:sldMkLst>
          <pc:docMk/>
          <pc:sldMk cId="3857079867" sldId="2147470038"/>
        </pc:sldMkLst>
        <pc:spChg chg="mod">
          <ac:chgData name="Dawid Janik" userId="81a947f4-3345-42c0-a461-2bf27ee4639f" providerId="ADAL" clId="{39B4958F-2A7E-4A5E-A354-A1124CE44183}" dt="2024-05-08T09:44:53.488" v="438" actId="20577"/>
          <ac:spMkLst>
            <pc:docMk/>
            <pc:sldMk cId="3857079867" sldId="2147470038"/>
            <ac:spMk id="10" creationId="{DC8AF736-7D3E-2B8F-7991-AD63E3CF0DE5}"/>
          </ac:spMkLst>
        </pc:spChg>
        <pc:spChg chg="del mod">
          <ac:chgData name="Dawid Janik" userId="81a947f4-3345-42c0-a461-2bf27ee4639f" providerId="ADAL" clId="{39B4958F-2A7E-4A5E-A354-A1124CE44183}" dt="2024-05-08T09:45:00.694" v="442" actId="478"/>
          <ac:spMkLst>
            <pc:docMk/>
            <pc:sldMk cId="3857079867" sldId="2147470038"/>
            <ac:spMk id="11" creationId="{893A44EC-6782-6284-4B75-618C10063730}"/>
          </ac:spMkLst>
        </pc:spChg>
        <pc:graphicFrameChg chg="add mod">
          <ac:chgData name="Dawid Janik" userId="81a947f4-3345-42c0-a461-2bf27ee4639f" providerId="ADAL" clId="{39B4958F-2A7E-4A5E-A354-A1124CE44183}" dt="2024-05-08T09:47:00.813" v="454" actId="1076"/>
          <ac:graphicFrameMkLst>
            <pc:docMk/>
            <pc:sldMk cId="3857079867" sldId="2147470038"/>
            <ac:graphicFrameMk id="2" creationId="{DB0D878B-5A0E-43B8-F78B-A35926E58E82}"/>
          </ac:graphicFrameMkLst>
        </pc:graphicFrameChg>
        <pc:graphicFrameChg chg="add del mod">
          <ac:chgData name="Dawid Janik" userId="81a947f4-3345-42c0-a461-2bf27ee4639f" providerId="ADAL" clId="{39B4958F-2A7E-4A5E-A354-A1124CE44183}" dt="2024-05-08T09:46:42.137" v="447" actId="478"/>
          <ac:graphicFrameMkLst>
            <pc:docMk/>
            <pc:sldMk cId="3857079867" sldId="2147470038"/>
            <ac:graphicFrameMk id="3" creationId="{DB0D878B-5A0E-43B8-F78B-A35926E58E82}"/>
          </ac:graphicFrameMkLst>
        </pc:graphicFrameChg>
        <pc:graphicFrameChg chg="add mod modGraphic">
          <ac:chgData name="Dawid Janik" userId="81a947f4-3345-42c0-a461-2bf27ee4639f" providerId="ADAL" clId="{39B4958F-2A7E-4A5E-A354-A1124CE44183}" dt="2024-05-08T09:46:58.139" v="453" actId="14100"/>
          <ac:graphicFrameMkLst>
            <pc:docMk/>
            <pc:sldMk cId="3857079867" sldId="2147470038"/>
            <ac:graphicFrameMk id="5" creationId="{C34A2973-99FA-12B4-841D-92ACA754C837}"/>
          </ac:graphicFrameMkLst>
        </pc:graphicFrameChg>
        <pc:graphicFrameChg chg="del">
          <ac:chgData name="Dawid Janik" userId="81a947f4-3345-42c0-a461-2bf27ee4639f" providerId="ADAL" clId="{39B4958F-2A7E-4A5E-A354-A1124CE44183}" dt="2024-05-08T09:44:55.798" v="439" actId="478"/>
          <ac:graphicFrameMkLst>
            <pc:docMk/>
            <pc:sldMk cId="3857079867" sldId="2147470038"/>
            <ac:graphicFrameMk id="9" creationId="{764C0EBF-C41C-98E2-EE19-13BC9907DD70}"/>
          </ac:graphicFrameMkLst>
        </pc:graphicFrameChg>
        <pc:graphicFrameChg chg="del">
          <ac:chgData name="Dawid Janik" userId="81a947f4-3345-42c0-a461-2bf27ee4639f" providerId="ADAL" clId="{39B4958F-2A7E-4A5E-A354-A1124CE44183}" dt="2024-05-08T09:44:58.015" v="440" actId="478"/>
          <ac:graphicFrameMkLst>
            <pc:docMk/>
            <pc:sldMk cId="3857079867" sldId="2147470038"/>
            <ac:graphicFrameMk id="12" creationId="{DE14E2B0-2E28-BC18-64EA-78885DE2DF44}"/>
          </ac:graphicFrameMkLst>
        </pc:graphicFrameChg>
      </pc:sldChg>
    </pc:docChg>
  </pc:docChgLst>
  <pc:docChgLst>
    <pc:chgData name="Dawid Janik" userId="S::dawid.janik@upfieldbrands.com::81a947f4-3345-42c0-a461-2bf27ee4639f" providerId="AD" clId="Web-{F0D1CE36-35D1-42C8-9DED-2D8932A6AF49}"/>
    <pc:docChg chg="modSld">
      <pc:chgData name="Dawid Janik" userId="S::dawid.janik@upfieldbrands.com::81a947f4-3345-42c0-a461-2bf27ee4639f" providerId="AD" clId="Web-{F0D1CE36-35D1-42C8-9DED-2D8932A6AF49}" dt="2023-06-07T13:42:31.420" v="8"/>
      <pc:docMkLst>
        <pc:docMk/>
      </pc:docMkLst>
      <pc:sldChg chg="modSp">
        <pc:chgData name="Dawid Janik" userId="S::dawid.janik@upfieldbrands.com::81a947f4-3345-42c0-a461-2bf27ee4639f" providerId="AD" clId="Web-{F0D1CE36-35D1-42C8-9DED-2D8932A6AF49}" dt="2023-06-07T13:41:18.012" v="0"/>
        <pc:sldMkLst>
          <pc:docMk/>
          <pc:sldMk cId="1173544550" sldId="2147469990"/>
        </pc:sldMkLst>
        <pc:graphicFrameChg chg="modGraphic">
          <ac:chgData name="Dawid Janik" userId="S::dawid.janik@upfieldbrands.com::81a947f4-3345-42c0-a461-2bf27ee4639f" providerId="AD" clId="Web-{F0D1CE36-35D1-42C8-9DED-2D8932A6AF49}" dt="2023-06-07T13:41:18.012" v="0"/>
          <ac:graphicFrameMkLst>
            <pc:docMk/>
            <pc:sldMk cId="1173544550" sldId="2147469990"/>
            <ac:graphicFrameMk id="12" creationId="{4ED50428-40AA-6D7C-D4C2-CE8CB5038D26}"/>
          </ac:graphicFrameMkLst>
        </pc:graphicFrameChg>
      </pc:sldChg>
      <pc:sldChg chg="modSp">
        <pc:chgData name="Dawid Janik" userId="S::dawid.janik@upfieldbrands.com::81a947f4-3345-42c0-a461-2bf27ee4639f" providerId="AD" clId="Web-{F0D1CE36-35D1-42C8-9DED-2D8932A6AF49}" dt="2023-06-07T13:42:31.420" v="8"/>
        <pc:sldMkLst>
          <pc:docMk/>
          <pc:sldMk cId="1556072929" sldId="2147469997"/>
        </pc:sldMkLst>
        <pc:graphicFrameChg chg="mod modGraphic">
          <ac:chgData name="Dawid Janik" userId="S::dawid.janik@upfieldbrands.com::81a947f4-3345-42c0-a461-2bf27ee4639f" providerId="AD" clId="Web-{F0D1CE36-35D1-42C8-9DED-2D8932A6AF49}" dt="2023-06-07T13:42:31.420" v="8"/>
          <ac:graphicFrameMkLst>
            <pc:docMk/>
            <pc:sldMk cId="1556072929" sldId="2147469997"/>
            <ac:graphicFrameMk id="12" creationId="{A9247756-7DED-DB5D-C970-6D7CAEE95029}"/>
          </ac:graphicFrameMkLst>
        </pc:graphicFrameChg>
      </pc:sldChg>
    </pc:docChg>
  </pc:docChgLst>
  <pc:docChgLst>
    <pc:chgData name="Dawid Janik" userId="S::dawid.janik@upfieldbrands.com::81a947f4-3345-42c0-a461-2bf27ee4639f" providerId="AD" clId="Web-{3F7E059A-F529-4D42-8978-8ADFF02897E0}"/>
    <pc:docChg chg="addSld modSld">
      <pc:chgData name="Dawid Janik" userId="S::dawid.janik@upfieldbrands.com::81a947f4-3345-42c0-a461-2bf27ee4639f" providerId="AD" clId="Web-{3F7E059A-F529-4D42-8978-8ADFF02897E0}" dt="2023-06-07T10:13:52.982" v="23"/>
      <pc:docMkLst>
        <pc:docMk/>
      </pc:docMkLst>
      <pc:sldChg chg="addSp delSp modSp new">
        <pc:chgData name="Dawid Janik" userId="S::dawid.janik@upfieldbrands.com::81a947f4-3345-42c0-a461-2bf27ee4639f" providerId="AD" clId="Web-{3F7E059A-F529-4D42-8978-8ADFF02897E0}" dt="2023-06-07T10:13:52.982" v="23"/>
        <pc:sldMkLst>
          <pc:docMk/>
          <pc:sldMk cId="1086150633" sldId="2147469993"/>
        </pc:sldMkLst>
        <pc:spChg chg="del">
          <ac:chgData name="Dawid Janik" userId="S::dawid.janik@upfieldbrands.com::81a947f4-3345-42c0-a461-2bf27ee4639f" providerId="AD" clId="Web-{3F7E059A-F529-4D42-8978-8ADFF02897E0}" dt="2023-06-07T10:07:51.973" v="2"/>
          <ac:spMkLst>
            <pc:docMk/>
            <pc:sldMk cId="1086150633" sldId="2147469993"/>
            <ac:spMk id="2" creationId="{2059038E-389E-3988-FFC9-E7DE9BCCCCD3}"/>
          </ac:spMkLst>
        </pc:spChg>
        <pc:spChg chg="del">
          <ac:chgData name="Dawid Janik" userId="S::dawid.janik@upfieldbrands.com::81a947f4-3345-42c0-a461-2bf27ee4639f" providerId="AD" clId="Web-{3F7E059A-F529-4D42-8978-8ADFF02897E0}" dt="2023-06-07T10:07:54.395" v="3"/>
          <ac:spMkLst>
            <pc:docMk/>
            <pc:sldMk cId="1086150633" sldId="2147469993"/>
            <ac:spMk id="3" creationId="{1B541878-517D-6441-34BE-9B473B86C22B}"/>
          </ac:spMkLst>
        </pc:spChg>
        <pc:spChg chg="del">
          <ac:chgData name="Dawid Janik" userId="S::dawid.janik@upfieldbrands.com::81a947f4-3345-42c0-a461-2bf27ee4639f" providerId="AD" clId="Web-{3F7E059A-F529-4D42-8978-8ADFF02897E0}" dt="2023-06-07T10:07:50.035" v="1"/>
          <ac:spMkLst>
            <pc:docMk/>
            <pc:sldMk cId="1086150633" sldId="2147469993"/>
            <ac:spMk id="5" creationId="{47A14082-7018-5CF1-37DE-99106EB21A44}"/>
          </ac:spMkLst>
        </pc:spChg>
        <pc:spChg chg="del">
          <ac:chgData name="Dawid Janik" userId="S::dawid.janik@upfieldbrands.com::81a947f4-3345-42c0-a461-2bf27ee4639f" providerId="AD" clId="Web-{3F7E059A-F529-4D42-8978-8ADFF02897E0}" dt="2023-06-07T10:07:56.488" v="4"/>
          <ac:spMkLst>
            <pc:docMk/>
            <pc:sldMk cId="1086150633" sldId="2147469993"/>
            <ac:spMk id="6" creationId="{E2EABF4E-8D99-8B49-04BA-2754A121491B}"/>
          </ac:spMkLst>
        </pc:spChg>
        <pc:spChg chg="del">
          <ac:chgData name="Dawid Janik" userId="S::dawid.janik@upfieldbrands.com::81a947f4-3345-42c0-a461-2bf27ee4639f" providerId="AD" clId="Web-{3F7E059A-F529-4D42-8978-8ADFF02897E0}" dt="2023-06-07T10:08:00.879" v="5"/>
          <ac:spMkLst>
            <pc:docMk/>
            <pc:sldMk cId="1086150633" sldId="2147469993"/>
            <ac:spMk id="7" creationId="{0839E218-EB7A-433D-954D-98C85A9CE019}"/>
          </ac:spMkLst>
        </pc:spChg>
        <pc:spChg chg="add mod">
          <ac:chgData name="Dawid Janik" userId="S::dawid.janik@upfieldbrands.com::81a947f4-3345-42c0-a461-2bf27ee4639f" providerId="AD" clId="Web-{3F7E059A-F529-4D42-8978-8ADFF02897E0}" dt="2023-06-07T10:08:18.723" v="12" actId="20577"/>
          <ac:spMkLst>
            <pc:docMk/>
            <pc:sldMk cId="1086150633" sldId="2147469993"/>
            <ac:spMk id="8" creationId="{79F74B84-C419-FBE8-6819-ECC1B4E40683}"/>
          </ac:spMkLst>
        </pc:spChg>
        <pc:graphicFrameChg chg="add mod modGraphic">
          <ac:chgData name="Dawid Janik" userId="S::dawid.janik@upfieldbrands.com::81a947f4-3345-42c0-a461-2bf27ee4639f" providerId="AD" clId="Web-{3F7E059A-F529-4D42-8978-8ADFF02897E0}" dt="2023-06-07T10:12:21.870" v="22"/>
          <ac:graphicFrameMkLst>
            <pc:docMk/>
            <pc:sldMk cId="1086150633" sldId="2147469993"/>
            <ac:graphicFrameMk id="10" creationId="{A3588B4E-0A46-5C40-3E16-60846A16768D}"/>
          </ac:graphicFrameMkLst>
        </pc:graphicFrameChg>
        <pc:graphicFrameChg chg="add">
          <ac:chgData name="Dawid Janik" userId="S::dawid.janik@upfieldbrands.com::81a947f4-3345-42c0-a461-2bf27ee4639f" providerId="AD" clId="Web-{3F7E059A-F529-4D42-8978-8ADFF02897E0}" dt="2023-06-07T10:13:52.982" v="23"/>
          <ac:graphicFrameMkLst>
            <pc:docMk/>
            <pc:sldMk cId="1086150633" sldId="2147469993"/>
            <ac:graphicFrameMk id="11" creationId="{5F975D20-8ED9-4485-3FE7-A1948D2F32AD}"/>
          </ac:graphicFrameMkLst>
        </pc:graphicFrameChg>
      </pc:sldChg>
    </pc:docChg>
  </pc:docChgLst>
  <pc:docChgLst>
    <pc:chgData name="Dawid Janik" userId="S::dawid.janik@upfieldbrands.com::81a947f4-3345-42c0-a461-2bf27ee4639f" providerId="AD" clId="Web-{321952EC-5779-4734-AA35-2A05FC5562F5}"/>
    <pc:docChg chg="addSld modSld">
      <pc:chgData name="Dawid Janik" userId="S::dawid.janik@upfieldbrands.com::81a947f4-3345-42c0-a461-2bf27ee4639f" providerId="AD" clId="Web-{321952EC-5779-4734-AA35-2A05FC5562F5}" dt="2023-06-05T13:56:06.675" v="121" actId="14100"/>
      <pc:docMkLst>
        <pc:docMk/>
      </pc:docMkLst>
      <pc:sldChg chg="addSp delSp modSp">
        <pc:chgData name="Dawid Janik" userId="S::dawid.janik@upfieldbrands.com::81a947f4-3345-42c0-a461-2bf27ee4639f" providerId="AD" clId="Web-{321952EC-5779-4734-AA35-2A05FC5562F5}" dt="2023-06-05T13:51:33.761" v="81"/>
        <pc:sldMkLst>
          <pc:docMk/>
          <pc:sldMk cId="1598440238" sldId="2147469991"/>
        </pc:sldMkLst>
        <pc:graphicFrameChg chg="add mod">
          <ac:chgData name="Dawid Janik" userId="S::dawid.janik@upfieldbrands.com::81a947f4-3345-42c0-a461-2bf27ee4639f" providerId="AD" clId="Web-{321952EC-5779-4734-AA35-2A05FC5562F5}" dt="2023-06-05T13:49:14.835" v="2" actId="1076"/>
          <ac:graphicFrameMkLst>
            <pc:docMk/>
            <pc:sldMk cId="1598440238" sldId="2147469991"/>
            <ac:graphicFrameMk id="2" creationId="{FCE0168F-BB47-46C8-9AF3-AE6D2D229EDE}"/>
          </ac:graphicFrameMkLst>
        </pc:graphicFrameChg>
        <pc:graphicFrameChg chg="add del mod">
          <ac:chgData name="Dawid Janik" userId="S::dawid.janik@upfieldbrands.com::81a947f4-3345-42c0-a461-2bf27ee4639f" providerId="AD" clId="Web-{321952EC-5779-4734-AA35-2A05FC5562F5}" dt="2023-06-05T13:49:34.866" v="5"/>
          <ac:graphicFrameMkLst>
            <pc:docMk/>
            <pc:sldMk cId="1598440238" sldId="2147469991"/>
            <ac:graphicFrameMk id="5" creationId="{3D5B6BAA-3C3D-4982-60F3-ACF934465BB6}"/>
          </ac:graphicFrameMkLst>
        </pc:graphicFrameChg>
        <pc:graphicFrameChg chg="add mod modGraphic">
          <ac:chgData name="Dawid Janik" userId="S::dawid.janik@upfieldbrands.com::81a947f4-3345-42c0-a461-2bf27ee4639f" providerId="AD" clId="Web-{321952EC-5779-4734-AA35-2A05FC5562F5}" dt="2023-06-05T13:50:51.041" v="47"/>
          <ac:graphicFrameMkLst>
            <pc:docMk/>
            <pc:sldMk cId="1598440238" sldId="2147469991"/>
            <ac:graphicFrameMk id="7" creationId="{9FFEB81F-F094-F202-A02E-7D3102FE2DF0}"/>
          </ac:graphicFrameMkLst>
        </pc:graphicFrameChg>
        <pc:graphicFrameChg chg="mod">
          <ac:chgData name="Dawid Janik" userId="S::dawid.janik@upfieldbrands.com::81a947f4-3345-42c0-a461-2bf27ee4639f" providerId="AD" clId="Web-{321952EC-5779-4734-AA35-2A05FC5562F5}" dt="2023-06-05T13:49:17.444" v="3" actId="1076"/>
          <ac:graphicFrameMkLst>
            <pc:docMk/>
            <pc:sldMk cId="1598440238" sldId="2147469991"/>
            <ac:graphicFrameMk id="8" creationId="{DC4FBB9D-6388-4035-A315-E2026EA46106}"/>
          </ac:graphicFrameMkLst>
        </pc:graphicFrameChg>
        <pc:graphicFrameChg chg="del">
          <ac:chgData name="Dawid Janik" userId="S::dawid.janik@upfieldbrands.com::81a947f4-3345-42c0-a461-2bf27ee4639f" providerId="AD" clId="Web-{321952EC-5779-4734-AA35-2A05FC5562F5}" dt="2023-06-05T13:48:49.490" v="0"/>
          <ac:graphicFrameMkLst>
            <pc:docMk/>
            <pc:sldMk cId="1598440238" sldId="2147469991"/>
            <ac:graphicFrameMk id="9" creationId="{FCE0168F-BB47-46C8-9AF3-AE6D2D229EDE}"/>
          </ac:graphicFrameMkLst>
        </pc:graphicFrameChg>
        <pc:graphicFrameChg chg="add del mod modGraphic">
          <ac:chgData name="Dawid Janik" userId="S::dawid.janik@upfieldbrands.com::81a947f4-3345-42c0-a461-2bf27ee4639f" providerId="AD" clId="Web-{321952EC-5779-4734-AA35-2A05FC5562F5}" dt="2023-06-05T13:51:00.072" v="48"/>
          <ac:graphicFrameMkLst>
            <pc:docMk/>
            <pc:sldMk cId="1598440238" sldId="2147469991"/>
            <ac:graphicFrameMk id="11" creationId="{EADE6CD0-C554-36E3-3C21-4107B42292A5}"/>
          </ac:graphicFrameMkLst>
        </pc:graphicFrameChg>
        <pc:graphicFrameChg chg="add mod modGraphic">
          <ac:chgData name="Dawid Janik" userId="S::dawid.janik@upfieldbrands.com::81a947f4-3345-42c0-a461-2bf27ee4639f" providerId="AD" clId="Web-{321952EC-5779-4734-AA35-2A05FC5562F5}" dt="2023-06-05T13:51:33.761" v="81"/>
          <ac:graphicFrameMkLst>
            <pc:docMk/>
            <pc:sldMk cId="1598440238" sldId="2147469991"/>
            <ac:graphicFrameMk id="13" creationId="{4694C32F-DF94-17D6-6871-11C7B8198BDF}"/>
          </ac:graphicFrameMkLst>
        </pc:graphicFrameChg>
      </pc:sldChg>
      <pc:sldChg chg="addSp delSp modSp new">
        <pc:chgData name="Dawid Janik" userId="S::dawid.janik@upfieldbrands.com::81a947f4-3345-42c0-a461-2bf27ee4639f" providerId="AD" clId="Web-{321952EC-5779-4734-AA35-2A05FC5562F5}" dt="2023-06-05T13:56:06.675" v="121" actId="14100"/>
        <pc:sldMkLst>
          <pc:docMk/>
          <pc:sldMk cId="4201953441" sldId="2147469992"/>
        </pc:sldMkLst>
        <pc:spChg chg="del">
          <ac:chgData name="Dawid Janik" userId="S::dawid.janik@upfieldbrands.com::81a947f4-3345-42c0-a461-2bf27ee4639f" providerId="AD" clId="Web-{321952EC-5779-4734-AA35-2A05FC5562F5}" dt="2023-06-05T13:53:08.716" v="84"/>
          <ac:spMkLst>
            <pc:docMk/>
            <pc:sldMk cId="4201953441" sldId="2147469992"/>
            <ac:spMk id="2" creationId="{9E11362C-FF98-4F34-CD3D-1E16A661A28F}"/>
          </ac:spMkLst>
        </pc:spChg>
        <pc:spChg chg="del">
          <ac:chgData name="Dawid Janik" userId="S::dawid.janik@upfieldbrands.com::81a947f4-3345-42c0-a461-2bf27ee4639f" providerId="AD" clId="Web-{321952EC-5779-4734-AA35-2A05FC5562F5}" dt="2023-06-05T13:53:10.842" v="86"/>
          <ac:spMkLst>
            <pc:docMk/>
            <pc:sldMk cId="4201953441" sldId="2147469992"/>
            <ac:spMk id="3" creationId="{496638E6-E28D-9F06-8948-9A1D324E56AB}"/>
          </ac:spMkLst>
        </pc:spChg>
        <pc:spChg chg="del">
          <ac:chgData name="Dawid Janik" userId="S::dawid.janik@upfieldbrands.com::81a947f4-3345-42c0-a461-2bf27ee4639f" providerId="AD" clId="Web-{321952EC-5779-4734-AA35-2A05FC5562F5}" dt="2023-06-05T13:53:07.795" v="83"/>
          <ac:spMkLst>
            <pc:docMk/>
            <pc:sldMk cId="4201953441" sldId="2147469992"/>
            <ac:spMk id="5" creationId="{08833639-A737-EC2A-19D2-D1899031421D}"/>
          </ac:spMkLst>
        </pc:spChg>
        <pc:spChg chg="del">
          <ac:chgData name="Dawid Janik" userId="S::dawid.janik@upfieldbrands.com::81a947f4-3345-42c0-a461-2bf27ee4639f" providerId="AD" clId="Web-{321952EC-5779-4734-AA35-2A05FC5562F5}" dt="2023-06-05T13:53:09.560" v="85"/>
          <ac:spMkLst>
            <pc:docMk/>
            <pc:sldMk cId="4201953441" sldId="2147469992"/>
            <ac:spMk id="6" creationId="{1A425562-20CF-257F-24B0-97477733C85A}"/>
          </ac:spMkLst>
        </pc:spChg>
        <pc:spChg chg="del">
          <ac:chgData name="Dawid Janik" userId="S::dawid.janik@upfieldbrands.com::81a947f4-3345-42c0-a461-2bf27ee4639f" providerId="AD" clId="Web-{321952EC-5779-4734-AA35-2A05FC5562F5}" dt="2023-06-05T13:53:11.623" v="87"/>
          <ac:spMkLst>
            <pc:docMk/>
            <pc:sldMk cId="4201953441" sldId="2147469992"/>
            <ac:spMk id="7" creationId="{DBA923D8-30BC-FF34-381F-CAE8FF4B52B2}"/>
          </ac:spMkLst>
        </pc:spChg>
        <pc:graphicFrameChg chg="add mod modGraphic">
          <ac:chgData name="Dawid Janik" userId="S::dawid.janik@upfieldbrands.com::81a947f4-3345-42c0-a461-2bf27ee4639f" providerId="AD" clId="Web-{321952EC-5779-4734-AA35-2A05FC5562F5}" dt="2023-06-05T13:55:04.439" v="117" actId="1076"/>
          <ac:graphicFrameMkLst>
            <pc:docMk/>
            <pc:sldMk cId="4201953441" sldId="2147469992"/>
            <ac:graphicFrameMk id="9" creationId="{A0929FE3-05DC-1C92-0492-62855D51575D}"/>
          </ac:graphicFrameMkLst>
        </pc:graphicFrameChg>
        <pc:graphicFrameChg chg="add mod">
          <ac:chgData name="Dawid Janik" userId="S::dawid.janik@upfieldbrands.com::81a947f4-3345-42c0-a461-2bf27ee4639f" providerId="AD" clId="Web-{321952EC-5779-4734-AA35-2A05FC5562F5}" dt="2023-06-05T13:54:20.094" v="111" actId="1076"/>
          <ac:graphicFrameMkLst>
            <pc:docMk/>
            <pc:sldMk cId="4201953441" sldId="2147469992"/>
            <ac:graphicFrameMk id="10" creationId="{170892C3-8479-A253-CFE0-3825D9BD8BEA}"/>
          </ac:graphicFrameMkLst>
        </pc:graphicFrameChg>
        <pc:graphicFrameChg chg="add del mod">
          <ac:chgData name="Dawid Janik" userId="S::dawid.janik@upfieldbrands.com::81a947f4-3345-42c0-a461-2bf27ee4639f" providerId="AD" clId="Web-{321952EC-5779-4734-AA35-2A05FC5562F5}" dt="2023-06-05T13:55:57.284" v="118"/>
          <ac:graphicFrameMkLst>
            <pc:docMk/>
            <pc:sldMk cId="4201953441" sldId="2147469992"/>
            <ac:graphicFrameMk id="11" creationId="{5C4C2308-45F9-0609-B5FE-A4D77477E921}"/>
          </ac:graphicFrameMkLst>
        </pc:graphicFrameChg>
        <pc:graphicFrameChg chg="add mod">
          <ac:chgData name="Dawid Janik" userId="S::dawid.janik@upfieldbrands.com::81a947f4-3345-42c0-a461-2bf27ee4639f" providerId="AD" clId="Web-{321952EC-5779-4734-AA35-2A05FC5562F5}" dt="2023-06-05T13:56:06.675" v="121" actId="14100"/>
          <ac:graphicFrameMkLst>
            <pc:docMk/>
            <pc:sldMk cId="4201953441" sldId="2147469992"/>
            <ac:graphicFrameMk id="12" creationId="{5C4C2308-45F9-0609-B5FE-A4D77477E921}"/>
          </ac:graphicFrameMkLst>
        </pc:graphicFrameChg>
      </pc:sldChg>
    </pc:docChg>
  </pc:docChgLst>
  <pc:docChgLst>
    <pc:chgData name="Judyta Kozlowska" userId="b4dee01e-1dd1-4ace-b126-5b3bd0cf451c" providerId="ADAL" clId="{8CF3F462-DE19-458E-AFD2-1CC203FCD46C}"/>
    <pc:docChg chg="undo custSel addSld delSld modSld sldOrd">
      <pc:chgData name="Judyta Kozlowska" userId="b4dee01e-1dd1-4ace-b126-5b3bd0cf451c" providerId="ADAL" clId="{8CF3F462-DE19-458E-AFD2-1CC203FCD46C}" dt="2023-02-13T10:20:30.348" v="1979" actId="1076"/>
      <pc:docMkLst>
        <pc:docMk/>
      </pc:docMkLst>
      <pc:sldChg chg="modSp mod">
        <pc:chgData name="Judyta Kozlowska" userId="b4dee01e-1dd1-4ace-b126-5b3bd0cf451c" providerId="ADAL" clId="{8CF3F462-DE19-458E-AFD2-1CC203FCD46C}" dt="2023-02-12T18:09:46.891" v="13" actId="20577"/>
        <pc:sldMkLst>
          <pc:docMk/>
          <pc:sldMk cId="387532369" sldId="262"/>
        </pc:sldMkLst>
        <pc:spChg chg="mod">
          <ac:chgData name="Judyta Kozlowska" userId="b4dee01e-1dd1-4ace-b126-5b3bd0cf451c" providerId="ADAL" clId="{8CF3F462-DE19-458E-AFD2-1CC203FCD46C}" dt="2023-02-12T18:09:46.891" v="13" actId="20577"/>
          <ac:spMkLst>
            <pc:docMk/>
            <pc:sldMk cId="387532369" sldId="262"/>
            <ac:spMk id="2" creationId="{00000000-0000-0000-0000-000000000000}"/>
          </ac:spMkLst>
        </pc:spChg>
      </pc:sldChg>
      <pc:sldChg chg="del">
        <pc:chgData name="Judyta Kozlowska" userId="b4dee01e-1dd1-4ace-b126-5b3bd0cf451c" providerId="ADAL" clId="{8CF3F462-DE19-458E-AFD2-1CC203FCD46C}" dt="2023-02-13T08:10:21.259" v="1588" actId="2696"/>
        <pc:sldMkLst>
          <pc:docMk/>
          <pc:sldMk cId="4146182223" sldId="2856"/>
        </pc:sldMkLst>
      </pc:sldChg>
      <pc:sldChg chg="delSp modSp del mod">
        <pc:chgData name="Judyta Kozlowska" userId="b4dee01e-1dd1-4ace-b126-5b3bd0cf451c" providerId="ADAL" clId="{8CF3F462-DE19-458E-AFD2-1CC203FCD46C}" dt="2023-02-12T20:51:44.791" v="980" actId="2696"/>
        <pc:sldMkLst>
          <pc:docMk/>
          <pc:sldMk cId="3222772883" sldId="2857"/>
        </pc:sldMkLst>
        <pc:spChg chg="mod">
          <ac:chgData name="Judyta Kozlowska" userId="b4dee01e-1dd1-4ace-b126-5b3bd0cf451c" providerId="ADAL" clId="{8CF3F462-DE19-458E-AFD2-1CC203FCD46C}" dt="2023-02-12T20:38:04.667" v="896" actId="207"/>
          <ac:spMkLst>
            <pc:docMk/>
            <pc:sldMk cId="3222772883" sldId="2857"/>
            <ac:spMk id="3" creationId="{382C83FC-F44D-24B9-03DB-0FC77265D599}"/>
          </ac:spMkLst>
        </pc:spChg>
        <pc:picChg chg="del">
          <ac:chgData name="Judyta Kozlowska" userId="b4dee01e-1dd1-4ace-b126-5b3bd0cf451c" providerId="ADAL" clId="{8CF3F462-DE19-458E-AFD2-1CC203FCD46C}" dt="2023-02-12T20:38:01.374" v="895" actId="478"/>
          <ac:picMkLst>
            <pc:docMk/>
            <pc:sldMk cId="3222772883" sldId="2857"/>
            <ac:picMk id="5" creationId="{AFD59537-FD8F-56F9-4CEA-D2F9509382BC}"/>
          </ac:picMkLst>
        </pc:picChg>
      </pc:sldChg>
      <pc:sldChg chg="addSp delSp modSp mod">
        <pc:chgData name="Judyta Kozlowska" userId="b4dee01e-1dd1-4ace-b126-5b3bd0cf451c" providerId="ADAL" clId="{8CF3F462-DE19-458E-AFD2-1CC203FCD46C}" dt="2023-02-13T07:46:49.387" v="1300" actId="20577"/>
        <pc:sldMkLst>
          <pc:docMk/>
          <pc:sldMk cId="289989424" sldId="2858"/>
        </pc:sldMkLst>
        <pc:spChg chg="mod">
          <ac:chgData name="Judyta Kozlowska" userId="b4dee01e-1dd1-4ace-b126-5b3bd0cf451c" providerId="ADAL" clId="{8CF3F462-DE19-458E-AFD2-1CC203FCD46C}" dt="2023-02-13T07:46:49.387" v="1300" actId="20577"/>
          <ac:spMkLst>
            <pc:docMk/>
            <pc:sldMk cId="289989424" sldId="2858"/>
            <ac:spMk id="2" creationId="{CF04DB44-42D0-7DDA-052D-69EE10190E3D}"/>
          </ac:spMkLst>
        </pc:spChg>
        <pc:picChg chg="add mod">
          <ac:chgData name="Judyta Kozlowska" userId="b4dee01e-1dd1-4ace-b126-5b3bd0cf451c" providerId="ADAL" clId="{8CF3F462-DE19-458E-AFD2-1CC203FCD46C}" dt="2023-02-13T07:46:20.117" v="1296" actId="1076"/>
          <ac:picMkLst>
            <pc:docMk/>
            <pc:sldMk cId="289989424" sldId="2858"/>
            <ac:picMk id="3" creationId="{E3463A87-CC5A-B537-E752-83FAB94D89A7}"/>
          </ac:picMkLst>
        </pc:picChg>
        <pc:picChg chg="add mod">
          <ac:chgData name="Judyta Kozlowska" userId="b4dee01e-1dd1-4ace-b126-5b3bd0cf451c" providerId="ADAL" clId="{8CF3F462-DE19-458E-AFD2-1CC203FCD46C}" dt="2023-02-13T07:46:36.895" v="1298" actId="1076"/>
          <ac:picMkLst>
            <pc:docMk/>
            <pc:sldMk cId="289989424" sldId="2858"/>
            <ac:picMk id="6" creationId="{B80F1458-3D4D-0AE0-8249-C728FB6DC784}"/>
          </ac:picMkLst>
        </pc:picChg>
        <pc:picChg chg="del">
          <ac:chgData name="Judyta Kozlowska" userId="b4dee01e-1dd1-4ace-b126-5b3bd0cf451c" providerId="ADAL" clId="{8CF3F462-DE19-458E-AFD2-1CC203FCD46C}" dt="2023-02-12T20:54:02.734" v="1086" actId="478"/>
          <ac:picMkLst>
            <pc:docMk/>
            <pc:sldMk cId="289989424" sldId="2858"/>
            <ac:picMk id="7" creationId="{E8249687-FA88-463A-028B-A54341C29C0F}"/>
          </ac:picMkLst>
        </pc:picChg>
      </pc:sldChg>
      <pc:sldChg chg="modSp del mod">
        <pc:chgData name="Judyta Kozlowska" userId="b4dee01e-1dd1-4ace-b126-5b3bd0cf451c" providerId="ADAL" clId="{8CF3F462-DE19-458E-AFD2-1CC203FCD46C}" dt="2023-02-13T07:46:57.465" v="1301" actId="2696"/>
        <pc:sldMkLst>
          <pc:docMk/>
          <pc:sldMk cId="1363534449" sldId="2859"/>
        </pc:sldMkLst>
        <pc:spChg chg="mod">
          <ac:chgData name="Judyta Kozlowska" userId="b4dee01e-1dd1-4ace-b126-5b3bd0cf451c" providerId="ADAL" clId="{8CF3F462-DE19-458E-AFD2-1CC203FCD46C}" dt="2023-02-12T21:28:14.945" v="1250" actId="207"/>
          <ac:spMkLst>
            <pc:docMk/>
            <pc:sldMk cId="1363534449" sldId="2859"/>
            <ac:spMk id="2" creationId="{8EEDAC2E-F15E-B79F-9619-C10F38F0CAD7}"/>
          </ac:spMkLst>
        </pc:spChg>
      </pc:sldChg>
      <pc:sldChg chg="addSp delSp modSp mod">
        <pc:chgData name="Judyta Kozlowska" userId="b4dee01e-1dd1-4ace-b126-5b3bd0cf451c" providerId="ADAL" clId="{8CF3F462-DE19-458E-AFD2-1CC203FCD46C}" dt="2023-02-13T10:20:30.348" v="1979" actId="1076"/>
        <pc:sldMkLst>
          <pc:docMk/>
          <pc:sldMk cId="3969372951" sldId="2860"/>
        </pc:sldMkLst>
        <pc:spChg chg="mod">
          <ac:chgData name="Judyta Kozlowska" userId="b4dee01e-1dd1-4ace-b126-5b3bd0cf451c" providerId="ADAL" clId="{8CF3F462-DE19-458E-AFD2-1CC203FCD46C}" dt="2023-02-13T10:20:04.072" v="1972" actId="108"/>
          <ac:spMkLst>
            <pc:docMk/>
            <pc:sldMk cId="3969372951" sldId="2860"/>
            <ac:spMk id="3" creationId="{70A29806-3FA9-55EB-A5A4-937C2FBA0C72}"/>
          </ac:spMkLst>
        </pc:spChg>
        <pc:picChg chg="del">
          <ac:chgData name="Judyta Kozlowska" userId="b4dee01e-1dd1-4ace-b126-5b3bd0cf451c" providerId="ADAL" clId="{8CF3F462-DE19-458E-AFD2-1CC203FCD46C}" dt="2023-02-12T20:35:46.307" v="834" actId="478"/>
          <ac:picMkLst>
            <pc:docMk/>
            <pc:sldMk cId="3969372951" sldId="2860"/>
            <ac:picMk id="5" creationId="{005A66E4-27D6-4B3E-36A0-D6D423D905F3}"/>
          </ac:picMkLst>
        </pc:picChg>
        <pc:picChg chg="add del mod">
          <ac:chgData name="Judyta Kozlowska" userId="b4dee01e-1dd1-4ace-b126-5b3bd0cf451c" providerId="ADAL" clId="{8CF3F462-DE19-458E-AFD2-1CC203FCD46C}" dt="2023-02-13T07:45:41.256" v="1281" actId="21"/>
          <ac:picMkLst>
            <pc:docMk/>
            <pc:sldMk cId="3969372951" sldId="2860"/>
            <ac:picMk id="6" creationId="{A63ABC9F-21EA-57B3-7AFE-9F3D7E486963}"/>
          </ac:picMkLst>
        </pc:picChg>
        <pc:picChg chg="add mod">
          <ac:chgData name="Judyta Kozlowska" userId="b4dee01e-1dd1-4ace-b126-5b3bd0cf451c" providerId="ADAL" clId="{8CF3F462-DE19-458E-AFD2-1CC203FCD46C}" dt="2023-02-13T10:20:30.348" v="1979" actId="1076"/>
          <ac:picMkLst>
            <pc:docMk/>
            <pc:sldMk cId="3969372951" sldId="2860"/>
            <ac:picMk id="8" creationId="{AE86B168-9031-192F-ACBD-15356F16C285}"/>
          </ac:picMkLst>
        </pc:picChg>
      </pc:sldChg>
      <pc:sldChg chg="addSp delSp modSp mod">
        <pc:chgData name="Judyta Kozlowska" userId="b4dee01e-1dd1-4ace-b126-5b3bd0cf451c" providerId="ADAL" clId="{8CF3F462-DE19-458E-AFD2-1CC203FCD46C}" dt="2023-02-12T20:51:38.002" v="978" actId="108"/>
        <pc:sldMkLst>
          <pc:docMk/>
          <pc:sldMk cId="773440969" sldId="2861"/>
        </pc:sldMkLst>
        <pc:spChg chg="mod">
          <ac:chgData name="Judyta Kozlowska" userId="b4dee01e-1dd1-4ace-b126-5b3bd0cf451c" providerId="ADAL" clId="{8CF3F462-DE19-458E-AFD2-1CC203FCD46C}" dt="2023-02-12T20:51:38.002" v="978" actId="108"/>
          <ac:spMkLst>
            <pc:docMk/>
            <pc:sldMk cId="773440969" sldId="2861"/>
            <ac:spMk id="2" creationId="{1B444CE3-6913-B191-D3ED-3CC7690DE5CA}"/>
          </ac:spMkLst>
        </pc:spChg>
        <pc:picChg chg="add mod">
          <ac:chgData name="Judyta Kozlowska" userId="b4dee01e-1dd1-4ace-b126-5b3bd0cf451c" providerId="ADAL" clId="{8CF3F462-DE19-458E-AFD2-1CC203FCD46C}" dt="2023-02-12T20:50:51.801" v="969" actId="1076"/>
          <ac:picMkLst>
            <pc:docMk/>
            <pc:sldMk cId="773440969" sldId="2861"/>
            <ac:picMk id="5" creationId="{30483E6E-ED8D-A629-3CE2-2BBB845C0D95}"/>
          </ac:picMkLst>
        </pc:picChg>
        <pc:picChg chg="add mod">
          <ac:chgData name="Judyta Kozlowska" userId="b4dee01e-1dd1-4ace-b126-5b3bd0cf451c" providerId="ADAL" clId="{8CF3F462-DE19-458E-AFD2-1CC203FCD46C}" dt="2023-02-12T20:49:54.438" v="931" actId="1076"/>
          <ac:picMkLst>
            <pc:docMk/>
            <pc:sldMk cId="773440969" sldId="2861"/>
            <ac:picMk id="7" creationId="{E186DE10-3444-2CD6-76C1-C313222B2B2E}"/>
          </ac:picMkLst>
        </pc:picChg>
        <pc:picChg chg="del">
          <ac:chgData name="Judyta Kozlowska" userId="b4dee01e-1dd1-4ace-b126-5b3bd0cf451c" providerId="ADAL" clId="{8CF3F462-DE19-458E-AFD2-1CC203FCD46C}" dt="2023-02-12T20:38:20.297" v="923" actId="478"/>
          <ac:picMkLst>
            <pc:docMk/>
            <pc:sldMk cId="773440969" sldId="2861"/>
            <ac:picMk id="8" creationId="{6AA9A641-CC1F-1474-EA28-59F8905B90E0}"/>
          </ac:picMkLst>
        </pc:picChg>
        <pc:picChg chg="add del mod">
          <ac:chgData name="Judyta Kozlowska" userId="b4dee01e-1dd1-4ace-b126-5b3bd0cf451c" providerId="ADAL" clId="{8CF3F462-DE19-458E-AFD2-1CC203FCD46C}" dt="2023-02-12T20:51:01.695" v="974" actId="478"/>
          <ac:picMkLst>
            <pc:docMk/>
            <pc:sldMk cId="773440969" sldId="2861"/>
            <ac:picMk id="10" creationId="{059054D0-1B13-5683-A283-3A87CCA8EC38}"/>
          </ac:picMkLst>
        </pc:picChg>
        <pc:picChg chg="add mod">
          <ac:chgData name="Judyta Kozlowska" userId="b4dee01e-1dd1-4ace-b126-5b3bd0cf451c" providerId="ADAL" clId="{8CF3F462-DE19-458E-AFD2-1CC203FCD46C}" dt="2023-02-12T20:51:30.308" v="977" actId="14100"/>
          <ac:picMkLst>
            <pc:docMk/>
            <pc:sldMk cId="773440969" sldId="2861"/>
            <ac:picMk id="12" creationId="{0E50B8F1-C7D2-C9A8-A40E-7E2217B98082}"/>
          </ac:picMkLst>
        </pc:picChg>
      </pc:sldChg>
      <pc:sldChg chg="del">
        <pc:chgData name="Judyta Kozlowska" userId="b4dee01e-1dd1-4ace-b126-5b3bd0cf451c" providerId="ADAL" clId="{8CF3F462-DE19-458E-AFD2-1CC203FCD46C}" dt="2023-02-12T20:55:02.026" v="1090" actId="2696"/>
        <pc:sldMkLst>
          <pc:docMk/>
          <pc:sldMk cId="203589784" sldId="2863"/>
        </pc:sldMkLst>
      </pc:sldChg>
      <pc:sldChg chg="addSp delSp modSp mod">
        <pc:chgData name="Judyta Kozlowska" userId="b4dee01e-1dd1-4ace-b126-5b3bd0cf451c" providerId="ADAL" clId="{8CF3F462-DE19-458E-AFD2-1CC203FCD46C}" dt="2023-02-13T08:01:50.378" v="1310" actId="14100"/>
        <pc:sldMkLst>
          <pc:docMk/>
          <pc:sldMk cId="1531271792" sldId="2864"/>
        </pc:sldMkLst>
        <pc:spChg chg="mod">
          <ac:chgData name="Judyta Kozlowska" userId="b4dee01e-1dd1-4ace-b126-5b3bd0cf451c" providerId="ADAL" clId="{8CF3F462-DE19-458E-AFD2-1CC203FCD46C}" dt="2023-02-13T07:55:02.731" v="1302" actId="6549"/>
          <ac:spMkLst>
            <pc:docMk/>
            <pc:sldMk cId="1531271792" sldId="2864"/>
            <ac:spMk id="2" creationId="{FCB2BE31-96F6-E7E8-A043-2B3908624B8A}"/>
          </ac:spMkLst>
        </pc:spChg>
        <pc:picChg chg="add mod">
          <ac:chgData name="Judyta Kozlowska" userId="b4dee01e-1dd1-4ace-b126-5b3bd0cf451c" providerId="ADAL" clId="{8CF3F462-DE19-458E-AFD2-1CC203FCD46C}" dt="2023-02-13T08:01:50.378" v="1310" actId="14100"/>
          <ac:picMkLst>
            <pc:docMk/>
            <pc:sldMk cId="1531271792" sldId="2864"/>
            <ac:picMk id="5" creationId="{BCF697CD-CC7B-96D3-A503-EA46147739A7}"/>
          </ac:picMkLst>
        </pc:picChg>
        <pc:picChg chg="del">
          <ac:chgData name="Judyta Kozlowska" userId="b4dee01e-1dd1-4ace-b126-5b3bd0cf451c" providerId="ADAL" clId="{8CF3F462-DE19-458E-AFD2-1CC203FCD46C}" dt="2023-02-12T18:11:15.717" v="32" actId="478"/>
          <ac:picMkLst>
            <pc:docMk/>
            <pc:sldMk cId="1531271792" sldId="2864"/>
            <ac:picMk id="7" creationId="{DE43350F-FFAA-5D5C-4380-340FF6F3105D}"/>
          </ac:picMkLst>
        </pc:picChg>
      </pc:sldChg>
      <pc:sldChg chg="delSp modSp del mod">
        <pc:chgData name="Judyta Kozlowska" userId="b4dee01e-1dd1-4ace-b126-5b3bd0cf451c" providerId="ADAL" clId="{8CF3F462-DE19-458E-AFD2-1CC203FCD46C}" dt="2023-02-12T20:52:02.472" v="982" actId="2696"/>
        <pc:sldMkLst>
          <pc:docMk/>
          <pc:sldMk cId="3760330008" sldId="2867"/>
        </pc:sldMkLst>
        <pc:spChg chg="mod">
          <ac:chgData name="Judyta Kozlowska" userId="b4dee01e-1dd1-4ace-b126-5b3bd0cf451c" providerId="ADAL" clId="{8CF3F462-DE19-458E-AFD2-1CC203FCD46C}" dt="2023-02-12T20:50:15.765" v="967" actId="20577"/>
          <ac:spMkLst>
            <pc:docMk/>
            <pc:sldMk cId="3760330008" sldId="2867"/>
            <ac:spMk id="5" creationId="{286C52DB-6F9D-C043-20BD-74B5FE1C4273}"/>
          </ac:spMkLst>
        </pc:spChg>
        <pc:picChg chg="del">
          <ac:chgData name="Judyta Kozlowska" userId="b4dee01e-1dd1-4ace-b126-5b3bd0cf451c" providerId="ADAL" clId="{8CF3F462-DE19-458E-AFD2-1CC203FCD46C}" dt="2023-02-12T20:50:18.150" v="968" actId="478"/>
          <ac:picMkLst>
            <pc:docMk/>
            <pc:sldMk cId="3760330008" sldId="2867"/>
            <ac:picMk id="6" creationId="{F09583CF-D21C-F5D4-8333-5B512D34BDC4}"/>
          </ac:picMkLst>
        </pc:picChg>
      </pc:sldChg>
      <pc:sldChg chg="addSp delSp modSp mod">
        <pc:chgData name="Judyta Kozlowska" userId="b4dee01e-1dd1-4ace-b126-5b3bd0cf451c" providerId="ADAL" clId="{8CF3F462-DE19-458E-AFD2-1CC203FCD46C}" dt="2023-02-12T20:52:50.735" v="1020" actId="1076"/>
        <pc:sldMkLst>
          <pc:docMk/>
          <pc:sldMk cId="4281873408" sldId="2868"/>
        </pc:sldMkLst>
        <pc:spChg chg="mod">
          <ac:chgData name="Judyta Kozlowska" userId="b4dee01e-1dd1-4ace-b126-5b3bd0cf451c" providerId="ADAL" clId="{8CF3F462-DE19-458E-AFD2-1CC203FCD46C}" dt="2023-02-12T20:52:12.906" v="1013" actId="20577"/>
          <ac:spMkLst>
            <pc:docMk/>
            <pc:sldMk cId="4281873408" sldId="2868"/>
            <ac:spMk id="5" creationId="{ABB7EFFD-62DD-FC6E-99E5-79D113FAEAA2}"/>
          </ac:spMkLst>
        </pc:spChg>
        <pc:picChg chg="del">
          <ac:chgData name="Judyta Kozlowska" userId="b4dee01e-1dd1-4ace-b126-5b3bd0cf451c" providerId="ADAL" clId="{8CF3F462-DE19-458E-AFD2-1CC203FCD46C}" dt="2023-02-12T20:52:14.321" v="1014" actId="478"/>
          <ac:picMkLst>
            <pc:docMk/>
            <pc:sldMk cId="4281873408" sldId="2868"/>
            <ac:picMk id="3" creationId="{D8A3C74F-B926-4532-7129-924D29B4FFC2}"/>
          </ac:picMkLst>
        </pc:picChg>
        <pc:picChg chg="add mod">
          <ac:chgData name="Judyta Kozlowska" userId="b4dee01e-1dd1-4ace-b126-5b3bd0cf451c" providerId="ADAL" clId="{8CF3F462-DE19-458E-AFD2-1CC203FCD46C}" dt="2023-02-12T20:52:50.735" v="1020" actId="1076"/>
          <ac:picMkLst>
            <pc:docMk/>
            <pc:sldMk cId="4281873408" sldId="2868"/>
            <ac:picMk id="6" creationId="{C86DD90C-FC74-5E21-BB50-C9DA6755F7D8}"/>
          </ac:picMkLst>
        </pc:picChg>
      </pc:sldChg>
      <pc:sldChg chg="addSp delSp modSp mod">
        <pc:chgData name="Judyta Kozlowska" userId="b4dee01e-1dd1-4ace-b126-5b3bd0cf451c" providerId="ADAL" clId="{8CF3F462-DE19-458E-AFD2-1CC203FCD46C}" dt="2023-02-12T20:53:42.079" v="1052" actId="1076"/>
        <pc:sldMkLst>
          <pc:docMk/>
          <pc:sldMk cId="3716441291" sldId="2869"/>
        </pc:sldMkLst>
        <pc:spChg chg="mod">
          <ac:chgData name="Judyta Kozlowska" userId="b4dee01e-1dd1-4ace-b126-5b3bd0cf451c" providerId="ADAL" clId="{8CF3F462-DE19-458E-AFD2-1CC203FCD46C}" dt="2023-02-12T20:53:04.569" v="1045" actId="20577"/>
          <ac:spMkLst>
            <pc:docMk/>
            <pc:sldMk cId="3716441291" sldId="2869"/>
            <ac:spMk id="5" creationId="{81607E81-3099-15AA-7538-53CE92E5517B}"/>
          </ac:spMkLst>
        </pc:spChg>
        <pc:picChg chg="add mod">
          <ac:chgData name="Judyta Kozlowska" userId="b4dee01e-1dd1-4ace-b126-5b3bd0cf451c" providerId="ADAL" clId="{8CF3F462-DE19-458E-AFD2-1CC203FCD46C}" dt="2023-02-12T20:53:42.079" v="1052" actId="1076"/>
          <ac:picMkLst>
            <pc:docMk/>
            <pc:sldMk cId="3716441291" sldId="2869"/>
            <ac:picMk id="3" creationId="{F1A74237-33F4-BE71-63E7-69168EBBBFCC}"/>
          </ac:picMkLst>
        </pc:picChg>
        <pc:picChg chg="del">
          <ac:chgData name="Judyta Kozlowska" userId="b4dee01e-1dd1-4ace-b126-5b3bd0cf451c" providerId="ADAL" clId="{8CF3F462-DE19-458E-AFD2-1CC203FCD46C}" dt="2023-02-12T20:53:06.950" v="1046" actId="478"/>
          <ac:picMkLst>
            <pc:docMk/>
            <pc:sldMk cId="3716441291" sldId="2869"/>
            <ac:picMk id="6" creationId="{82D06463-0A26-3965-38B4-150B2A6D0465}"/>
          </ac:picMkLst>
        </pc:picChg>
      </pc:sldChg>
      <pc:sldChg chg="addSp delSp modSp mod ord">
        <pc:chgData name="Judyta Kozlowska" userId="b4dee01e-1dd1-4ace-b126-5b3bd0cf451c" providerId="ADAL" clId="{8CF3F462-DE19-458E-AFD2-1CC203FCD46C}" dt="2023-02-12T19:18:40.117" v="730" actId="1076"/>
        <pc:sldMkLst>
          <pc:docMk/>
          <pc:sldMk cId="1608263504" sldId="2870"/>
        </pc:sldMkLst>
        <pc:spChg chg="mod">
          <ac:chgData name="Judyta Kozlowska" userId="b4dee01e-1dd1-4ace-b126-5b3bd0cf451c" providerId="ADAL" clId="{8CF3F462-DE19-458E-AFD2-1CC203FCD46C}" dt="2023-02-12T19:18:40.117" v="730" actId="1076"/>
          <ac:spMkLst>
            <pc:docMk/>
            <pc:sldMk cId="1608263504" sldId="2870"/>
            <ac:spMk id="6" creationId="{A970C547-B9F9-37A5-36DC-CF45A3FE60CE}"/>
          </ac:spMkLst>
        </pc:spChg>
        <pc:spChg chg="add mod">
          <ac:chgData name="Judyta Kozlowska" userId="b4dee01e-1dd1-4ace-b126-5b3bd0cf451c" providerId="ADAL" clId="{8CF3F462-DE19-458E-AFD2-1CC203FCD46C}" dt="2023-02-12T19:18:39.085" v="729" actId="20577"/>
          <ac:spMkLst>
            <pc:docMk/>
            <pc:sldMk cId="1608263504" sldId="2870"/>
            <ac:spMk id="11" creationId="{48463A19-B04C-0218-E967-835BDECCFC92}"/>
          </ac:spMkLst>
        </pc:spChg>
        <pc:spChg chg="del">
          <ac:chgData name="Judyta Kozlowska" userId="b4dee01e-1dd1-4ace-b126-5b3bd0cf451c" providerId="ADAL" clId="{8CF3F462-DE19-458E-AFD2-1CC203FCD46C}" dt="2023-02-12T19:08:23.655" v="167" actId="478"/>
          <ac:spMkLst>
            <pc:docMk/>
            <pc:sldMk cId="1608263504" sldId="2870"/>
            <ac:spMk id="14" creationId="{D52FF12C-6BDE-03F1-C5CF-45312555831F}"/>
          </ac:spMkLst>
        </pc:spChg>
        <pc:spChg chg="del mod">
          <ac:chgData name="Judyta Kozlowska" userId="b4dee01e-1dd1-4ace-b126-5b3bd0cf451c" providerId="ADAL" clId="{8CF3F462-DE19-458E-AFD2-1CC203FCD46C}" dt="2023-02-12T19:08:32.699" v="170" actId="478"/>
          <ac:spMkLst>
            <pc:docMk/>
            <pc:sldMk cId="1608263504" sldId="2870"/>
            <ac:spMk id="15" creationId="{1A6ED188-A0E7-1020-111F-D06331287B43}"/>
          </ac:spMkLst>
        </pc:spChg>
        <pc:picChg chg="add del mod">
          <ac:chgData name="Judyta Kozlowska" userId="b4dee01e-1dd1-4ace-b126-5b3bd0cf451c" providerId="ADAL" clId="{8CF3F462-DE19-458E-AFD2-1CC203FCD46C}" dt="2023-02-12T19:07:10.729" v="161" actId="478"/>
          <ac:picMkLst>
            <pc:docMk/>
            <pc:sldMk cId="1608263504" sldId="2870"/>
            <ac:picMk id="3" creationId="{A7A13F24-71A9-8D12-9606-FF10E16BED95}"/>
          </ac:picMkLst>
        </pc:picChg>
        <pc:picChg chg="del mod">
          <ac:chgData name="Judyta Kozlowska" userId="b4dee01e-1dd1-4ace-b126-5b3bd0cf451c" providerId="ADAL" clId="{8CF3F462-DE19-458E-AFD2-1CC203FCD46C}" dt="2023-02-12T19:06:47.935" v="157" actId="478"/>
          <ac:picMkLst>
            <pc:docMk/>
            <pc:sldMk cId="1608263504" sldId="2870"/>
            <ac:picMk id="7" creationId="{FEEB14E9-8157-FA7F-F350-8C61649A956B}"/>
          </ac:picMkLst>
        </pc:picChg>
        <pc:picChg chg="add mod">
          <ac:chgData name="Judyta Kozlowska" userId="b4dee01e-1dd1-4ace-b126-5b3bd0cf451c" providerId="ADAL" clId="{8CF3F462-DE19-458E-AFD2-1CC203FCD46C}" dt="2023-02-12T19:07:26.657" v="163" actId="1076"/>
          <ac:picMkLst>
            <pc:docMk/>
            <pc:sldMk cId="1608263504" sldId="2870"/>
            <ac:picMk id="9" creationId="{98BADE27-BD15-C4FE-1AC7-E9AEBF5B4EE6}"/>
          </ac:picMkLst>
        </pc:picChg>
      </pc:sldChg>
      <pc:sldChg chg="addSp delSp modSp mod">
        <pc:chgData name="Judyta Kozlowska" userId="b4dee01e-1dd1-4ace-b126-5b3bd0cf451c" providerId="ADAL" clId="{8CF3F462-DE19-458E-AFD2-1CC203FCD46C}" dt="2023-02-12T19:58:10.618" v="781" actId="1076"/>
        <pc:sldMkLst>
          <pc:docMk/>
          <pc:sldMk cId="977520493" sldId="2871"/>
        </pc:sldMkLst>
        <pc:spChg chg="mod">
          <ac:chgData name="Judyta Kozlowska" userId="b4dee01e-1dd1-4ace-b126-5b3bd0cf451c" providerId="ADAL" clId="{8CF3F462-DE19-458E-AFD2-1CC203FCD46C}" dt="2023-02-12T19:18:56.851" v="745" actId="20577"/>
          <ac:spMkLst>
            <pc:docMk/>
            <pc:sldMk cId="977520493" sldId="2871"/>
            <ac:spMk id="5" creationId="{46038FB7-675A-432D-0796-C0AF3BBB48A7}"/>
          </ac:spMkLst>
        </pc:spChg>
        <pc:spChg chg="add mod">
          <ac:chgData name="Judyta Kozlowska" userId="b4dee01e-1dd1-4ace-b126-5b3bd0cf451c" providerId="ADAL" clId="{8CF3F462-DE19-458E-AFD2-1CC203FCD46C}" dt="2023-02-12T19:32:46.400" v="777" actId="20577"/>
          <ac:spMkLst>
            <pc:docMk/>
            <pc:sldMk cId="977520493" sldId="2871"/>
            <ac:spMk id="7" creationId="{A69089E7-81EC-E1CE-6266-605ABBE74300}"/>
          </ac:spMkLst>
        </pc:spChg>
        <pc:spChg chg="del mod">
          <ac:chgData name="Judyta Kozlowska" userId="b4dee01e-1dd1-4ace-b126-5b3bd0cf451c" providerId="ADAL" clId="{8CF3F462-DE19-458E-AFD2-1CC203FCD46C}" dt="2023-02-12T19:32:23.626" v="749" actId="478"/>
          <ac:spMkLst>
            <pc:docMk/>
            <pc:sldMk cId="977520493" sldId="2871"/>
            <ac:spMk id="8" creationId="{237E12C3-E630-C034-DFD4-FF7FC8C5D68E}"/>
          </ac:spMkLst>
        </pc:spChg>
        <pc:picChg chg="add mod">
          <ac:chgData name="Judyta Kozlowska" userId="b4dee01e-1dd1-4ace-b126-5b3bd0cf451c" providerId="ADAL" clId="{8CF3F462-DE19-458E-AFD2-1CC203FCD46C}" dt="2023-02-12T19:32:28.347" v="751" actId="14100"/>
          <ac:picMkLst>
            <pc:docMk/>
            <pc:sldMk cId="977520493" sldId="2871"/>
            <ac:picMk id="3" creationId="{B9874175-4E57-8792-ECF1-1D198C783B8D}"/>
          </ac:picMkLst>
        </pc:picChg>
        <pc:picChg chg="add mod">
          <ac:chgData name="Judyta Kozlowska" userId="b4dee01e-1dd1-4ace-b126-5b3bd0cf451c" providerId="ADAL" clId="{8CF3F462-DE19-458E-AFD2-1CC203FCD46C}" dt="2023-02-12T19:58:10.618" v="781" actId="1076"/>
          <ac:picMkLst>
            <pc:docMk/>
            <pc:sldMk cId="977520493" sldId="2871"/>
            <ac:picMk id="10" creationId="{47FABA65-4B80-BD49-1DA8-E6EC4BF2F5A8}"/>
          </ac:picMkLst>
        </pc:picChg>
        <pc:picChg chg="del">
          <ac:chgData name="Judyta Kozlowska" userId="b4dee01e-1dd1-4ace-b126-5b3bd0cf451c" providerId="ADAL" clId="{8CF3F462-DE19-458E-AFD2-1CC203FCD46C}" dt="2023-02-12T19:18:51.576" v="731" actId="478"/>
          <ac:picMkLst>
            <pc:docMk/>
            <pc:sldMk cId="977520493" sldId="2871"/>
            <ac:picMk id="1026" creationId="{BB6CAB3A-47DB-C08C-DAF5-0869F7D5EC34}"/>
          </ac:picMkLst>
        </pc:picChg>
      </pc:sldChg>
      <pc:sldChg chg="addSp delSp modSp mod">
        <pc:chgData name="Judyta Kozlowska" userId="b4dee01e-1dd1-4ace-b126-5b3bd0cf451c" providerId="ADAL" clId="{8CF3F462-DE19-458E-AFD2-1CC203FCD46C}" dt="2023-02-12T18:52:17.445" v="152" actId="478"/>
        <pc:sldMkLst>
          <pc:docMk/>
          <pc:sldMk cId="4104552231" sldId="2872"/>
        </pc:sldMkLst>
        <pc:spChg chg="del">
          <ac:chgData name="Judyta Kozlowska" userId="b4dee01e-1dd1-4ace-b126-5b3bd0cf451c" providerId="ADAL" clId="{8CF3F462-DE19-458E-AFD2-1CC203FCD46C}" dt="2023-02-12T18:52:17.445" v="152" actId="478"/>
          <ac:spMkLst>
            <pc:docMk/>
            <pc:sldMk cId="4104552231" sldId="2872"/>
            <ac:spMk id="3" creationId="{74DE7FD9-9844-47C7-92FC-5F2AA184A28D}"/>
          </ac:spMkLst>
        </pc:spChg>
        <pc:picChg chg="add del mod">
          <ac:chgData name="Judyta Kozlowska" userId="b4dee01e-1dd1-4ace-b126-5b3bd0cf451c" providerId="ADAL" clId="{8CF3F462-DE19-458E-AFD2-1CC203FCD46C}" dt="2023-02-12T18:13:51.487" v="94" actId="478"/>
          <ac:picMkLst>
            <pc:docMk/>
            <pc:sldMk cId="4104552231" sldId="2872"/>
            <ac:picMk id="7" creationId="{8AFDFB83-AB62-3E53-EF94-36BE2F4B28F7}"/>
          </ac:picMkLst>
        </pc:picChg>
        <pc:picChg chg="del">
          <ac:chgData name="Judyta Kozlowska" userId="b4dee01e-1dd1-4ace-b126-5b3bd0cf451c" providerId="ADAL" clId="{8CF3F462-DE19-458E-AFD2-1CC203FCD46C}" dt="2023-02-12T18:12:07.340" v="89" actId="478"/>
          <ac:picMkLst>
            <pc:docMk/>
            <pc:sldMk cId="4104552231" sldId="2872"/>
            <ac:picMk id="8" creationId="{81A995D8-0012-AE9F-8A76-110E5427E3F6}"/>
          </ac:picMkLst>
        </pc:picChg>
        <pc:picChg chg="add mod">
          <ac:chgData name="Judyta Kozlowska" userId="b4dee01e-1dd1-4ace-b126-5b3bd0cf451c" providerId="ADAL" clId="{8CF3F462-DE19-458E-AFD2-1CC203FCD46C}" dt="2023-02-12T18:14:33.834" v="100" actId="1076"/>
          <ac:picMkLst>
            <pc:docMk/>
            <pc:sldMk cId="4104552231" sldId="2872"/>
            <ac:picMk id="10" creationId="{EBAD3B42-F835-B523-0CF5-D2F672E7109D}"/>
          </ac:picMkLst>
        </pc:picChg>
      </pc:sldChg>
      <pc:sldChg chg="addSp delSp modSp mod">
        <pc:chgData name="Judyta Kozlowska" userId="b4dee01e-1dd1-4ace-b126-5b3bd0cf451c" providerId="ADAL" clId="{8CF3F462-DE19-458E-AFD2-1CC203FCD46C}" dt="2023-02-12T19:00:10.399" v="155" actId="1076"/>
        <pc:sldMkLst>
          <pc:docMk/>
          <pc:sldMk cId="4087466394" sldId="2873"/>
        </pc:sldMkLst>
        <pc:spChg chg="del">
          <ac:chgData name="Judyta Kozlowska" userId="b4dee01e-1dd1-4ace-b126-5b3bd0cf451c" providerId="ADAL" clId="{8CF3F462-DE19-458E-AFD2-1CC203FCD46C}" dt="2023-02-12T18:52:02.943" v="149" actId="478"/>
          <ac:spMkLst>
            <pc:docMk/>
            <pc:sldMk cId="4087466394" sldId="2873"/>
            <ac:spMk id="3" creationId="{74DE7FD9-9844-47C7-92FC-5F2AA184A28D}"/>
          </ac:spMkLst>
        </pc:spChg>
        <pc:spChg chg="mod">
          <ac:chgData name="Judyta Kozlowska" userId="b4dee01e-1dd1-4ace-b126-5b3bd0cf451c" providerId="ADAL" clId="{8CF3F462-DE19-458E-AFD2-1CC203FCD46C}" dt="2023-02-12T18:51:59.129" v="147" actId="20577"/>
          <ac:spMkLst>
            <pc:docMk/>
            <pc:sldMk cId="4087466394" sldId="2873"/>
            <ac:spMk id="5" creationId="{46038FB7-675A-432D-0796-C0AF3BBB48A7}"/>
          </ac:spMkLst>
        </pc:spChg>
        <pc:picChg chg="del">
          <ac:chgData name="Judyta Kozlowska" userId="b4dee01e-1dd1-4ace-b126-5b3bd0cf451c" providerId="ADAL" clId="{8CF3F462-DE19-458E-AFD2-1CC203FCD46C}" dt="2023-02-12T18:15:47.814" v="108" actId="478"/>
          <ac:picMkLst>
            <pc:docMk/>
            <pc:sldMk cId="4087466394" sldId="2873"/>
            <ac:picMk id="7" creationId="{1C73BD59-708D-1890-C56F-DD6527AFF1F7}"/>
          </ac:picMkLst>
        </pc:picChg>
        <pc:picChg chg="add mod">
          <ac:chgData name="Judyta Kozlowska" userId="b4dee01e-1dd1-4ace-b126-5b3bd0cf451c" providerId="ADAL" clId="{8CF3F462-DE19-458E-AFD2-1CC203FCD46C}" dt="2023-02-12T18:58:06.192" v="153" actId="1076"/>
          <ac:picMkLst>
            <pc:docMk/>
            <pc:sldMk cId="4087466394" sldId="2873"/>
            <ac:picMk id="8" creationId="{A85E9004-D240-5EAC-6292-B1B844702215}"/>
          </ac:picMkLst>
        </pc:picChg>
        <pc:picChg chg="add mod">
          <ac:chgData name="Judyta Kozlowska" userId="b4dee01e-1dd1-4ace-b126-5b3bd0cf451c" providerId="ADAL" clId="{8CF3F462-DE19-458E-AFD2-1CC203FCD46C}" dt="2023-02-12T19:00:10.399" v="155" actId="1076"/>
          <ac:picMkLst>
            <pc:docMk/>
            <pc:sldMk cId="4087466394" sldId="2873"/>
            <ac:picMk id="10" creationId="{A33EF6B8-9CEE-59F0-FBE3-17B5F5BF532D}"/>
          </ac:picMkLst>
        </pc:picChg>
      </pc:sldChg>
      <pc:sldChg chg="del">
        <pc:chgData name="Judyta Kozlowska" userId="b4dee01e-1dd1-4ace-b126-5b3bd0cf451c" providerId="ADAL" clId="{8CF3F462-DE19-458E-AFD2-1CC203FCD46C}" dt="2023-02-12T21:27:50.212" v="1247" actId="2696"/>
        <pc:sldMkLst>
          <pc:docMk/>
          <pc:sldMk cId="2079442039" sldId="2876"/>
        </pc:sldMkLst>
      </pc:sldChg>
      <pc:sldChg chg="addSp delSp modSp mod">
        <pc:chgData name="Judyta Kozlowska" userId="b4dee01e-1dd1-4ace-b126-5b3bd0cf451c" providerId="ADAL" clId="{8CF3F462-DE19-458E-AFD2-1CC203FCD46C}" dt="2023-02-13T08:08:13.780" v="1318" actId="14100"/>
        <pc:sldMkLst>
          <pc:docMk/>
          <pc:sldMk cId="895411874" sldId="2877"/>
        </pc:sldMkLst>
        <pc:spChg chg="mod">
          <ac:chgData name="Judyta Kozlowska" userId="b4dee01e-1dd1-4ace-b126-5b3bd0cf451c" providerId="ADAL" clId="{8CF3F462-DE19-458E-AFD2-1CC203FCD46C}" dt="2023-02-13T08:08:07.705" v="1316" actId="14100"/>
          <ac:spMkLst>
            <pc:docMk/>
            <pc:sldMk cId="895411874" sldId="2877"/>
            <ac:spMk id="6" creationId="{3CF23B17-7A57-84F9-4912-9479A93BB5D8}"/>
          </ac:spMkLst>
        </pc:spChg>
        <pc:picChg chg="add mod">
          <ac:chgData name="Judyta Kozlowska" userId="b4dee01e-1dd1-4ace-b126-5b3bd0cf451c" providerId="ADAL" clId="{8CF3F462-DE19-458E-AFD2-1CC203FCD46C}" dt="2023-02-13T08:08:13.780" v="1318" actId="14100"/>
          <ac:picMkLst>
            <pc:docMk/>
            <pc:sldMk cId="895411874" sldId="2877"/>
            <ac:picMk id="3" creationId="{58FEB924-DF28-2485-87F8-181D471C0DC3}"/>
          </ac:picMkLst>
        </pc:picChg>
        <pc:picChg chg="del">
          <ac:chgData name="Judyta Kozlowska" userId="b4dee01e-1dd1-4ace-b126-5b3bd0cf451c" providerId="ADAL" clId="{8CF3F462-DE19-458E-AFD2-1CC203FCD46C}" dt="2023-02-13T08:08:00.823" v="1314" actId="478"/>
          <ac:picMkLst>
            <pc:docMk/>
            <pc:sldMk cId="895411874" sldId="2877"/>
            <ac:picMk id="3074" creationId="{EB11B3F0-A1FC-689D-4B8F-9CE7EB769449}"/>
          </ac:picMkLst>
        </pc:picChg>
      </pc:sldChg>
      <pc:sldChg chg="del">
        <pc:chgData name="Judyta Kozlowska" userId="b4dee01e-1dd1-4ace-b126-5b3bd0cf451c" providerId="ADAL" clId="{8CF3F462-DE19-458E-AFD2-1CC203FCD46C}" dt="2023-02-12T20:54:13.223" v="1087" actId="2696"/>
        <pc:sldMkLst>
          <pc:docMk/>
          <pc:sldMk cId="2598661027" sldId="2878"/>
        </pc:sldMkLst>
      </pc:sldChg>
      <pc:sldChg chg="modSp mod">
        <pc:chgData name="Judyta Kozlowska" userId="b4dee01e-1dd1-4ace-b126-5b3bd0cf451c" providerId="ADAL" clId="{8CF3F462-DE19-458E-AFD2-1CC203FCD46C}" dt="2023-02-12T18:10:15.419" v="31" actId="20577"/>
        <pc:sldMkLst>
          <pc:docMk/>
          <pc:sldMk cId="2561586527" sldId="2880"/>
        </pc:sldMkLst>
        <pc:spChg chg="mod">
          <ac:chgData name="Judyta Kozlowska" userId="b4dee01e-1dd1-4ace-b126-5b3bd0cf451c" providerId="ADAL" clId="{8CF3F462-DE19-458E-AFD2-1CC203FCD46C}" dt="2023-02-12T18:10:15.419" v="31" actId="20577"/>
          <ac:spMkLst>
            <pc:docMk/>
            <pc:sldMk cId="2561586527" sldId="2880"/>
            <ac:spMk id="6" creationId="{B3953017-58C0-4B73-BD7C-6A3501B81345}"/>
          </ac:spMkLst>
        </pc:spChg>
      </pc:sldChg>
      <pc:sldChg chg="del">
        <pc:chgData name="Judyta Kozlowska" userId="b4dee01e-1dd1-4ace-b126-5b3bd0cf451c" providerId="ADAL" clId="{8CF3F462-DE19-458E-AFD2-1CC203FCD46C}" dt="2023-02-12T20:54:18.325" v="1088" actId="2696"/>
        <pc:sldMkLst>
          <pc:docMk/>
          <pc:sldMk cId="3222622094" sldId="2881"/>
        </pc:sldMkLst>
      </pc:sldChg>
      <pc:sldChg chg="del">
        <pc:chgData name="Judyta Kozlowska" userId="b4dee01e-1dd1-4ace-b126-5b3bd0cf451c" providerId="ADAL" clId="{8CF3F462-DE19-458E-AFD2-1CC203FCD46C}" dt="2023-02-12T20:54:20.742" v="1089" actId="2696"/>
        <pc:sldMkLst>
          <pc:docMk/>
          <pc:sldMk cId="1947718148" sldId="2889"/>
        </pc:sldMkLst>
      </pc:sldChg>
      <pc:sldChg chg="addSp delSp modSp mod">
        <pc:chgData name="Judyta Kozlowska" userId="b4dee01e-1dd1-4ace-b126-5b3bd0cf451c" providerId="ADAL" clId="{8CF3F462-DE19-458E-AFD2-1CC203FCD46C}" dt="2023-02-12T21:46:22.306" v="1277" actId="108"/>
        <pc:sldMkLst>
          <pc:docMk/>
          <pc:sldMk cId="2835097437" sldId="2890"/>
        </pc:sldMkLst>
        <pc:spChg chg="mod">
          <ac:chgData name="Judyta Kozlowska" userId="b4dee01e-1dd1-4ace-b126-5b3bd0cf451c" providerId="ADAL" clId="{8CF3F462-DE19-458E-AFD2-1CC203FCD46C}" dt="2023-02-12T21:46:22.306" v="1277" actId="108"/>
          <ac:spMkLst>
            <pc:docMk/>
            <pc:sldMk cId="2835097437" sldId="2890"/>
            <ac:spMk id="5" creationId="{8F34C24A-4DB1-BAA6-C705-069CFA2CBD19}"/>
          </ac:spMkLst>
        </pc:spChg>
        <pc:picChg chg="add mod">
          <ac:chgData name="Judyta Kozlowska" userId="b4dee01e-1dd1-4ace-b126-5b3bd0cf451c" providerId="ADAL" clId="{8CF3F462-DE19-458E-AFD2-1CC203FCD46C}" dt="2023-02-12T21:45:47.933" v="1266" actId="1076"/>
          <ac:picMkLst>
            <pc:docMk/>
            <pc:sldMk cId="2835097437" sldId="2890"/>
            <ac:picMk id="3" creationId="{2E55BB0A-96C2-BE80-5BF7-F7ED2700DFF8}"/>
          </ac:picMkLst>
        </pc:picChg>
        <pc:picChg chg="add mod">
          <ac:chgData name="Judyta Kozlowska" userId="b4dee01e-1dd1-4ace-b126-5b3bd0cf451c" providerId="ADAL" clId="{8CF3F462-DE19-458E-AFD2-1CC203FCD46C}" dt="2023-02-12T21:46:08.152" v="1275" actId="1076"/>
          <ac:picMkLst>
            <pc:docMk/>
            <pc:sldMk cId="2835097437" sldId="2890"/>
            <ac:picMk id="7" creationId="{37D4A871-0544-EE81-937B-4E8CEEA2F51E}"/>
          </ac:picMkLst>
        </pc:picChg>
        <pc:picChg chg="add mod">
          <ac:chgData name="Judyta Kozlowska" userId="b4dee01e-1dd1-4ace-b126-5b3bd0cf451c" providerId="ADAL" clId="{8CF3F462-DE19-458E-AFD2-1CC203FCD46C}" dt="2023-02-12T21:46:09.640" v="1276" actId="1076"/>
          <ac:picMkLst>
            <pc:docMk/>
            <pc:sldMk cId="2835097437" sldId="2890"/>
            <ac:picMk id="9" creationId="{37C9F825-2564-5CFC-0106-E5307B05E140}"/>
          </ac:picMkLst>
        </pc:picChg>
        <pc:picChg chg="del">
          <ac:chgData name="Judyta Kozlowska" userId="b4dee01e-1dd1-4ace-b126-5b3bd0cf451c" providerId="ADAL" clId="{8CF3F462-DE19-458E-AFD2-1CC203FCD46C}" dt="2023-02-12T21:44:32.108" v="1258" actId="478"/>
          <ac:picMkLst>
            <pc:docMk/>
            <pc:sldMk cId="2835097437" sldId="2890"/>
            <ac:picMk id="10" creationId="{D629DEAE-7F10-9615-5FC5-50D38AD93A3C}"/>
          </ac:picMkLst>
        </pc:picChg>
      </pc:sldChg>
      <pc:sldChg chg="addSp delSp modSp mod">
        <pc:chgData name="Judyta Kozlowska" userId="b4dee01e-1dd1-4ace-b126-5b3bd0cf451c" providerId="ADAL" clId="{8CF3F462-DE19-458E-AFD2-1CC203FCD46C}" dt="2023-02-13T08:00:55.623" v="1306" actId="6549"/>
        <pc:sldMkLst>
          <pc:docMk/>
          <pc:sldMk cId="2357485900" sldId="2895"/>
        </pc:sldMkLst>
        <pc:spChg chg="mod">
          <ac:chgData name="Judyta Kozlowska" userId="b4dee01e-1dd1-4ace-b126-5b3bd0cf451c" providerId="ADAL" clId="{8CF3F462-DE19-458E-AFD2-1CC203FCD46C}" dt="2023-02-13T08:00:55.623" v="1306" actId="6549"/>
          <ac:spMkLst>
            <pc:docMk/>
            <pc:sldMk cId="2357485900" sldId="2895"/>
            <ac:spMk id="2" creationId="{FCB2BE31-96F6-E7E8-A043-2B3908624B8A}"/>
          </ac:spMkLst>
        </pc:spChg>
        <pc:picChg chg="del">
          <ac:chgData name="Judyta Kozlowska" userId="b4dee01e-1dd1-4ace-b126-5b3bd0cf451c" providerId="ADAL" clId="{8CF3F462-DE19-458E-AFD2-1CC203FCD46C}" dt="2023-02-12T18:11:37.550" v="88" actId="478"/>
          <ac:picMkLst>
            <pc:docMk/>
            <pc:sldMk cId="2357485900" sldId="2895"/>
            <ac:picMk id="5" creationId="{CCFE9F30-98BB-01AF-4BF8-05248E2FCC8F}"/>
          </ac:picMkLst>
        </pc:picChg>
        <pc:picChg chg="add mod">
          <ac:chgData name="Judyta Kozlowska" userId="b4dee01e-1dd1-4ace-b126-5b3bd0cf451c" providerId="ADAL" clId="{8CF3F462-DE19-458E-AFD2-1CC203FCD46C}" dt="2023-02-13T08:00:49.833" v="1305" actId="14100"/>
          <ac:picMkLst>
            <pc:docMk/>
            <pc:sldMk cId="2357485900" sldId="2895"/>
            <ac:picMk id="6" creationId="{2370C848-0243-96E9-E022-66710733A323}"/>
          </ac:picMkLst>
        </pc:picChg>
      </pc:sldChg>
      <pc:sldChg chg="addSp delSp modSp mod">
        <pc:chgData name="Judyta Kozlowska" userId="b4dee01e-1dd1-4ace-b126-5b3bd0cf451c" providerId="ADAL" clId="{8CF3F462-DE19-458E-AFD2-1CC203FCD46C}" dt="2023-02-12T18:52:13.610" v="151" actId="478"/>
        <pc:sldMkLst>
          <pc:docMk/>
          <pc:sldMk cId="1303653633" sldId="2896"/>
        </pc:sldMkLst>
        <pc:spChg chg="del">
          <ac:chgData name="Judyta Kozlowska" userId="b4dee01e-1dd1-4ace-b126-5b3bd0cf451c" providerId="ADAL" clId="{8CF3F462-DE19-458E-AFD2-1CC203FCD46C}" dt="2023-02-12T18:52:13.610" v="151" actId="478"/>
          <ac:spMkLst>
            <pc:docMk/>
            <pc:sldMk cId="1303653633" sldId="2896"/>
            <ac:spMk id="3" creationId="{74DE7FD9-9844-47C7-92FC-5F2AA184A28D}"/>
          </ac:spMkLst>
        </pc:spChg>
        <pc:picChg chg="add mod">
          <ac:chgData name="Judyta Kozlowska" userId="b4dee01e-1dd1-4ace-b126-5b3bd0cf451c" providerId="ADAL" clId="{8CF3F462-DE19-458E-AFD2-1CC203FCD46C}" dt="2023-02-12T18:15:41.830" v="107" actId="1076"/>
          <ac:picMkLst>
            <pc:docMk/>
            <pc:sldMk cId="1303653633" sldId="2896"/>
            <ac:picMk id="7" creationId="{8BCFAC19-9A91-7746-D757-201D2887055C}"/>
          </ac:picMkLst>
        </pc:picChg>
        <pc:picChg chg="del">
          <ac:chgData name="Judyta Kozlowska" userId="b4dee01e-1dd1-4ace-b126-5b3bd0cf451c" providerId="ADAL" clId="{8CF3F462-DE19-458E-AFD2-1CC203FCD46C}" dt="2023-02-12T18:14:44.584" v="101" actId="478"/>
          <ac:picMkLst>
            <pc:docMk/>
            <pc:sldMk cId="1303653633" sldId="2896"/>
            <ac:picMk id="10" creationId="{EAEE838B-169E-A86F-1F90-DD72238CD9B3}"/>
          </ac:picMkLst>
        </pc:picChg>
      </pc:sldChg>
      <pc:sldChg chg="delSp modSp del mod">
        <pc:chgData name="Judyta Kozlowska" userId="b4dee01e-1dd1-4ace-b126-5b3bd0cf451c" providerId="ADAL" clId="{8CF3F462-DE19-458E-AFD2-1CC203FCD46C}" dt="2023-02-13T10:19:51.786" v="1971" actId="2696"/>
        <pc:sldMkLst>
          <pc:docMk/>
          <pc:sldMk cId="3016541242" sldId="2897"/>
        </pc:sldMkLst>
        <pc:spChg chg="mod">
          <ac:chgData name="Judyta Kozlowska" userId="b4dee01e-1dd1-4ace-b126-5b3bd0cf451c" providerId="ADAL" clId="{8CF3F462-DE19-458E-AFD2-1CC203FCD46C}" dt="2023-02-12T19:58:36.592" v="806" actId="207"/>
          <ac:spMkLst>
            <pc:docMk/>
            <pc:sldMk cId="3016541242" sldId="2897"/>
            <ac:spMk id="5" creationId="{46038FB7-675A-432D-0796-C0AF3BBB48A7}"/>
          </ac:spMkLst>
        </pc:spChg>
        <pc:picChg chg="del">
          <ac:chgData name="Judyta Kozlowska" userId="b4dee01e-1dd1-4ace-b126-5b3bd0cf451c" providerId="ADAL" clId="{8CF3F462-DE19-458E-AFD2-1CC203FCD46C}" dt="2023-02-12T19:58:26.292" v="782" actId="478"/>
          <ac:picMkLst>
            <pc:docMk/>
            <pc:sldMk cId="3016541242" sldId="2897"/>
            <ac:picMk id="1026" creationId="{1F63928C-6FF3-690F-05AC-E5990EC4C3F9}"/>
          </ac:picMkLst>
        </pc:picChg>
        <pc:picChg chg="del">
          <ac:chgData name="Judyta Kozlowska" userId="b4dee01e-1dd1-4ace-b126-5b3bd0cf451c" providerId="ADAL" clId="{8CF3F462-DE19-458E-AFD2-1CC203FCD46C}" dt="2023-02-12T19:58:27.801" v="783" actId="478"/>
          <ac:picMkLst>
            <pc:docMk/>
            <pc:sldMk cId="3016541242" sldId="2897"/>
            <ac:picMk id="2052" creationId="{B131F52C-E094-EF7E-8AC4-244DD8BC00FF}"/>
          </ac:picMkLst>
        </pc:picChg>
      </pc:sldChg>
      <pc:sldChg chg="addSp delSp modSp mod">
        <pc:chgData name="Judyta Kozlowska" userId="b4dee01e-1dd1-4ace-b126-5b3bd0cf451c" providerId="ADAL" clId="{8CF3F462-DE19-458E-AFD2-1CC203FCD46C}" dt="2023-02-12T21:30:32.204" v="1254" actId="1076"/>
        <pc:sldMkLst>
          <pc:docMk/>
          <pc:sldMk cId="1501911350" sldId="2898"/>
        </pc:sldMkLst>
        <pc:picChg chg="del">
          <ac:chgData name="Judyta Kozlowska" userId="b4dee01e-1dd1-4ace-b126-5b3bd0cf451c" providerId="ADAL" clId="{8CF3F462-DE19-458E-AFD2-1CC203FCD46C}" dt="2023-02-12T21:24:24.951" v="1215" actId="478"/>
          <ac:picMkLst>
            <pc:docMk/>
            <pc:sldMk cId="1501911350" sldId="2898"/>
            <ac:picMk id="3" creationId="{62AA5320-34C1-4B11-8AD4-DF09C19EBE5C}"/>
          </ac:picMkLst>
        </pc:picChg>
        <pc:picChg chg="add mod">
          <ac:chgData name="Judyta Kozlowska" userId="b4dee01e-1dd1-4ace-b126-5b3bd0cf451c" providerId="ADAL" clId="{8CF3F462-DE19-458E-AFD2-1CC203FCD46C}" dt="2023-02-12T21:30:32.204" v="1254" actId="1076"/>
          <ac:picMkLst>
            <pc:docMk/>
            <pc:sldMk cId="1501911350" sldId="2898"/>
            <ac:picMk id="6" creationId="{F9493B1E-BE28-23C2-D372-8F686741258C}"/>
          </ac:picMkLst>
        </pc:picChg>
      </pc:sldChg>
      <pc:sldChg chg="addSp delSp modSp mod">
        <pc:chgData name="Judyta Kozlowska" userId="b4dee01e-1dd1-4ace-b126-5b3bd0cf451c" providerId="ADAL" clId="{8CF3F462-DE19-458E-AFD2-1CC203FCD46C}" dt="2023-02-13T08:33:11.837" v="1928" actId="108"/>
        <pc:sldMkLst>
          <pc:docMk/>
          <pc:sldMk cId="1532946291" sldId="2899"/>
        </pc:sldMkLst>
        <pc:spChg chg="mod">
          <ac:chgData name="Judyta Kozlowska" userId="b4dee01e-1dd1-4ace-b126-5b3bd0cf451c" providerId="ADAL" clId="{8CF3F462-DE19-458E-AFD2-1CC203FCD46C}" dt="2023-02-13T08:33:11.837" v="1928" actId="108"/>
          <ac:spMkLst>
            <pc:docMk/>
            <pc:sldMk cId="1532946291" sldId="2899"/>
            <ac:spMk id="2" creationId="{8EEDAC2E-F15E-B79F-9619-C10F38F0CAD7}"/>
          </ac:spMkLst>
        </pc:spChg>
        <pc:picChg chg="add mod">
          <ac:chgData name="Judyta Kozlowska" userId="b4dee01e-1dd1-4ace-b126-5b3bd0cf451c" providerId="ADAL" clId="{8CF3F462-DE19-458E-AFD2-1CC203FCD46C}" dt="2023-02-13T08:33:01.746" v="1914" actId="1076"/>
          <ac:picMkLst>
            <pc:docMk/>
            <pc:sldMk cId="1532946291" sldId="2899"/>
            <ac:picMk id="5" creationId="{4D3D4C92-F958-5DAB-7729-969F088F0B65}"/>
          </ac:picMkLst>
        </pc:picChg>
        <pc:picChg chg="del">
          <ac:chgData name="Judyta Kozlowska" userId="b4dee01e-1dd1-4ace-b126-5b3bd0cf451c" providerId="ADAL" clId="{8CF3F462-DE19-458E-AFD2-1CC203FCD46C}" dt="2023-02-13T08:32:58.015" v="1912" actId="478"/>
          <ac:picMkLst>
            <pc:docMk/>
            <pc:sldMk cId="1532946291" sldId="2899"/>
            <ac:picMk id="12" creationId="{DC4630B4-7CC0-C81C-0898-4EB16D6A3AA1}"/>
          </ac:picMkLst>
        </pc:picChg>
      </pc:sldChg>
      <pc:sldChg chg="add del">
        <pc:chgData name="Judyta Kozlowska" userId="b4dee01e-1dd1-4ace-b126-5b3bd0cf451c" providerId="ADAL" clId="{8CF3F462-DE19-458E-AFD2-1CC203FCD46C}" dt="2023-02-12T20:51:48.424" v="981" actId="2696"/>
        <pc:sldMkLst>
          <pc:docMk/>
          <pc:sldMk cId="2487534521" sldId="2900"/>
        </pc:sldMkLst>
      </pc:sldChg>
      <pc:sldChg chg="addSp delSp modSp add mod">
        <pc:chgData name="Judyta Kozlowska" userId="b4dee01e-1dd1-4ace-b126-5b3bd0cf451c" providerId="ADAL" clId="{8CF3F462-DE19-458E-AFD2-1CC203FCD46C}" dt="2023-02-12T20:56:14.736" v="1123" actId="14100"/>
        <pc:sldMkLst>
          <pc:docMk/>
          <pc:sldMk cId="3200011237" sldId="2900"/>
        </pc:sldMkLst>
        <pc:spChg chg="mod">
          <ac:chgData name="Judyta Kozlowska" userId="b4dee01e-1dd1-4ace-b126-5b3bd0cf451c" providerId="ADAL" clId="{8CF3F462-DE19-458E-AFD2-1CC203FCD46C}" dt="2023-02-12T20:56:03.153" v="1116" actId="20577"/>
          <ac:spMkLst>
            <pc:docMk/>
            <pc:sldMk cId="3200011237" sldId="2900"/>
            <ac:spMk id="2" creationId="{1B444CE3-6913-B191-D3ED-3CC7690DE5CA}"/>
          </ac:spMkLst>
        </pc:spChg>
        <pc:picChg chg="del">
          <ac:chgData name="Judyta Kozlowska" userId="b4dee01e-1dd1-4ace-b126-5b3bd0cf451c" providerId="ADAL" clId="{8CF3F462-DE19-458E-AFD2-1CC203FCD46C}" dt="2023-02-12T20:56:08.372" v="1120" actId="478"/>
          <ac:picMkLst>
            <pc:docMk/>
            <pc:sldMk cId="3200011237" sldId="2900"/>
            <ac:picMk id="5" creationId="{30483E6E-ED8D-A629-3CE2-2BBB845C0D95}"/>
          </ac:picMkLst>
        </pc:picChg>
        <pc:picChg chg="add mod">
          <ac:chgData name="Judyta Kozlowska" userId="b4dee01e-1dd1-4ace-b126-5b3bd0cf451c" providerId="ADAL" clId="{8CF3F462-DE19-458E-AFD2-1CC203FCD46C}" dt="2023-02-12T20:56:14.736" v="1123" actId="14100"/>
          <ac:picMkLst>
            <pc:docMk/>
            <pc:sldMk cId="3200011237" sldId="2900"/>
            <ac:picMk id="6" creationId="{6D6992CF-01F3-25EB-E881-59B6689C991A}"/>
          </ac:picMkLst>
        </pc:picChg>
        <pc:picChg chg="del">
          <ac:chgData name="Judyta Kozlowska" userId="b4dee01e-1dd1-4ace-b126-5b3bd0cf451c" providerId="ADAL" clId="{8CF3F462-DE19-458E-AFD2-1CC203FCD46C}" dt="2023-02-12T20:56:07.737" v="1119" actId="478"/>
          <ac:picMkLst>
            <pc:docMk/>
            <pc:sldMk cId="3200011237" sldId="2900"/>
            <ac:picMk id="7" creationId="{E186DE10-3444-2CD6-76C1-C313222B2B2E}"/>
          </ac:picMkLst>
        </pc:picChg>
        <pc:picChg chg="del">
          <ac:chgData name="Judyta Kozlowska" userId="b4dee01e-1dd1-4ace-b126-5b3bd0cf451c" providerId="ADAL" clId="{8CF3F462-DE19-458E-AFD2-1CC203FCD46C}" dt="2023-02-12T20:56:08.931" v="1121" actId="478"/>
          <ac:picMkLst>
            <pc:docMk/>
            <pc:sldMk cId="3200011237" sldId="2900"/>
            <ac:picMk id="12" creationId="{0E50B8F1-C7D2-C9A8-A40E-7E2217B98082}"/>
          </ac:picMkLst>
        </pc:picChg>
      </pc:sldChg>
      <pc:sldChg chg="addSp delSp modSp add mod">
        <pc:chgData name="Judyta Kozlowska" userId="b4dee01e-1dd1-4ace-b126-5b3bd0cf451c" providerId="ADAL" clId="{8CF3F462-DE19-458E-AFD2-1CC203FCD46C}" dt="2023-02-13T08:10:05.332" v="1587" actId="1076"/>
        <pc:sldMkLst>
          <pc:docMk/>
          <pc:sldMk cId="1994188391" sldId="2901"/>
        </pc:sldMkLst>
        <pc:spChg chg="mod">
          <ac:chgData name="Judyta Kozlowska" userId="b4dee01e-1dd1-4ace-b126-5b3bd0cf451c" providerId="ADAL" clId="{8CF3F462-DE19-458E-AFD2-1CC203FCD46C}" dt="2023-02-12T21:19:03.674" v="1186" actId="20577"/>
          <ac:spMkLst>
            <pc:docMk/>
            <pc:sldMk cId="1994188391" sldId="2901"/>
            <ac:spMk id="2" creationId="{8EEDAC2E-F15E-B79F-9619-C10F38F0CAD7}"/>
          </ac:spMkLst>
        </pc:spChg>
        <pc:spChg chg="add mod">
          <ac:chgData name="Judyta Kozlowska" userId="b4dee01e-1dd1-4ace-b126-5b3bd0cf451c" providerId="ADAL" clId="{8CF3F462-DE19-458E-AFD2-1CC203FCD46C}" dt="2023-02-13T08:10:05.332" v="1587" actId="1076"/>
          <ac:spMkLst>
            <pc:docMk/>
            <pc:sldMk cId="1994188391" sldId="2901"/>
            <ac:spMk id="6" creationId="{E894BCB5-7F98-1252-07B2-779CBBA414BB}"/>
          </ac:spMkLst>
        </pc:spChg>
        <pc:picChg chg="add mod">
          <ac:chgData name="Judyta Kozlowska" userId="b4dee01e-1dd1-4ace-b126-5b3bd0cf451c" providerId="ADAL" clId="{8CF3F462-DE19-458E-AFD2-1CC203FCD46C}" dt="2023-02-12T21:18:51.936" v="1152" actId="1076"/>
          <ac:picMkLst>
            <pc:docMk/>
            <pc:sldMk cId="1994188391" sldId="2901"/>
            <ac:picMk id="5" creationId="{2384762E-1576-ABD1-C10C-799F36949132}"/>
          </ac:picMkLst>
        </pc:picChg>
        <pc:picChg chg="del">
          <ac:chgData name="Judyta Kozlowska" userId="b4dee01e-1dd1-4ace-b126-5b3bd0cf451c" providerId="ADAL" clId="{8CF3F462-DE19-458E-AFD2-1CC203FCD46C}" dt="2023-02-12T21:18:27.356" v="1148" actId="478"/>
          <ac:picMkLst>
            <pc:docMk/>
            <pc:sldMk cId="1994188391" sldId="2901"/>
            <ac:picMk id="12" creationId="{DC4630B4-7CC0-C81C-0898-4EB16D6A3AA1}"/>
          </ac:picMkLst>
        </pc:picChg>
      </pc:sldChg>
      <pc:sldChg chg="addSp delSp modSp add mod">
        <pc:chgData name="Judyta Kozlowska" userId="b4dee01e-1dd1-4ace-b126-5b3bd0cf451c" providerId="ADAL" clId="{8CF3F462-DE19-458E-AFD2-1CC203FCD46C}" dt="2023-02-13T08:10:00.108" v="1585" actId="21"/>
        <pc:sldMkLst>
          <pc:docMk/>
          <pc:sldMk cId="2746295703" sldId="2902"/>
        </pc:sldMkLst>
        <pc:spChg chg="mod">
          <ac:chgData name="Judyta Kozlowska" userId="b4dee01e-1dd1-4ace-b126-5b3bd0cf451c" providerId="ADAL" clId="{8CF3F462-DE19-458E-AFD2-1CC203FCD46C}" dt="2023-02-12T21:19:13.743" v="1210" actId="20577"/>
          <ac:spMkLst>
            <pc:docMk/>
            <pc:sldMk cId="2746295703" sldId="2902"/>
            <ac:spMk id="2" creationId="{8EEDAC2E-F15E-B79F-9619-C10F38F0CAD7}"/>
          </ac:spMkLst>
        </pc:spChg>
        <pc:spChg chg="add del mod">
          <ac:chgData name="Judyta Kozlowska" userId="b4dee01e-1dd1-4ace-b126-5b3bd0cf451c" providerId="ADAL" clId="{8CF3F462-DE19-458E-AFD2-1CC203FCD46C}" dt="2023-02-13T08:10:00.108" v="1585" actId="21"/>
          <ac:spMkLst>
            <pc:docMk/>
            <pc:sldMk cId="2746295703" sldId="2902"/>
            <ac:spMk id="7" creationId="{7278404A-5457-2522-AED6-5B39A3872885}"/>
          </ac:spMkLst>
        </pc:spChg>
        <pc:picChg chg="del">
          <ac:chgData name="Judyta Kozlowska" userId="b4dee01e-1dd1-4ace-b126-5b3bd0cf451c" providerId="ADAL" clId="{8CF3F462-DE19-458E-AFD2-1CC203FCD46C}" dt="2023-02-12T21:19:15.848" v="1211" actId="478"/>
          <ac:picMkLst>
            <pc:docMk/>
            <pc:sldMk cId="2746295703" sldId="2902"/>
            <ac:picMk id="5" creationId="{2384762E-1576-ABD1-C10C-799F36949132}"/>
          </ac:picMkLst>
        </pc:picChg>
        <pc:picChg chg="add mod">
          <ac:chgData name="Judyta Kozlowska" userId="b4dee01e-1dd1-4ace-b126-5b3bd0cf451c" providerId="ADAL" clId="{8CF3F462-DE19-458E-AFD2-1CC203FCD46C}" dt="2023-02-13T08:08:45.368" v="1319" actId="1076"/>
          <ac:picMkLst>
            <pc:docMk/>
            <pc:sldMk cId="2746295703" sldId="2902"/>
            <ac:picMk id="6" creationId="{9E24C3B8-FFA6-2D4C-ED95-4F137C3C8F3D}"/>
          </ac:picMkLst>
        </pc:picChg>
      </pc:sldChg>
      <pc:sldChg chg="addSp modSp add mod">
        <pc:chgData name="Judyta Kozlowska" userId="b4dee01e-1dd1-4ace-b126-5b3bd0cf451c" providerId="ADAL" clId="{8CF3F462-DE19-458E-AFD2-1CC203FCD46C}" dt="2023-02-12T21:32:17.147" v="1257" actId="1076"/>
        <pc:sldMkLst>
          <pc:docMk/>
          <pc:sldMk cId="304985107" sldId="2903"/>
        </pc:sldMkLst>
        <pc:spChg chg="mod">
          <ac:chgData name="Judyta Kozlowska" userId="b4dee01e-1dd1-4ace-b126-5b3bd0cf451c" providerId="ADAL" clId="{8CF3F462-DE19-458E-AFD2-1CC203FCD46C}" dt="2023-02-12T21:27:26.706" v="1227" actId="20577"/>
          <ac:spMkLst>
            <pc:docMk/>
            <pc:sldMk cId="304985107" sldId="2903"/>
            <ac:spMk id="5" creationId="{8F34C24A-4DB1-BAA6-C705-069CFA2CBD19}"/>
          </ac:spMkLst>
        </pc:spChg>
        <pc:picChg chg="add mod">
          <ac:chgData name="Judyta Kozlowska" userId="b4dee01e-1dd1-4ace-b126-5b3bd0cf451c" providerId="ADAL" clId="{8CF3F462-DE19-458E-AFD2-1CC203FCD46C}" dt="2023-02-12T21:32:17.147" v="1257" actId="1076"/>
          <ac:picMkLst>
            <pc:docMk/>
            <pc:sldMk cId="304985107" sldId="2903"/>
            <ac:picMk id="3" creationId="{BDDD295D-2AEE-DA76-ABAF-EE39165E987A}"/>
          </ac:picMkLst>
        </pc:picChg>
      </pc:sldChg>
      <pc:sldChg chg="addSp delSp modSp add del mod ord">
        <pc:chgData name="Judyta Kozlowska" userId="b4dee01e-1dd1-4ace-b126-5b3bd0cf451c" providerId="ADAL" clId="{8CF3F462-DE19-458E-AFD2-1CC203FCD46C}" dt="2023-02-13T09:35:14.020" v="1970" actId="20577"/>
        <pc:sldMkLst>
          <pc:docMk/>
          <pc:sldMk cId="3010223229" sldId="2904"/>
        </pc:sldMkLst>
        <pc:spChg chg="add mod">
          <ac:chgData name="Judyta Kozlowska" userId="b4dee01e-1dd1-4ace-b126-5b3bd0cf451c" providerId="ADAL" clId="{8CF3F462-DE19-458E-AFD2-1CC203FCD46C}" dt="2023-02-13T09:35:14.020" v="1970" actId="20577"/>
          <ac:spMkLst>
            <pc:docMk/>
            <pc:sldMk cId="3010223229" sldId="2904"/>
            <ac:spMk id="2" creationId="{2609E707-9A6B-FB02-7DD2-569966258B01}"/>
          </ac:spMkLst>
        </pc:spChg>
        <pc:spChg chg="mod">
          <ac:chgData name="Judyta Kozlowska" userId="b4dee01e-1dd1-4ace-b126-5b3bd0cf451c" providerId="ADAL" clId="{8CF3F462-DE19-458E-AFD2-1CC203FCD46C}" dt="2023-02-13T08:11:05.107" v="1603" actId="20577"/>
          <ac:spMkLst>
            <pc:docMk/>
            <pc:sldMk cId="3010223229" sldId="2904"/>
            <ac:spMk id="5" creationId="{8F34C24A-4DB1-BAA6-C705-069CFA2CBD19}"/>
          </ac:spMkLst>
        </pc:spChg>
        <pc:spChg chg="del mod">
          <ac:chgData name="Judyta Kozlowska" userId="b4dee01e-1dd1-4ace-b126-5b3bd0cf451c" providerId="ADAL" clId="{8CF3F462-DE19-458E-AFD2-1CC203FCD46C}" dt="2023-02-13T08:11:24.782" v="1607" actId="478"/>
          <ac:spMkLst>
            <pc:docMk/>
            <pc:sldMk cId="3010223229" sldId="2904"/>
            <ac:spMk id="6" creationId="{3CF23B17-7A57-84F9-4912-9479A93BB5D8}"/>
          </ac:spMkLst>
        </pc:spChg>
        <pc:spChg chg="add del mod">
          <ac:chgData name="Judyta Kozlowska" userId="b4dee01e-1dd1-4ace-b126-5b3bd0cf451c" providerId="ADAL" clId="{8CF3F462-DE19-458E-AFD2-1CC203FCD46C}" dt="2023-02-13T08:11:27.072" v="1608" actId="478"/>
          <ac:spMkLst>
            <pc:docMk/>
            <pc:sldMk cId="3010223229" sldId="2904"/>
            <ac:spMk id="8" creationId="{F5C8D9A9-716B-C55A-896F-1E7104509569}"/>
          </ac:spMkLst>
        </pc:spChg>
        <pc:picChg chg="del">
          <ac:chgData name="Judyta Kozlowska" userId="b4dee01e-1dd1-4ace-b126-5b3bd0cf451c" providerId="ADAL" clId="{8CF3F462-DE19-458E-AFD2-1CC203FCD46C}" dt="2023-02-13T08:11:09.124" v="1604" actId="478"/>
          <ac:picMkLst>
            <pc:docMk/>
            <pc:sldMk cId="3010223229" sldId="2904"/>
            <ac:picMk id="3" creationId="{58FEB924-DF28-2485-87F8-181D471C0DC3}"/>
          </ac:picMkLst>
        </pc:picChg>
        <pc:picChg chg="add del mod">
          <ac:chgData name="Judyta Kozlowska" userId="b4dee01e-1dd1-4ace-b126-5b3bd0cf451c" providerId="ADAL" clId="{8CF3F462-DE19-458E-AFD2-1CC203FCD46C}" dt="2023-02-13T09:34:27.820" v="1943" actId="478"/>
          <ac:picMkLst>
            <pc:docMk/>
            <pc:sldMk cId="3010223229" sldId="2904"/>
            <ac:picMk id="10" creationId="{514DA111-FFBA-86C2-11B4-4E3FED23D604}"/>
          </ac:picMkLst>
        </pc:picChg>
      </pc:sldChg>
      <pc:sldChg chg="modSp add mod">
        <pc:chgData name="Judyta Kozlowska" userId="b4dee01e-1dd1-4ace-b126-5b3bd0cf451c" providerId="ADAL" clId="{8CF3F462-DE19-458E-AFD2-1CC203FCD46C}" dt="2023-02-13T09:34:18.951" v="1940" actId="1076"/>
        <pc:sldMkLst>
          <pc:docMk/>
          <pc:sldMk cId="2754080841" sldId="2905"/>
        </pc:sldMkLst>
        <pc:spChg chg="mod">
          <ac:chgData name="Judyta Kozlowska" userId="b4dee01e-1dd1-4ace-b126-5b3bd0cf451c" providerId="ADAL" clId="{8CF3F462-DE19-458E-AFD2-1CC203FCD46C}" dt="2023-02-13T09:34:11.823" v="1936" actId="6549"/>
          <ac:spMkLst>
            <pc:docMk/>
            <pc:sldMk cId="2754080841" sldId="2905"/>
            <ac:spMk id="2" creationId="{2609E707-9A6B-FB02-7DD2-569966258B01}"/>
          </ac:spMkLst>
        </pc:spChg>
        <pc:picChg chg="mod">
          <ac:chgData name="Judyta Kozlowska" userId="b4dee01e-1dd1-4ace-b126-5b3bd0cf451c" providerId="ADAL" clId="{8CF3F462-DE19-458E-AFD2-1CC203FCD46C}" dt="2023-02-13T09:34:18.951" v="1940" actId="1076"/>
          <ac:picMkLst>
            <pc:docMk/>
            <pc:sldMk cId="2754080841" sldId="2905"/>
            <ac:picMk id="10" creationId="{514DA111-FFBA-86C2-11B4-4E3FED23D604}"/>
          </ac:picMkLst>
        </pc:picChg>
      </pc:sldChg>
    </pc:docChg>
  </pc:docChgLst>
  <pc:docChgLst>
    <pc:chgData name="Dawid Janik" userId="S::dawid.janik@upfieldbrands.com::81a947f4-3345-42c0-a461-2bf27ee4639f" providerId="AD" clId="Web-{C7172D67-42BE-48BC-BC01-A02D7E8416AE}"/>
    <pc:docChg chg="modSld">
      <pc:chgData name="Dawid Janik" userId="S::dawid.janik@upfieldbrands.com::81a947f4-3345-42c0-a461-2bf27ee4639f" providerId="AD" clId="Web-{C7172D67-42BE-48BC-BC01-A02D7E8416AE}" dt="2023-06-05T13:46:56.868" v="8" actId="1076"/>
      <pc:docMkLst>
        <pc:docMk/>
      </pc:docMkLst>
      <pc:sldChg chg="addSp delSp modSp">
        <pc:chgData name="Dawid Janik" userId="S::dawid.janik@upfieldbrands.com::81a947f4-3345-42c0-a461-2bf27ee4639f" providerId="AD" clId="Web-{C7172D67-42BE-48BC-BC01-A02D7E8416AE}" dt="2023-06-05T13:46:56.868" v="8" actId="1076"/>
        <pc:sldMkLst>
          <pc:docMk/>
          <pc:sldMk cId="1598440238" sldId="2147469991"/>
        </pc:sldMkLst>
        <pc:spChg chg="del">
          <ac:chgData name="Dawid Janik" userId="S::dawid.janik@upfieldbrands.com::81a947f4-3345-42c0-a461-2bf27ee4639f" providerId="AD" clId="Web-{C7172D67-42BE-48BC-BC01-A02D7E8416AE}" dt="2023-06-05T13:46:03.226" v="1"/>
          <ac:spMkLst>
            <pc:docMk/>
            <pc:sldMk cId="1598440238" sldId="2147469991"/>
            <ac:spMk id="2" creationId="{B820D776-3CA4-A31E-B4F9-0632292D951B}"/>
          </ac:spMkLst>
        </pc:spChg>
        <pc:spChg chg="del">
          <ac:chgData name="Dawid Janik" userId="S::dawid.janik@upfieldbrands.com::81a947f4-3345-42c0-a461-2bf27ee4639f" providerId="AD" clId="Web-{C7172D67-42BE-48BC-BC01-A02D7E8416AE}" dt="2023-06-05T13:46:03.976" v="3"/>
          <ac:spMkLst>
            <pc:docMk/>
            <pc:sldMk cId="1598440238" sldId="2147469991"/>
            <ac:spMk id="3" creationId="{4BA0E757-A4D3-BAFF-85C1-E3DD29168469}"/>
          </ac:spMkLst>
        </pc:spChg>
        <pc:spChg chg="del">
          <ac:chgData name="Dawid Janik" userId="S::dawid.janik@upfieldbrands.com::81a947f4-3345-42c0-a461-2bf27ee4639f" providerId="AD" clId="Web-{C7172D67-42BE-48BC-BC01-A02D7E8416AE}" dt="2023-06-05T13:46:03.148" v="0"/>
          <ac:spMkLst>
            <pc:docMk/>
            <pc:sldMk cId="1598440238" sldId="2147469991"/>
            <ac:spMk id="5" creationId="{958EB98D-F99F-10A4-82CA-76294B61F287}"/>
          </ac:spMkLst>
        </pc:spChg>
        <pc:spChg chg="del">
          <ac:chgData name="Dawid Janik" userId="S::dawid.janik@upfieldbrands.com::81a947f4-3345-42c0-a461-2bf27ee4639f" providerId="AD" clId="Web-{C7172D67-42BE-48BC-BC01-A02D7E8416AE}" dt="2023-06-05T13:46:03.851" v="2"/>
          <ac:spMkLst>
            <pc:docMk/>
            <pc:sldMk cId="1598440238" sldId="2147469991"/>
            <ac:spMk id="6" creationId="{D7E3BD8A-0673-BE24-8614-0FCDD5E6ABFF}"/>
          </ac:spMkLst>
        </pc:spChg>
        <pc:spChg chg="del">
          <ac:chgData name="Dawid Janik" userId="S::dawid.janik@upfieldbrands.com::81a947f4-3345-42c0-a461-2bf27ee4639f" providerId="AD" clId="Web-{C7172D67-42BE-48BC-BC01-A02D7E8416AE}" dt="2023-06-05T13:46:04.804" v="4"/>
          <ac:spMkLst>
            <pc:docMk/>
            <pc:sldMk cId="1598440238" sldId="2147469991"/>
            <ac:spMk id="7" creationId="{02D34B35-9A4E-2842-3E3E-8C0F66F87D8C}"/>
          </ac:spMkLst>
        </pc:spChg>
        <pc:graphicFrameChg chg="add mod">
          <ac:chgData name="Dawid Janik" userId="S::dawid.janik@upfieldbrands.com::81a947f4-3345-42c0-a461-2bf27ee4639f" providerId="AD" clId="Web-{C7172D67-42BE-48BC-BC01-A02D7E8416AE}" dt="2023-06-05T13:46:14.414" v="6" actId="1076"/>
          <ac:graphicFrameMkLst>
            <pc:docMk/>
            <pc:sldMk cId="1598440238" sldId="2147469991"/>
            <ac:graphicFrameMk id="8" creationId="{DC4FBB9D-6388-4035-A315-E2026EA46106}"/>
          </ac:graphicFrameMkLst>
        </pc:graphicFrameChg>
        <pc:graphicFrameChg chg="add mod">
          <ac:chgData name="Dawid Janik" userId="S::dawid.janik@upfieldbrands.com::81a947f4-3345-42c0-a461-2bf27ee4639f" providerId="AD" clId="Web-{C7172D67-42BE-48BC-BC01-A02D7E8416AE}" dt="2023-06-05T13:46:56.868" v="8" actId="1076"/>
          <ac:graphicFrameMkLst>
            <pc:docMk/>
            <pc:sldMk cId="1598440238" sldId="2147469991"/>
            <ac:graphicFrameMk id="9" creationId="{FCE0168F-BB47-46C8-9AF3-AE6D2D229EDE}"/>
          </ac:graphicFrameMkLst>
        </pc:graphicFrameChg>
      </pc:sldChg>
    </pc:docChg>
  </pc:docChgLst>
  <pc:docChgLst>
    <pc:chgData name="Dawid Janik" userId="S::dawid.janik@upfieldbrands.com::81a947f4-3345-42c0-a461-2bf27ee4639f" providerId="AD" clId="Web-{FFFACA60-556B-4A86-A225-A6F94FCD17F3}"/>
    <pc:docChg chg="addSld modSld sldOrd">
      <pc:chgData name="Dawid Janik" userId="S::dawid.janik@upfieldbrands.com::81a947f4-3345-42c0-a461-2bf27ee4639f" providerId="AD" clId="Web-{FFFACA60-556B-4A86-A225-A6F94FCD17F3}" dt="2023-06-07T11:30:07.279" v="111"/>
      <pc:docMkLst>
        <pc:docMk/>
      </pc:docMkLst>
      <pc:sldChg chg="ord">
        <pc:chgData name="Dawid Janik" userId="S::dawid.janik@upfieldbrands.com::81a947f4-3345-42c0-a461-2bf27ee4639f" providerId="AD" clId="Web-{FFFACA60-556B-4A86-A225-A6F94FCD17F3}" dt="2023-06-07T11:23:13.068" v="67"/>
        <pc:sldMkLst>
          <pc:docMk/>
          <pc:sldMk cId="4201953441" sldId="2147469992"/>
        </pc:sldMkLst>
      </pc:sldChg>
      <pc:sldChg chg="addSp delSp modSp new">
        <pc:chgData name="Dawid Janik" userId="S::dawid.janik@upfieldbrands.com::81a947f4-3345-42c0-a461-2bf27ee4639f" providerId="AD" clId="Web-{FFFACA60-556B-4A86-A225-A6F94FCD17F3}" dt="2023-06-07T11:30:07.279" v="111"/>
        <pc:sldMkLst>
          <pc:docMk/>
          <pc:sldMk cId="1361416781" sldId="2147469996"/>
        </pc:sldMkLst>
        <pc:spChg chg="del">
          <ac:chgData name="Dawid Janik" userId="S::dawid.janik@upfieldbrands.com::81a947f4-3345-42c0-a461-2bf27ee4639f" providerId="AD" clId="Web-{FFFACA60-556B-4A86-A225-A6F94FCD17F3}" dt="2023-06-07T11:12:16.664" v="2"/>
          <ac:spMkLst>
            <pc:docMk/>
            <pc:sldMk cId="1361416781" sldId="2147469996"/>
            <ac:spMk id="2" creationId="{2E426C63-20EF-2AAF-FD3A-CFAAB48146D7}"/>
          </ac:spMkLst>
        </pc:spChg>
        <pc:spChg chg="del">
          <ac:chgData name="Dawid Janik" userId="S::dawid.janik@upfieldbrands.com::81a947f4-3345-42c0-a461-2bf27ee4639f" providerId="AD" clId="Web-{FFFACA60-556B-4A86-A225-A6F94FCD17F3}" dt="2023-06-07T11:12:18.883" v="4"/>
          <ac:spMkLst>
            <pc:docMk/>
            <pc:sldMk cId="1361416781" sldId="2147469996"/>
            <ac:spMk id="3" creationId="{8826A374-CFED-A230-1C23-89D53226DD68}"/>
          </ac:spMkLst>
        </pc:spChg>
        <pc:spChg chg="del">
          <ac:chgData name="Dawid Janik" userId="S::dawid.janik@upfieldbrands.com::81a947f4-3345-42c0-a461-2bf27ee4639f" providerId="AD" clId="Web-{FFFACA60-556B-4A86-A225-A6F94FCD17F3}" dt="2023-06-07T11:12:15.508" v="1"/>
          <ac:spMkLst>
            <pc:docMk/>
            <pc:sldMk cId="1361416781" sldId="2147469996"/>
            <ac:spMk id="5" creationId="{437BEB00-0611-CF4C-ED39-8BD8CA22AA55}"/>
          </ac:spMkLst>
        </pc:spChg>
        <pc:spChg chg="del">
          <ac:chgData name="Dawid Janik" userId="S::dawid.janik@upfieldbrands.com::81a947f4-3345-42c0-a461-2bf27ee4639f" providerId="AD" clId="Web-{FFFACA60-556B-4A86-A225-A6F94FCD17F3}" dt="2023-06-07T11:12:17.696" v="3"/>
          <ac:spMkLst>
            <pc:docMk/>
            <pc:sldMk cId="1361416781" sldId="2147469996"/>
            <ac:spMk id="6" creationId="{A73B7CE9-9E8A-1D0F-6CCF-46247C3E97C7}"/>
          </ac:spMkLst>
        </pc:spChg>
        <pc:spChg chg="del">
          <ac:chgData name="Dawid Janik" userId="S::dawid.janik@upfieldbrands.com::81a947f4-3345-42c0-a461-2bf27ee4639f" providerId="AD" clId="Web-{FFFACA60-556B-4A86-A225-A6F94FCD17F3}" dt="2023-06-07T11:12:19.774" v="5"/>
          <ac:spMkLst>
            <pc:docMk/>
            <pc:sldMk cId="1361416781" sldId="2147469996"/>
            <ac:spMk id="7" creationId="{D28A8430-B642-E5FA-C170-6A8FFC7A3FF6}"/>
          </ac:spMkLst>
        </pc:spChg>
        <pc:spChg chg="add mod">
          <ac:chgData name="Dawid Janik" userId="S::dawid.janik@upfieldbrands.com::81a947f4-3345-42c0-a461-2bf27ee4639f" providerId="AD" clId="Web-{FFFACA60-556B-4A86-A225-A6F94FCD17F3}" dt="2023-06-07T11:12:44.618" v="20" actId="20577"/>
          <ac:spMkLst>
            <pc:docMk/>
            <pc:sldMk cId="1361416781" sldId="2147469996"/>
            <ac:spMk id="8" creationId="{10BD4C5E-7BE8-021B-3A66-F2DB1303B7F1}"/>
          </ac:spMkLst>
        </pc:spChg>
        <pc:graphicFrameChg chg="add del mod modGraphic">
          <ac:chgData name="Dawid Janik" userId="S::dawid.janik@upfieldbrands.com::81a947f4-3345-42c0-a461-2bf27ee4639f" providerId="AD" clId="Web-{FFFACA60-556B-4A86-A225-A6F94FCD17F3}" dt="2023-06-07T11:24:11.647" v="85"/>
          <ac:graphicFrameMkLst>
            <pc:docMk/>
            <pc:sldMk cId="1361416781" sldId="2147469996"/>
            <ac:graphicFrameMk id="10" creationId="{B99F1E16-C64F-A312-97DE-A6AD047D6124}"/>
          </ac:graphicFrameMkLst>
        </pc:graphicFrameChg>
        <pc:graphicFrameChg chg="add mod modGraphic">
          <ac:chgData name="Dawid Janik" userId="S::dawid.janik@upfieldbrands.com::81a947f4-3345-42c0-a461-2bf27ee4639f" providerId="AD" clId="Web-{FFFACA60-556B-4A86-A225-A6F94FCD17F3}" dt="2023-06-07T11:30:07.279" v="111"/>
          <ac:graphicFrameMkLst>
            <pc:docMk/>
            <pc:sldMk cId="1361416781" sldId="2147469996"/>
            <ac:graphicFrameMk id="12" creationId="{26D59C8B-D204-BFA5-1CEA-4CE313D5DD1A}"/>
          </ac:graphicFrameMkLst>
        </pc:graphicFrameChg>
        <pc:graphicFrameChg chg="add mod modGraphic">
          <ac:chgData name="Dawid Janik" userId="S::dawid.janik@upfieldbrands.com::81a947f4-3345-42c0-a461-2bf27ee4639f" providerId="AD" clId="Web-{FFFACA60-556B-4A86-A225-A6F94FCD17F3}" dt="2023-06-07T11:25:13.711" v="99" actId="1076"/>
          <ac:graphicFrameMkLst>
            <pc:docMk/>
            <pc:sldMk cId="1361416781" sldId="2147469996"/>
            <ac:graphicFrameMk id="14" creationId="{B2FB8147-7BEF-B263-EFA4-E8CA889A458D}"/>
          </ac:graphicFrameMkLst>
        </pc:graphicFrameChg>
        <pc:graphicFrameChg chg="add del mod">
          <ac:chgData name="Dawid Janik" userId="S::dawid.janik@upfieldbrands.com::81a947f4-3345-42c0-a461-2bf27ee4639f" providerId="AD" clId="Web-{FFFACA60-556B-4A86-A225-A6F94FCD17F3}" dt="2023-06-07T11:29:06.888" v="103"/>
          <ac:graphicFrameMkLst>
            <pc:docMk/>
            <pc:sldMk cId="1361416781" sldId="2147469996"/>
            <ac:graphicFrameMk id="15" creationId="{743DA750-E386-391F-38BD-83E748B18AEE}"/>
          </ac:graphicFrameMkLst>
        </pc:graphicFrameChg>
        <pc:graphicFrameChg chg="add mod">
          <ac:chgData name="Dawid Janik" userId="S::dawid.janik@upfieldbrands.com::81a947f4-3345-42c0-a461-2bf27ee4639f" providerId="AD" clId="Web-{FFFACA60-556B-4A86-A225-A6F94FCD17F3}" dt="2023-06-07T11:29:18.013" v="105" actId="1076"/>
          <ac:graphicFrameMkLst>
            <pc:docMk/>
            <pc:sldMk cId="1361416781" sldId="2147469996"/>
            <ac:graphicFrameMk id="16" creationId="{743DA750-E386-391F-38BD-83E748B18AEE}"/>
          </ac:graphicFrameMkLst>
        </pc:graphicFrameChg>
      </pc:sldChg>
    </pc:docChg>
  </pc:docChgLst>
  <pc:docChgLst>
    <pc:chgData name="Dawid Janik" userId="S::dawid.janik@upfieldbrands.com::81a947f4-3345-42c0-a461-2bf27ee4639f" providerId="AD" clId="Web-{F725163C-77BF-4228-9AF2-63F39BCE6A4D}"/>
    <pc:docChg chg="addSld modSld">
      <pc:chgData name="Dawid Janik" userId="S::dawid.janik@upfieldbrands.com::81a947f4-3345-42c0-a461-2bf27ee4639f" providerId="AD" clId="Web-{F725163C-77BF-4228-9AF2-63F39BCE6A4D}" dt="2023-06-05T13:35:21.845" v="21"/>
      <pc:docMkLst>
        <pc:docMk/>
      </pc:docMkLst>
      <pc:sldChg chg="modSp">
        <pc:chgData name="Dawid Janik" userId="S::dawid.janik@upfieldbrands.com::81a947f4-3345-42c0-a461-2bf27ee4639f" providerId="AD" clId="Web-{F725163C-77BF-4228-9AF2-63F39BCE6A4D}" dt="2023-06-05T13:35:21.845" v="21"/>
        <pc:sldMkLst>
          <pc:docMk/>
          <pc:sldMk cId="1173544550" sldId="2147469990"/>
        </pc:sldMkLst>
        <pc:graphicFrameChg chg="mod modGraphic">
          <ac:chgData name="Dawid Janik" userId="S::dawid.janik@upfieldbrands.com::81a947f4-3345-42c0-a461-2bf27ee4639f" providerId="AD" clId="Web-{F725163C-77BF-4228-9AF2-63F39BCE6A4D}" dt="2023-06-05T13:33:37.748" v="6"/>
          <ac:graphicFrameMkLst>
            <pc:docMk/>
            <pc:sldMk cId="1173544550" sldId="2147469990"/>
            <ac:graphicFrameMk id="12" creationId="{4ED50428-40AA-6D7C-D4C2-CE8CB5038D26}"/>
          </ac:graphicFrameMkLst>
        </pc:graphicFrameChg>
        <pc:graphicFrameChg chg="mod modGraphic">
          <ac:chgData name="Dawid Janik" userId="S::dawid.janik@upfieldbrands.com::81a947f4-3345-42c0-a461-2bf27ee4639f" providerId="AD" clId="Web-{F725163C-77BF-4228-9AF2-63F39BCE6A4D}" dt="2023-06-05T13:35:21.845" v="21"/>
          <ac:graphicFrameMkLst>
            <pc:docMk/>
            <pc:sldMk cId="1173544550" sldId="2147469990"/>
            <ac:graphicFrameMk id="18" creationId="{E6C21E1F-2971-E362-D1DD-86ED550BEE0C}"/>
          </ac:graphicFrameMkLst>
        </pc:graphicFrameChg>
      </pc:sldChg>
      <pc:sldChg chg="new">
        <pc:chgData name="Dawid Janik" userId="S::dawid.janik@upfieldbrands.com::81a947f4-3345-42c0-a461-2bf27ee4639f" providerId="AD" clId="Web-{F725163C-77BF-4228-9AF2-63F39BCE6A4D}" dt="2023-06-05T13:34:21.687" v="15"/>
        <pc:sldMkLst>
          <pc:docMk/>
          <pc:sldMk cId="1598440238" sldId="2147469991"/>
        </pc:sldMkLst>
      </pc:sldChg>
    </pc:docChg>
  </pc:docChgLst>
  <pc:docChgLst>
    <pc:chgData name="Nicole Lubecka" userId="S::nicole.lubecka@upfieldbrands.com::89b115e4-070b-43fa-b212-29dc9a6c2e42" providerId="AD" clId="Web-{DBFA8250-27B6-634B-E186-EAE28DC39429}"/>
    <pc:docChg chg="modSld">
      <pc:chgData name="Nicole Lubecka" userId="S::nicole.lubecka@upfieldbrands.com::89b115e4-070b-43fa-b212-29dc9a6c2e42" providerId="AD" clId="Web-{DBFA8250-27B6-634B-E186-EAE28DC39429}" dt="2023-04-07T10:41:43.861" v="11" actId="20577"/>
      <pc:docMkLst>
        <pc:docMk/>
      </pc:docMkLst>
      <pc:sldChg chg="addSp delSp modSp">
        <pc:chgData name="Nicole Lubecka" userId="S::nicole.lubecka@upfieldbrands.com::89b115e4-070b-43fa-b212-29dc9a6c2e42" providerId="AD" clId="Web-{DBFA8250-27B6-634B-E186-EAE28DC39429}" dt="2023-04-07T10:41:43.861" v="11" actId="20577"/>
        <pc:sldMkLst>
          <pc:docMk/>
          <pc:sldMk cId="289989424" sldId="2858"/>
        </pc:sldMkLst>
        <pc:spChg chg="mod">
          <ac:chgData name="Nicole Lubecka" userId="S::nicole.lubecka@upfieldbrands.com::89b115e4-070b-43fa-b212-29dc9a6c2e42" providerId="AD" clId="Web-{DBFA8250-27B6-634B-E186-EAE28DC39429}" dt="2023-04-07T10:41:43.861" v="11" actId="20577"/>
          <ac:spMkLst>
            <pc:docMk/>
            <pc:sldMk cId="289989424" sldId="2858"/>
            <ac:spMk id="2" creationId="{CF04DB44-42D0-7DDA-052D-69EE10190E3D}"/>
          </ac:spMkLst>
        </pc:spChg>
        <pc:spChg chg="del">
          <ac:chgData name="Nicole Lubecka" userId="S::nicole.lubecka@upfieldbrands.com::89b115e4-070b-43fa-b212-29dc9a6c2e42" providerId="AD" clId="Web-{DBFA8250-27B6-634B-E186-EAE28DC39429}" dt="2023-04-07T10:32:25.573" v="1"/>
          <ac:spMkLst>
            <pc:docMk/>
            <pc:sldMk cId="289989424" sldId="2858"/>
            <ac:spMk id="3" creationId="{9EF69F06-B4AC-2EDA-368F-793BF833AC0D}"/>
          </ac:spMkLst>
        </pc:spChg>
        <pc:spChg chg="del">
          <ac:chgData name="Nicole Lubecka" userId="S::nicole.lubecka@upfieldbrands.com::89b115e4-070b-43fa-b212-29dc9a6c2e42" providerId="AD" clId="Web-{DBFA8250-27B6-634B-E186-EAE28DC39429}" dt="2023-04-07T10:32:22.558" v="0"/>
          <ac:spMkLst>
            <pc:docMk/>
            <pc:sldMk cId="289989424" sldId="2858"/>
            <ac:spMk id="10" creationId="{99FE9447-8927-1C36-04A1-A0C45EBD95B8}"/>
          </ac:spMkLst>
        </pc:spChg>
        <pc:picChg chg="add mod">
          <ac:chgData name="Nicole Lubecka" userId="S::nicole.lubecka@upfieldbrands.com::89b115e4-070b-43fa-b212-29dc9a6c2e42" providerId="AD" clId="Web-{DBFA8250-27B6-634B-E186-EAE28DC39429}" dt="2023-04-07T10:41:33.438" v="5" actId="14100"/>
          <ac:picMkLst>
            <pc:docMk/>
            <pc:sldMk cId="289989424" sldId="2858"/>
            <ac:picMk id="5" creationId="{5E28C92C-6989-C986-F7C9-86C988B3FE83}"/>
          </ac:picMkLst>
        </pc:picChg>
        <pc:picChg chg="del">
          <ac:chgData name="Nicole Lubecka" userId="S::nicole.lubecka@upfieldbrands.com::89b115e4-070b-43fa-b212-29dc9a6c2e42" providerId="AD" clId="Web-{DBFA8250-27B6-634B-E186-EAE28DC39429}" dt="2023-04-07T10:41:23.610" v="2"/>
          <ac:picMkLst>
            <pc:docMk/>
            <pc:sldMk cId="289989424" sldId="2858"/>
            <ac:picMk id="9" creationId="{31CD3899-F4AB-7B74-9F4C-88B3ADA3DF44}"/>
          </ac:picMkLst>
        </pc:picChg>
      </pc:sldChg>
    </pc:docChg>
  </pc:docChgLst>
  <pc:docChgLst>
    <pc:chgData name="Dawid Janik" userId="81a947f4-3345-42c0-a461-2bf27ee4639f" providerId="ADAL" clId="{B83146BC-24D5-4C73-9A84-28D9C2A45BCE}"/>
    <pc:docChg chg="undo custSel addSld delSld modSld">
      <pc:chgData name="Dawid Janik" userId="81a947f4-3345-42c0-a461-2bf27ee4639f" providerId="ADAL" clId="{B83146BC-24D5-4C73-9A84-28D9C2A45BCE}" dt="2024-04-11T10:35:24.250" v="195" actId="14100"/>
      <pc:docMkLst>
        <pc:docMk/>
      </pc:docMkLst>
      <pc:sldChg chg="modSp mod">
        <pc:chgData name="Dawid Janik" userId="81a947f4-3345-42c0-a461-2bf27ee4639f" providerId="ADAL" clId="{B83146BC-24D5-4C73-9A84-28D9C2A45BCE}" dt="2024-04-11T10:19:41.166" v="21" actId="20577"/>
        <pc:sldMkLst>
          <pc:docMk/>
          <pc:sldMk cId="387532369" sldId="262"/>
        </pc:sldMkLst>
        <pc:spChg chg="mod">
          <ac:chgData name="Dawid Janik" userId="81a947f4-3345-42c0-a461-2bf27ee4639f" providerId="ADAL" clId="{B83146BC-24D5-4C73-9A84-28D9C2A45BCE}" dt="2024-04-11T10:19:41.166" v="21" actId="20577"/>
          <ac:spMkLst>
            <pc:docMk/>
            <pc:sldMk cId="387532369" sldId="262"/>
            <ac:spMk id="2" creationId="{00000000-0000-0000-0000-000000000000}"/>
          </ac:spMkLst>
        </pc:spChg>
      </pc:sldChg>
      <pc:sldChg chg="addSp delSp modSp mod">
        <pc:chgData name="Dawid Janik" userId="81a947f4-3345-42c0-a461-2bf27ee4639f" providerId="ADAL" clId="{B83146BC-24D5-4C73-9A84-28D9C2A45BCE}" dt="2024-04-11T10:30:42.541" v="178" actId="1076"/>
        <pc:sldMkLst>
          <pc:docMk/>
          <pc:sldMk cId="2461597442" sldId="2147469989"/>
        </pc:sldMkLst>
        <pc:spChg chg="mod">
          <ac:chgData name="Dawid Janik" userId="81a947f4-3345-42c0-a461-2bf27ee4639f" providerId="ADAL" clId="{B83146BC-24D5-4C73-9A84-28D9C2A45BCE}" dt="2024-04-11T10:30:41.375" v="177" actId="27636"/>
          <ac:spMkLst>
            <pc:docMk/>
            <pc:sldMk cId="2461597442" sldId="2147469989"/>
            <ac:spMk id="3" creationId="{909A103A-960B-4112-EBD6-9F2255AE6CE7}"/>
          </ac:spMkLst>
        </pc:spChg>
        <pc:spChg chg="del mod">
          <ac:chgData name="Dawid Janik" userId="81a947f4-3345-42c0-a461-2bf27ee4639f" providerId="ADAL" clId="{B83146BC-24D5-4C73-9A84-28D9C2A45BCE}" dt="2024-04-11T10:19:57.888" v="26"/>
          <ac:spMkLst>
            <pc:docMk/>
            <pc:sldMk cId="2461597442" sldId="2147469989"/>
            <ac:spMk id="5" creationId="{E0CDCE63-E3C5-17B4-26D0-E2F42D0A433A}"/>
          </ac:spMkLst>
        </pc:spChg>
        <pc:graphicFrameChg chg="del">
          <ac:chgData name="Dawid Janik" userId="81a947f4-3345-42c0-a461-2bf27ee4639f" providerId="ADAL" clId="{B83146BC-24D5-4C73-9A84-28D9C2A45BCE}" dt="2024-04-11T10:19:55.106" v="22" actId="478"/>
          <ac:graphicFrameMkLst>
            <pc:docMk/>
            <pc:sldMk cId="2461597442" sldId="2147469989"/>
            <ac:graphicFrameMk id="6" creationId="{16BFA489-9CDF-17F2-C1C0-227953CA1D17}"/>
          </ac:graphicFrameMkLst>
        </pc:graphicFrameChg>
        <pc:graphicFrameChg chg="del">
          <ac:chgData name="Dawid Janik" userId="81a947f4-3345-42c0-a461-2bf27ee4639f" providerId="ADAL" clId="{B83146BC-24D5-4C73-9A84-28D9C2A45BCE}" dt="2024-04-11T10:19:57.884" v="24" actId="478"/>
          <ac:graphicFrameMkLst>
            <pc:docMk/>
            <pc:sldMk cId="2461597442" sldId="2147469989"/>
            <ac:graphicFrameMk id="7" creationId="{D861ABFE-853F-82E6-9598-4964B440CC3C}"/>
          </ac:graphicFrameMkLst>
        </pc:graphicFrameChg>
        <pc:picChg chg="add del mod">
          <ac:chgData name="Dawid Janik" userId="81a947f4-3345-42c0-a461-2bf27ee4639f" providerId="ADAL" clId="{B83146BC-24D5-4C73-9A84-28D9C2A45BCE}" dt="2024-04-11T10:28:43.573" v="164" actId="478"/>
          <ac:picMkLst>
            <pc:docMk/>
            <pc:sldMk cId="2461597442" sldId="2147469989"/>
            <ac:picMk id="2" creationId="{E0DB9162-BD84-F51D-370E-20A5B7CA4F3E}"/>
          </ac:picMkLst>
        </pc:picChg>
        <pc:picChg chg="add del mod">
          <ac:chgData name="Dawid Janik" userId="81a947f4-3345-42c0-a461-2bf27ee4639f" providerId="ADAL" clId="{B83146BC-24D5-4C73-9A84-28D9C2A45BCE}" dt="2024-04-11T10:30:04.893" v="167" actId="478"/>
          <ac:picMkLst>
            <pc:docMk/>
            <pc:sldMk cId="2461597442" sldId="2147469989"/>
            <ac:picMk id="8" creationId="{ED6FD8A2-4F0A-8934-651A-8A9D9E8F03C0}"/>
          </ac:picMkLst>
        </pc:picChg>
        <pc:picChg chg="add mod">
          <ac:chgData name="Dawid Janik" userId="81a947f4-3345-42c0-a461-2bf27ee4639f" providerId="ADAL" clId="{B83146BC-24D5-4C73-9A84-28D9C2A45BCE}" dt="2024-04-11T10:28:46.145" v="166" actId="1076"/>
          <ac:picMkLst>
            <pc:docMk/>
            <pc:sldMk cId="2461597442" sldId="2147469989"/>
            <ac:picMk id="1025" creationId="{F436B45B-48FD-EB4F-0386-CCB2F3B762DE}"/>
          </ac:picMkLst>
        </pc:picChg>
        <pc:picChg chg="add mod">
          <ac:chgData name="Dawid Janik" userId="81a947f4-3345-42c0-a461-2bf27ee4639f" providerId="ADAL" clId="{B83146BC-24D5-4C73-9A84-28D9C2A45BCE}" dt="2024-04-11T10:30:42.541" v="178" actId="1076"/>
          <ac:picMkLst>
            <pc:docMk/>
            <pc:sldMk cId="2461597442" sldId="2147469989"/>
            <ac:picMk id="1026" creationId="{83AE0A32-96B3-50DE-95B7-688177F1EAE0}"/>
          </ac:picMkLst>
        </pc:picChg>
      </pc:sldChg>
      <pc:sldChg chg="addSp delSp modSp mod">
        <pc:chgData name="Dawid Janik" userId="81a947f4-3345-42c0-a461-2bf27ee4639f" providerId="ADAL" clId="{B83146BC-24D5-4C73-9A84-28D9C2A45BCE}" dt="2024-04-11T10:35:24.250" v="195" actId="14100"/>
        <pc:sldMkLst>
          <pc:docMk/>
          <pc:sldMk cId="1173544550" sldId="2147469990"/>
        </pc:sldMkLst>
        <pc:spChg chg="mod">
          <ac:chgData name="Dawid Janik" userId="81a947f4-3345-42c0-a461-2bf27ee4639f" providerId="ADAL" clId="{B83146BC-24D5-4C73-9A84-28D9C2A45BCE}" dt="2024-04-11T10:20:16.247" v="37" actId="20577"/>
          <ac:spMkLst>
            <pc:docMk/>
            <pc:sldMk cId="1173544550" sldId="2147469990"/>
            <ac:spMk id="10" creationId="{C9C6750A-7217-3D84-2204-66C3205C3870}"/>
          </ac:spMkLst>
        </pc:spChg>
        <pc:graphicFrameChg chg="add del mod">
          <ac:chgData name="Dawid Janik" userId="81a947f4-3345-42c0-a461-2bf27ee4639f" providerId="ADAL" clId="{B83146BC-24D5-4C73-9A84-28D9C2A45BCE}" dt="2024-04-11T10:32:29.226" v="179" actId="478"/>
          <ac:graphicFrameMkLst>
            <pc:docMk/>
            <pc:sldMk cId="1173544550" sldId="2147469990"/>
            <ac:graphicFrameMk id="2" creationId="{E94DD6AD-D34C-521E-6102-CA3156D7A9AD}"/>
          </ac:graphicFrameMkLst>
        </pc:graphicFrameChg>
        <pc:graphicFrameChg chg="add del mod">
          <ac:chgData name="Dawid Janik" userId="81a947f4-3345-42c0-a461-2bf27ee4639f" providerId="ADAL" clId="{B83146BC-24D5-4C73-9A84-28D9C2A45BCE}" dt="2024-04-11T10:34:58.141" v="190" actId="478"/>
          <ac:graphicFrameMkLst>
            <pc:docMk/>
            <pc:sldMk cId="1173544550" sldId="2147469990"/>
            <ac:graphicFrameMk id="3" creationId="{BC952535-6225-A881-4D92-C178363A16BF}"/>
          </ac:graphicFrameMkLst>
        </pc:graphicFrameChg>
        <pc:graphicFrameChg chg="add del mod modGraphic">
          <ac:chgData name="Dawid Janik" userId="81a947f4-3345-42c0-a461-2bf27ee4639f" providerId="ADAL" clId="{B83146BC-24D5-4C73-9A84-28D9C2A45BCE}" dt="2024-04-11T10:33:24.313" v="184" actId="478"/>
          <ac:graphicFrameMkLst>
            <pc:docMk/>
            <pc:sldMk cId="1173544550" sldId="2147469990"/>
            <ac:graphicFrameMk id="5" creationId="{81ADA956-E975-3173-73F1-B0ACE901310F}"/>
          </ac:graphicFrameMkLst>
        </pc:graphicFrameChg>
        <pc:graphicFrameChg chg="add mod modGraphic">
          <ac:chgData name="Dawid Janik" userId="81a947f4-3345-42c0-a461-2bf27ee4639f" providerId="ADAL" clId="{B83146BC-24D5-4C73-9A84-28D9C2A45BCE}" dt="2024-04-11T10:35:19.576" v="194" actId="1076"/>
          <ac:graphicFrameMkLst>
            <pc:docMk/>
            <pc:sldMk cId="1173544550" sldId="2147469990"/>
            <ac:graphicFrameMk id="6" creationId="{76490567-BA8D-86AC-CD97-98ABDE924B91}"/>
          </ac:graphicFrameMkLst>
        </pc:graphicFrameChg>
        <pc:graphicFrameChg chg="del">
          <ac:chgData name="Dawid Janik" userId="81a947f4-3345-42c0-a461-2bf27ee4639f" providerId="ADAL" clId="{B83146BC-24D5-4C73-9A84-28D9C2A45BCE}" dt="2024-04-11T10:20:12.049" v="31" actId="478"/>
          <ac:graphicFrameMkLst>
            <pc:docMk/>
            <pc:sldMk cId="1173544550" sldId="2147469990"/>
            <ac:graphicFrameMk id="7" creationId="{F39301B9-C4B9-EB30-34F9-74A11C1374C0}"/>
          </ac:graphicFrameMkLst>
        </pc:graphicFrameChg>
        <pc:graphicFrameChg chg="add mod modGraphic">
          <ac:chgData name="Dawid Janik" userId="81a947f4-3345-42c0-a461-2bf27ee4639f" providerId="ADAL" clId="{B83146BC-24D5-4C73-9A84-28D9C2A45BCE}" dt="2024-04-11T10:35:24.250" v="195" actId="14100"/>
          <ac:graphicFrameMkLst>
            <pc:docMk/>
            <pc:sldMk cId="1173544550" sldId="2147469990"/>
            <ac:graphicFrameMk id="9" creationId="{F31E5026-53A1-B64B-27C8-1AB64C997684}"/>
          </ac:graphicFrameMkLst>
        </pc:graphicFrameChg>
        <pc:graphicFrameChg chg="del modGraphic">
          <ac:chgData name="Dawid Janik" userId="81a947f4-3345-42c0-a461-2bf27ee4639f" providerId="ADAL" clId="{B83146BC-24D5-4C73-9A84-28D9C2A45BCE}" dt="2024-04-11T10:20:13.137" v="32" actId="478"/>
          <ac:graphicFrameMkLst>
            <pc:docMk/>
            <pc:sldMk cId="1173544550" sldId="2147469990"/>
            <ac:graphicFrameMk id="11" creationId="{CA7D3380-711E-127C-0FBA-ED3B7F2D73F5}"/>
          </ac:graphicFrameMkLst>
        </pc:graphicFrameChg>
      </pc:sldChg>
      <pc:sldChg chg="addSp delSp modSp mod">
        <pc:chgData name="Dawid Janik" userId="81a947f4-3345-42c0-a461-2bf27ee4639f" providerId="ADAL" clId="{B83146BC-24D5-4C73-9A84-28D9C2A45BCE}" dt="2024-04-11T10:21:00.942" v="57" actId="1076"/>
        <pc:sldMkLst>
          <pc:docMk/>
          <pc:sldMk cId="1598440238" sldId="2147469991"/>
        </pc:sldMkLst>
        <pc:spChg chg="mod">
          <ac:chgData name="Dawid Janik" userId="81a947f4-3345-42c0-a461-2bf27ee4639f" providerId="ADAL" clId="{B83146BC-24D5-4C73-9A84-28D9C2A45BCE}" dt="2024-04-11T10:21:00.942" v="57" actId="1076"/>
          <ac:spMkLst>
            <pc:docMk/>
            <pc:sldMk cId="1598440238" sldId="2147469991"/>
            <ac:spMk id="6" creationId="{B10C311C-EB7C-38C9-8C3C-9D48EE6F303B}"/>
          </ac:spMkLst>
        </pc:spChg>
        <pc:graphicFrameChg chg="add mod">
          <ac:chgData name="Dawid Janik" userId="81a947f4-3345-42c0-a461-2bf27ee4639f" providerId="ADAL" clId="{B83146BC-24D5-4C73-9A84-28D9C2A45BCE}" dt="2024-04-11T10:20:50.454" v="54" actId="1076"/>
          <ac:graphicFrameMkLst>
            <pc:docMk/>
            <pc:sldMk cId="1598440238" sldId="2147469991"/>
            <ac:graphicFrameMk id="3" creationId="{049595E9-6D67-10F4-EBA6-324BACA89BB6}"/>
          </ac:graphicFrameMkLst>
        </pc:graphicFrameChg>
        <pc:graphicFrameChg chg="del">
          <ac:chgData name="Dawid Janik" userId="81a947f4-3345-42c0-a461-2bf27ee4639f" providerId="ADAL" clId="{B83146BC-24D5-4C73-9A84-28D9C2A45BCE}" dt="2024-04-11T10:20:38.587" v="49" actId="478"/>
          <ac:graphicFrameMkLst>
            <pc:docMk/>
            <pc:sldMk cId="1598440238" sldId="2147469991"/>
            <ac:graphicFrameMk id="12" creationId="{ADF1521B-DA5A-665C-570E-F873D4695083}"/>
          </ac:graphicFrameMkLst>
        </pc:graphicFrameChg>
        <pc:graphicFrameChg chg="del">
          <ac:chgData name="Dawid Janik" userId="81a947f4-3345-42c0-a461-2bf27ee4639f" providerId="ADAL" clId="{B83146BC-24D5-4C73-9A84-28D9C2A45BCE}" dt="2024-04-11T10:20:40.032" v="50" actId="478"/>
          <ac:graphicFrameMkLst>
            <pc:docMk/>
            <pc:sldMk cId="1598440238" sldId="2147469991"/>
            <ac:graphicFrameMk id="13" creationId="{A6B93F41-A4CA-3FA2-5C53-1E5CB83356E9}"/>
          </ac:graphicFrameMkLst>
        </pc:graphicFrameChg>
        <pc:picChg chg="add mod">
          <ac:chgData name="Dawid Janik" userId="81a947f4-3345-42c0-a461-2bf27ee4639f" providerId="ADAL" clId="{B83146BC-24D5-4C73-9A84-28D9C2A45BCE}" dt="2024-04-11T10:20:45.861" v="52" actId="1076"/>
          <ac:picMkLst>
            <pc:docMk/>
            <pc:sldMk cId="1598440238" sldId="2147469991"/>
            <ac:picMk id="2" creationId="{1EFD0ABC-14A0-DC0D-21A5-E43B77CA5478}"/>
          </ac:picMkLst>
        </pc:picChg>
      </pc:sldChg>
      <pc:sldChg chg="addSp delSp modSp mod">
        <pc:chgData name="Dawid Janik" userId="81a947f4-3345-42c0-a461-2bf27ee4639f" providerId="ADAL" clId="{B83146BC-24D5-4C73-9A84-28D9C2A45BCE}" dt="2024-04-11T10:21:48.970" v="74" actId="1076"/>
        <pc:sldMkLst>
          <pc:docMk/>
          <pc:sldMk cId="2735338271" sldId="2147470000"/>
        </pc:sldMkLst>
        <pc:spChg chg="mod">
          <ac:chgData name="Dawid Janik" userId="81a947f4-3345-42c0-a461-2bf27ee4639f" providerId="ADAL" clId="{B83146BC-24D5-4C73-9A84-28D9C2A45BCE}" dt="2024-04-11T10:21:13.463" v="62" actId="20577"/>
          <ac:spMkLst>
            <pc:docMk/>
            <pc:sldMk cId="2735338271" sldId="2147470000"/>
            <ac:spMk id="6" creationId="{B10C311C-EB7C-38C9-8C3C-9D48EE6F303B}"/>
          </ac:spMkLst>
        </pc:spChg>
        <pc:graphicFrameChg chg="del">
          <ac:chgData name="Dawid Janik" userId="81a947f4-3345-42c0-a461-2bf27ee4639f" providerId="ADAL" clId="{B83146BC-24D5-4C73-9A84-28D9C2A45BCE}" dt="2024-04-11T10:21:15.572" v="63" actId="478"/>
          <ac:graphicFrameMkLst>
            <pc:docMk/>
            <pc:sldMk cId="2735338271" sldId="2147470000"/>
            <ac:graphicFrameMk id="2" creationId="{3BD57907-217D-EBC9-F0FC-C929264B1B6C}"/>
          </ac:graphicFrameMkLst>
        </pc:graphicFrameChg>
        <pc:graphicFrameChg chg="del">
          <ac:chgData name="Dawid Janik" userId="81a947f4-3345-42c0-a461-2bf27ee4639f" providerId="ADAL" clId="{B83146BC-24D5-4C73-9A84-28D9C2A45BCE}" dt="2024-04-11T10:21:29.204" v="65" actId="478"/>
          <ac:graphicFrameMkLst>
            <pc:docMk/>
            <pc:sldMk cId="2735338271" sldId="2147470000"/>
            <ac:graphicFrameMk id="5" creationId="{4C75228D-1A1D-ADE0-3AE5-F90DA546708C}"/>
          </ac:graphicFrameMkLst>
        </pc:graphicFrameChg>
        <pc:graphicFrameChg chg="add mod modGraphic">
          <ac:chgData name="Dawid Janik" userId="81a947f4-3345-42c0-a461-2bf27ee4639f" providerId="ADAL" clId="{B83146BC-24D5-4C73-9A84-28D9C2A45BCE}" dt="2024-04-11T10:21:48.970" v="74" actId="1076"/>
          <ac:graphicFrameMkLst>
            <pc:docMk/>
            <pc:sldMk cId="2735338271" sldId="2147470000"/>
            <ac:graphicFrameMk id="7" creationId="{05804AB2-3FF3-2711-C7FE-73504EB8530E}"/>
          </ac:graphicFrameMkLst>
        </pc:graphicFrameChg>
        <pc:graphicFrameChg chg="del">
          <ac:chgData name="Dawid Janik" userId="81a947f4-3345-42c0-a461-2bf27ee4639f" providerId="ADAL" clId="{B83146BC-24D5-4C73-9A84-28D9C2A45BCE}" dt="2024-04-11T10:21:16.688" v="64" actId="478"/>
          <ac:graphicFrameMkLst>
            <pc:docMk/>
            <pc:sldMk cId="2735338271" sldId="2147470000"/>
            <ac:graphicFrameMk id="8" creationId="{9CE409A7-0C59-F52C-D85B-A1177EB7D53C}"/>
          </ac:graphicFrameMkLst>
        </pc:graphicFrameChg>
        <pc:picChg chg="add mod">
          <ac:chgData name="Dawid Janik" userId="81a947f4-3345-42c0-a461-2bf27ee4639f" providerId="ADAL" clId="{B83146BC-24D5-4C73-9A84-28D9C2A45BCE}" dt="2024-04-11T10:21:38.619" v="70" actId="14100"/>
          <ac:picMkLst>
            <pc:docMk/>
            <pc:sldMk cId="2735338271" sldId="2147470000"/>
            <ac:picMk id="3" creationId="{7334AEAA-77F0-D172-42B8-E302FFEF9E33}"/>
          </ac:picMkLst>
        </pc:picChg>
      </pc:sldChg>
      <pc:sldChg chg="addSp delSp modSp mod">
        <pc:chgData name="Dawid Janik" userId="81a947f4-3345-42c0-a461-2bf27ee4639f" providerId="ADAL" clId="{B83146BC-24D5-4C73-9A84-28D9C2A45BCE}" dt="2024-04-11T10:22:21.152" v="91" actId="14100"/>
        <pc:sldMkLst>
          <pc:docMk/>
          <pc:sldMk cId="443538584" sldId="2147470001"/>
        </pc:sldMkLst>
        <pc:spChg chg="mod">
          <ac:chgData name="Dawid Janik" userId="81a947f4-3345-42c0-a461-2bf27ee4639f" providerId="ADAL" clId="{B83146BC-24D5-4C73-9A84-28D9C2A45BCE}" dt="2024-04-11T10:22:04.735" v="85" actId="20577"/>
          <ac:spMkLst>
            <pc:docMk/>
            <pc:sldMk cId="443538584" sldId="2147470001"/>
            <ac:spMk id="6" creationId="{B10C311C-EB7C-38C9-8C3C-9D48EE6F303B}"/>
          </ac:spMkLst>
        </pc:spChg>
        <pc:graphicFrameChg chg="add mod modGraphic">
          <ac:chgData name="Dawid Janik" userId="81a947f4-3345-42c0-a461-2bf27ee4639f" providerId="ADAL" clId="{B83146BC-24D5-4C73-9A84-28D9C2A45BCE}" dt="2024-04-11T10:22:21.152" v="91" actId="14100"/>
          <ac:graphicFrameMkLst>
            <pc:docMk/>
            <pc:sldMk cId="443538584" sldId="2147470001"/>
            <ac:graphicFrameMk id="3" creationId="{A6473279-DD2E-A3C0-D5A2-29FAF4812738}"/>
          </ac:graphicFrameMkLst>
        </pc:graphicFrameChg>
        <pc:graphicFrameChg chg="del">
          <ac:chgData name="Dawid Janik" userId="81a947f4-3345-42c0-a461-2bf27ee4639f" providerId="ADAL" clId="{B83146BC-24D5-4C73-9A84-28D9C2A45BCE}" dt="2024-04-11T10:22:09.426" v="86" actId="478"/>
          <ac:graphicFrameMkLst>
            <pc:docMk/>
            <pc:sldMk cId="443538584" sldId="2147470001"/>
            <ac:graphicFrameMk id="5" creationId="{4C75228D-1A1D-ADE0-3AE5-F90DA546708C}"/>
          </ac:graphicFrameMkLst>
        </pc:graphicFrameChg>
        <pc:graphicFrameChg chg="del">
          <ac:chgData name="Dawid Janik" userId="81a947f4-3345-42c0-a461-2bf27ee4639f" providerId="ADAL" clId="{B83146BC-24D5-4C73-9A84-28D9C2A45BCE}" dt="2024-04-11T10:21:58.512" v="75" actId="478"/>
          <ac:graphicFrameMkLst>
            <pc:docMk/>
            <pc:sldMk cId="443538584" sldId="2147470001"/>
            <ac:graphicFrameMk id="7" creationId="{962F7396-935E-B552-E56C-688EC2621DAB}"/>
          </ac:graphicFrameMkLst>
        </pc:graphicFrameChg>
        <pc:graphicFrameChg chg="del">
          <ac:chgData name="Dawid Janik" userId="81a947f4-3345-42c0-a461-2bf27ee4639f" providerId="ADAL" clId="{B83146BC-24D5-4C73-9A84-28D9C2A45BCE}" dt="2024-04-11T10:21:59.878" v="76" actId="478"/>
          <ac:graphicFrameMkLst>
            <pc:docMk/>
            <pc:sldMk cId="443538584" sldId="2147470001"/>
            <ac:graphicFrameMk id="9" creationId="{30398686-9F9B-7CA6-BEEE-1246F0D1ABB4}"/>
          </ac:graphicFrameMkLst>
        </pc:graphicFrameChg>
        <pc:picChg chg="add mod">
          <ac:chgData name="Dawid Janik" userId="81a947f4-3345-42c0-a461-2bf27ee4639f" providerId="ADAL" clId="{B83146BC-24D5-4C73-9A84-28D9C2A45BCE}" dt="2024-04-11T10:22:14.950" v="88" actId="1076"/>
          <ac:picMkLst>
            <pc:docMk/>
            <pc:sldMk cId="443538584" sldId="2147470001"/>
            <ac:picMk id="2" creationId="{5D5C0828-D883-D430-BB0E-059645FC4B2D}"/>
          </ac:picMkLst>
        </pc:picChg>
      </pc:sldChg>
      <pc:sldChg chg="add del">
        <pc:chgData name="Dawid Janik" userId="81a947f4-3345-42c0-a461-2bf27ee4639f" providerId="ADAL" clId="{B83146BC-24D5-4C73-9A84-28D9C2A45BCE}" dt="2024-04-11T10:22:59.492" v="94" actId="47"/>
        <pc:sldMkLst>
          <pc:docMk/>
          <pc:sldMk cId="3282062646" sldId="2147470002"/>
        </pc:sldMkLst>
      </pc:sldChg>
      <pc:sldChg chg="del">
        <pc:chgData name="Dawid Janik" userId="81a947f4-3345-42c0-a461-2bf27ee4639f" providerId="ADAL" clId="{B83146BC-24D5-4C73-9A84-28D9C2A45BCE}" dt="2024-04-11T10:23:10.148" v="97" actId="47"/>
        <pc:sldMkLst>
          <pc:docMk/>
          <pc:sldMk cId="1642174346" sldId="2147470020"/>
        </pc:sldMkLst>
      </pc:sldChg>
      <pc:sldChg chg="del">
        <pc:chgData name="Dawid Janik" userId="81a947f4-3345-42c0-a461-2bf27ee4639f" providerId="ADAL" clId="{B83146BC-24D5-4C73-9A84-28D9C2A45BCE}" dt="2024-04-11T10:23:16.656" v="98" actId="47"/>
        <pc:sldMkLst>
          <pc:docMk/>
          <pc:sldMk cId="2661863506" sldId="2147470024"/>
        </pc:sldMkLst>
      </pc:sldChg>
      <pc:sldChg chg="del">
        <pc:chgData name="Dawid Janik" userId="81a947f4-3345-42c0-a461-2bf27ee4639f" providerId="ADAL" clId="{B83146BC-24D5-4C73-9A84-28D9C2A45BCE}" dt="2024-04-11T10:23:03.806" v="95" actId="47"/>
        <pc:sldMkLst>
          <pc:docMk/>
          <pc:sldMk cId="3149767212" sldId="2147470026"/>
        </pc:sldMkLst>
      </pc:sldChg>
      <pc:sldChg chg="del">
        <pc:chgData name="Dawid Janik" userId="81a947f4-3345-42c0-a461-2bf27ee4639f" providerId="ADAL" clId="{B83146BC-24D5-4C73-9A84-28D9C2A45BCE}" dt="2024-04-11T10:23:07.019" v="96" actId="47"/>
        <pc:sldMkLst>
          <pc:docMk/>
          <pc:sldMk cId="1123149388" sldId="2147470027"/>
        </pc:sldMkLst>
      </pc:sldChg>
      <pc:sldChg chg="addSp delSp modSp new mod">
        <pc:chgData name="Dawid Janik" userId="81a947f4-3345-42c0-a461-2bf27ee4639f" providerId="ADAL" clId="{B83146BC-24D5-4C73-9A84-28D9C2A45BCE}" dt="2024-04-11T10:23:54.939" v="110" actId="1076"/>
        <pc:sldMkLst>
          <pc:docMk/>
          <pc:sldMk cId="3477982134" sldId="2147470029"/>
        </pc:sldMkLst>
        <pc:spChg chg="del">
          <ac:chgData name="Dawid Janik" userId="81a947f4-3345-42c0-a461-2bf27ee4639f" providerId="ADAL" clId="{B83146BC-24D5-4C73-9A84-28D9C2A45BCE}" dt="2024-04-11T10:23:25.047" v="101" actId="478"/>
          <ac:spMkLst>
            <pc:docMk/>
            <pc:sldMk cId="3477982134" sldId="2147470029"/>
            <ac:spMk id="2" creationId="{72C1D559-D7EF-403D-E85D-B725756F28C9}"/>
          </ac:spMkLst>
        </pc:spChg>
        <pc:spChg chg="del">
          <ac:chgData name="Dawid Janik" userId="81a947f4-3345-42c0-a461-2bf27ee4639f" providerId="ADAL" clId="{B83146BC-24D5-4C73-9A84-28D9C2A45BCE}" dt="2024-04-11T10:23:28.303" v="103" actId="478"/>
          <ac:spMkLst>
            <pc:docMk/>
            <pc:sldMk cId="3477982134" sldId="2147470029"/>
            <ac:spMk id="3" creationId="{04209502-C618-6D6F-7852-FF10E8867356}"/>
          </ac:spMkLst>
        </pc:spChg>
        <pc:spChg chg="del">
          <ac:chgData name="Dawid Janik" userId="81a947f4-3345-42c0-a461-2bf27ee4639f" providerId="ADAL" clId="{B83146BC-24D5-4C73-9A84-28D9C2A45BCE}" dt="2024-04-11T10:23:24.159" v="100" actId="478"/>
          <ac:spMkLst>
            <pc:docMk/>
            <pc:sldMk cId="3477982134" sldId="2147470029"/>
            <ac:spMk id="5" creationId="{2EB82D42-67D1-4B95-31EA-11346B4AB686}"/>
          </ac:spMkLst>
        </pc:spChg>
        <pc:spChg chg="del">
          <ac:chgData name="Dawid Janik" userId="81a947f4-3345-42c0-a461-2bf27ee4639f" providerId="ADAL" clId="{B83146BC-24D5-4C73-9A84-28D9C2A45BCE}" dt="2024-04-11T10:23:25.856" v="102" actId="478"/>
          <ac:spMkLst>
            <pc:docMk/>
            <pc:sldMk cId="3477982134" sldId="2147470029"/>
            <ac:spMk id="6" creationId="{FC2022F2-D9CE-E284-350C-5A395851943A}"/>
          </ac:spMkLst>
        </pc:spChg>
        <pc:spChg chg="del">
          <ac:chgData name="Dawid Janik" userId="81a947f4-3345-42c0-a461-2bf27ee4639f" providerId="ADAL" clId="{B83146BC-24D5-4C73-9A84-28D9C2A45BCE}" dt="2024-04-11T10:23:29.458" v="104" actId="478"/>
          <ac:spMkLst>
            <pc:docMk/>
            <pc:sldMk cId="3477982134" sldId="2147470029"/>
            <ac:spMk id="7" creationId="{11C4FDB8-10F1-360A-8244-F601AD0CE097}"/>
          </ac:spMkLst>
        </pc:spChg>
        <pc:spChg chg="add mod">
          <ac:chgData name="Dawid Janik" userId="81a947f4-3345-42c0-a461-2bf27ee4639f" providerId="ADAL" clId="{B83146BC-24D5-4C73-9A84-28D9C2A45BCE}" dt="2024-04-11T10:23:44.130" v="106" actId="1076"/>
          <ac:spMkLst>
            <pc:docMk/>
            <pc:sldMk cId="3477982134" sldId="2147470029"/>
            <ac:spMk id="8" creationId="{AB8147C2-88B2-C209-B3BF-59E6D65D34F8}"/>
          </ac:spMkLst>
        </pc:spChg>
        <pc:graphicFrameChg chg="add mod">
          <ac:chgData name="Dawid Janik" userId="81a947f4-3345-42c0-a461-2bf27ee4639f" providerId="ADAL" clId="{B83146BC-24D5-4C73-9A84-28D9C2A45BCE}" dt="2024-04-11T10:23:50.211" v="108" actId="1076"/>
          <ac:graphicFrameMkLst>
            <pc:docMk/>
            <pc:sldMk cId="3477982134" sldId="2147470029"/>
            <ac:graphicFrameMk id="9" creationId="{13E01746-D9B9-EDFC-EF99-4267D50E2A68}"/>
          </ac:graphicFrameMkLst>
        </pc:graphicFrameChg>
        <pc:picChg chg="add mod">
          <ac:chgData name="Dawid Janik" userId="81a947f4-3345-42c0-a461-2bf27ee4639f" providerId="ADAL" clId="{B83146BC-24D5-4C73-9A84-28D9C2A45BCE}" dt="2024-04-11T10:23:54.939" v="110" actId="1076"/>
          <ac:picMkLst>
            <pc:docMk/>
            <pc:sldMk cId="3477982134" sldId="2147470029"/>
            <ac:picMk id="10" creationId="{E2AD23B8-2885-C708-FD6A-7D8B418C74CE}"/>
          </ac:picMkLst>
        </pc:picChg>
      </pc:sldChg>
      <pc:sldChg chg="addSp delSp modSp new mod">
        <pc:chgData name="Dawid Janik" userId="81a947f4-3345-42c0-a461-2bf27ee4639f" providerId="ADAL" clId="{B83146BC-24D5-4C73-9A84-28D9C2A45BCE}" dt="2024-04-11T10:24:25.323" v="122" actId="1076"/>
        <pc:sldMkLst>
          <pc:docMk/>
          <pc:sldMk cId="816036159" sldId="2147470030"/>
        </pc:sldMkLst>
        <pc:spChg chg="del">
          <ac:chgData name="Dawid Janik" userId="81a947f4-3345-42c0-a461-2bf27ee4639f" providerId="ADAL" clId="{B83146BC-24D5-4C73-9A84-28D9C2A45BCE}" dt="2024-04-11T10:24:03.951" v="113" actId="478"/>
          <ac:spMkLst>
            <pc:docMk/>
            <pc:sldMk cId="816036159" sldId="2147470030"/>
            <ac:spMk id="2" creationId="{8A67F1E6-5F57-A6BF-A125-F29B939F17D9}"/>
          </ac:spMkLst>
        </pc:spChg>
        <pc:spChg chg="del">
          <ac:chgData name="Dawid Janik" userId="81a947f4-3345-42c0-a461-2bf27ee4639f" providerId="ADAL" clId="{B83146BC-24D5-4C73-9A84-28D9C2A45BCE}" dt="2024-04-11T10:24:05.752" v="115" actId="478"/>
          <ac:spMkLst>
            <pc:docMk/>
            <pc:sldMk cId="816036159" sldId="2147470030"/>
            <ac:spMk id="3" creationId="{EE81AB69-1AB8-BC86-9BD8-72AC0A32356D}"/>
          </ac:spMkLst>
        </pc:spChg>
        <pc:spChg chg="del">
          <ac:chgData name="Dawid Janik" userId="81a947f4-3345-42c0-a461-2bf27ee4639f" providerId="ADAL" clId="{B83146BC-24D5-4C73-9A84-28D9C2A45BCE}" dt="2024-04-11T10:24:02.870" v="112" actId="478"/>
          <ac:spMkLst>
            <pc:docMk/>
            <pc:sldMk cId="816036159" sldId="2147470030"/>
            <ac:spMk id="5" creationId="{381677E1-0CD1-D39B-D064-CCD171080167}"/>
          </ac:spMkLst>
        </pc:spChg>
        <pc:spChg chg="del">
          <ac:chgData name="Dawid Janik" userId="81a947f4-3345-42c0-a461-2bf27ee4639f" providerId="ADAL" clId="{B83146BC-24D5-4C73-9A84-28D9C2A45BCE}" dt="2024-04-11T10:24:04.784" v="114" actId="478"/>
          <ac:spMkLst>
            <pc:docMk/>
            <pc:sldMk cId="816036159" sldId="2147470030"/>
            <ac:spMk id="6" creationId="{E6B281E1-6532-CB73-4568-9529B99C717C}"/>
          </ac:spMkLst>
        </pc:spChg>
        <pc:spChg chg="del">
          <ac:chgData name="Dawid Janik" userId="81a947f4-3345-42c0-a461-2bf27ee4639f" providerId="ADAL" clId="{B83146BC-24D5-4C73-9A84-28D9C2A45BCE}" dt="2024-04-11T10:24:06.479" v="116" actId="478"/>
          <ac:spMkLst>
            <pc:docMk/>
            <pc:sldMk cId="816036159" sldId="2147470030"/>
            <ac:spMk id="7" creationId="{F792A88B-535A-AE71-5600-822268143B91}"/>
          </ac:spMkLst>
        </pc:spChg>
        <pc:spChg chg="add mod">
          <ac:chgData name="Dawid Janik" userId="81a947f4-3345-42c0-a461-2bf27ee4639f" providerId="ADAL" clId="{B83146BC-24D5-4C73-9A84-28D9C2A45BCE}" dt="2024-04-11T10:24:15.730" v="118" actId="1076"/>
          <ac:spMkLst>
            <pc:docMk/>
            <pc:sldMk cId="816036159" sldId="2147470030"/>
            <ac:spMk id="8" creationId="{428581B1-6622-DBD7-7E9D-23C630410388}"/>
          </ac:spMkLst>
        </pc:spChg>
        <pc:graphicFrameChg chg="add mod">
          <ac:chgData name="Dawid Janik" userId="81a947f4-3345-42c0-a461-2bf27ee4639f" providerId="ADAL" clId="{B83146BC-24D5-4C73-9A84-28D9C2A45BCE}" dt="2024-04-11T10:24:20.999" v="120" actId="1076"/>
          <ac:graphicFrameMkLst>
            <pc:docMk/>
            <pc:sldMk cId="816036159" sldId="2147470030"/>
            <ac:graphicFrameMk id="9" creationId="{B5FD5150-A3F2-010E-1D3D-603D8E6991C2}"/>
          </ac:graphicFrameMkLst>
        </pc:graphicFrameChg>
        <pc:picChg chg="add mod">
          <ac:chgData name="Dawid Janik" userId="81a947f4-3345-42c0-a461-2bf27ee4639f" providerId="ADAL" clId="{B83146BC-24D5-4C73-9A84-28D9C2A45BCE}" dt="2024-04-11T10:24:25.323" v="122" actId="1076"/>
          <ac:picMkLst>
            <pc:docMk/>
            <pc:sldMk cId="816036159" sldId="2147470030"/>
            <ac:picMk id="10" creationId="{A9FCC2F7-8A97-2B68-27B7-8AC5A69DE5CE}"/>
          </ac:picMkLst>
        </pc:picChg>
      </pc:sldChg>
      <pc:sldChg chg="addSp delSp modSp new mod">
        <pc:chgData name="Dawid Janik" userId="81a947f4-3345-42c0-a461-2bf27ee4639f" providerId="ADAL" clId="{B83146BC-24D5-4C73-9A84-28D9C2A45BCE}" dt="2024-04-11T10:24:59.332" v="134" actId="1076"/>
        <pc:sldMkLst>
          <pc:docMk/>
          <pc:sldMk cId="3695475983" sldId="2147470031"/>
        </pc:sldMkLst>
        <pc:spChg chg="del">
          <ac:chgData name="Dawid Janik" userId="81a947f4-3345-42c0-a461-2bf27ee4639f" providerId="ADAL" clId="{B83146BC-24D5-4C73-9A84-28D9C2A45BCE}" dt="2024-04-11T10:24:41.376" v="125" actId="478"/>
          <ac:spMkLst>
            <pc:docMk/>
            <pc:sldMk cId="3695475983" sldId="2147470031"/>
            <ac:spMk id="2" creationId="{425DF45A-870A-CC15-B30E-9BF099CAA52B}"/>
          </ac:spMkLst>
        </pc:spChg>
        <pc:spChg chg="del">
          <ac:chgData name="Dawid Janik" userId="81a947f4-3345-42c0-a461-2bf27ee4639f" providerId="ADAL" clId="{B83146BC-24D5-4C73-9A84-28D9C2A45BCE}" dt="2024-04-11T10:24:42.907" v="127" actId="478"/>
          <ac:spMkLst>
            <pc:docMk/>
            <pc:sldMk cId="3695475983" sldId="2147470031"/>
            <ac:spMk id="3" creationId="{0C70D20A-CC69-3FA0-F709-A5C2C45874DB}"/>
          </ac:spMkLst>
        </pc:spChg>
        <pc:spChg chg="del">
          <ac:chgData name="Dawid Janik" userId="81a947f4-3345-42c0-a461-2bf27ee4639f" providerId="ADAL" clId="{B83146BC-24D5-4C73-9A84-28D9C2A45BCE}" dt="2024-04-11T10:24:40.506" v="124" actId="478"/>
          <ac:spMkLst>
            <pc:docMk/>
            <pc:sldMk cId="3695475983" sldId="2147470031"/>
            <ac:spMk id="5" creationId="{9FE20DBB-108B-37E9-4256-7D37FB37436A}"/>
          </ac:spMkLst>
        </pc:spChg>
        <pc:spChg chg="del">
          <ac:chgData name="Dawid Janik" userId="81a947f4-3345-42c0-a461-2bf27ee4639f" providerId="ADAL" clId="{B83146BC-24D5-4C73-9A84-28D9C2A45BCE}" dt="2024-04-11T10:24:42.197" v="126" actId="478"/>
          <ac:spMkLst>
            <pc:docMk/>
            <pc:sldMk cId="3695475983" sldId="2147470031"/>
            <ac:spMk id="6" creationId="{D643C97A-5C4A-A920-EAB1-BE9EA7DA1E8C}"/>
          </ac:spMkLst>
        </pc:spChg>
        <pc:spChg chg="del">
          <ac:chgData name="Dawid Janik" userId="81a947f4-3345-42c0-a461-2bf27ee4639f" providerId="ADAL" clId="{B83146BC-24D5-4C73-9A84-28D9C2A45BCE}" dt="2024-04-11T10:24:43.597" v="128" actId="478"/>
          <ac:spMkLst>
            <pc:docMk/>
            <pc:sldMk cId="3695475983" sldId="2147470031"/>
            <ac:spMk id="7" creationId="{19FC965C-B957-7F27-067B-B7294F8D9BB4}"/>
          </ac:spMkLst>
        </pc:spChg>
        <pc:spChg chg="add mod">
          <ac:chgData name="Dawid Janik" userId="81a947f4-3345-42c0-a461-2bf27ee4639f" providerId="ADAL" clId="{B83146BC-24D5-4C73-9A84-28D9C2A45BCE}" dt="2024-04-11T10:24:48.391" v="130" actId="1076"/>
          <ac:spMkLst>
            <pc:docMk/>
            <pc:sldMk cId="3695475983" sldId="2147470031"/>
            <ac:spMk id="8" creationId="{F8035F03-92A3-64DC-1E2F-215293F0B1DE}"/>
          </ac:spMkLst>
        </pc:spChg>
        <pc:graphicFrameChg chg="add mod">
          <ac:chgData name="Dawid Janik" userId="81a947f4-3345-42c0-a461-2bf27ee4639f" providerId="ADAL" clId="{B83146BC-24D5-4C73-9A84-28D9C2A45BCE}" dt="2024-04-11T10:24:54.883" v="132" actId="1076"/>
          <ac:graphicFrameMkLst>
            <pc:docMk/>
            <pc:sldMk cId="3695475983" sldId="2147470031"/>
            <ac:graphicFrameMk id="9" creationId="{45DBB6A0-061F-4A4E-5024-8A6E9164D2EC}"/>
          </ac:graphicFrameMkLst>
        </pc:graphicFrameChg>
        <pc:picChg chg="add mod">
          <ac:chgData name="Dawid Janik" userId="81a947f4-3345-42c0-a461-2bf27ee4639f" providerId="ADAL" clId="{B83146BC-24D5-4C73-9A84-28D9C2A45BCE}" dt="2024-04-11T10:24:59.332" v="134" actId="1076"/>
          <ac:picMkLst>
            <pc:docMk/>
            <pc:sldMk cId="3695475983" sldId="2147470031"/>
            <ac:picMk id="10" creationId="{282EFD85-F06C-8A81-0344-47D1856B6681}"/>
          </ac:picMkLst>
        </pc:picChg>
      </pc:sldChg>
      <pc:sldChg chg="addSp delSp modSp new mod">
        <pc:chgData name="Dawid Janik" userId="81a947f4-3345-42c0-a461-2bf27ee4639f" providerId="ADAL" clId="{B83146BC-24D5-4C73-9A84-28D9C2A45BCE}" dt="2024-04-11T10:25:53.300" v="147" actId="14100"/>
        <pc:sldMkLst>
          <pc:docMk/>
          <pc:sldMk cId="39448849" sldId="2147470032"/>
        </pc:sldMkLst>
        <pc:spChg chg="del">
          <ac:chgData name="Dawid Janik" userId="81a947f4-3345-42c0-a461-2bf27ee4639f" providerId="ADAL" clId="{B83146BC-24D5-4C73-9A84-28D9C2A45BCE}" dt="2024-04-11T10:25:30.231" v="137" actId="478"/>
          <ac:spMkLst>
            <pc:docMk/>
            <pc:sldMk cId="39448849" sldId="2147470032"/>
            <ac:spMk id="2" creationId="{027EA75E-C920-5707-711F-DB8339DD2FCA}"/>
          </ac:spMkLst>
        </pc:spChg>
        <pc:spChg chg="del">
          <ac:chgData name="Dawid Janik" userId="81a947f4-3345-42c0-a461-2bf27ee4639f" providerId="ADAL" clId="{B83146BC-24D5-4C73-9A84-28D9C2A45BCE}" dt="2024-04-11T10:25:33.557" v="139" actId="478"/>
          <ac:spMkLst>
            <pc:docMk/>
            <pc:sldMk cId="39448849" sldId="2147470032"/>
            <ac:spMk id="3" creationId="{1534B0B4-7D7D-9763-6665-85D125DF83CF}"/>
          </ac:spMkLst>
        </pc:spChg>
        <pc:spChg chg="del">
          <ac:chgData name="Dawid Janik" userId="81a947f4-3345-42c0-a461-2bf27ee4639f" providerId="ADAL" clId="{B83146BC-24D5-4C73-9A84-28D9C2A45BCE}" dt="2024-04-11T10:25:29.351" v="136" actId="478"/>
          <ac:spMkLst>
            <pc:docMk/>
            <pc:sldMk cId="39448849" sldId="2147470032"/>
            <ac:spMk id="5" creationId="{15BF55A7-1F0B-0ABD-D64B-AB8D3E4C7C03}"/>
          </ac:spMkLst>
        </pc:spChg>
        <pc:spChg chg="del">
          <ac:chgData name="Dawid Janik" userId="81a947f4-3345-42c0-a461-2bf27ee4639f" providerId="ADAL" clId="{B83146BC-24D5-4C73-9A84-28D9C2A45BCE}" dt="2024-04-11T10:25:32.526" v="138" actId="478"/>
          <ac:spMkLst>
            <pc:docMk/>
            <pc:sldMk cId="39448849" sldId="2147470032"/>
            <ac:spMk id="6" creationId="{555F66CE-48FB-A404-5A36-5AF167DC2ECF}"/>
          </ac:spMkLst>
        </pc:spChg>
        <pc:spChg chg="del">
          <ac:chgData name="Dawid Janik" userId="81a947f4-3345-42c0-a461-2bf27ee4639f" providerId="ADAL" clId="{B83146BC-24D5-4C73-9A84-28D9C2A45BCE}" dt="2024-04-11T10:25:34.447" v="140" actId="478"/>
          <ac:spMkLst>
            <pc:docMk/>
            <pc:sldMk cId="39448849" sldId="2147470032"/>
            <ac:spMk id="7" creationId="{69A69117-D873-AA6C-E745-1949D977F3E7}"/>
          </ac:spMkLst>
        </pc:spChg>
        <pc:spChg chg="add mod">
          <ac:chgData name="Dawid Janik" userId="81a947f4-3345-42c0-a461-2bf27ee4639f" providerId="ADAL" clId="{B83146BC-24D5-4C73-9A84-28D9C2A45BCE}" dt="2024-04-11T10:25:39.507" v="142" actId="1076"/>
          <ac:spMkLst>
            <pc:docMk/>
            <pc:sldMk cId="39448849" sldId="2147470032"/>
            <ac:spMk id="8" creationId="{472AD833-3D8F-A68F-6CDB-B265C3168E5D}"/>
          </ac:spMkLst>
        </pc:spChg>
        <pc:graphicFrameChg chg="add mod">
          <ac:chgData name="Dawid Janik" userId="81a947f4-3345-42c0-a461-2bf27ee4639f" providerId="ADAL" clId="{B83146BC-24D5-4C73-9A84-28D9C2A45BCE}" dt="2024-04-11T10:25:44.747" v="144" actId="1076"/>
          <ac:graphicFrameMkLst>
            <pc:docMk/>
            <pc:sldMk cId="39448849" sldId="2147470032"/>
            <ac:graphicFrameMk id="9" creationId="{3A4F3A1E-0834-3D67-CE19-DD7C05725702}"/>
          </ac:graphicFrameMkLst>
        </pc:graphicFrameChg>
        <pc:picChg chg="add mod">
          <ac:chgData name="Dawid Janik" userId="81a947f4-3345-42c0-a461-2bf27ee4639f" providerId="ADAL" clId="{B83146BC-24D5-4C73-9A84-28D9C2A45BCE}" dt="2024-04-11T10:25:53.300" v="147" actId="14100"/>
          <ac:picMkLst>
            <pc:docMk/>
            <pc:sldMk cId="39448849" sldId="2147470032"/>
            <ac:picMk id="10" creationId="{AA4D7D1A-2B7D-6164-8CFC-241DBFE111B7}"/>
          </ac:picMkLst>
        </pc:picChg>
      </pc:sldChg>
      <pc:sldChg chg="addSp delSp modSp new mod">
        <pc:chgData name="Dawid Janik" userId="81a947f4-3345-42c0-a461-2bf27ee4639f" providerId="ADAL" clId="{B83146BC-24D5-4C73-9A84-28D9C2A45BCE}" dt="2024-04-11T10:26:58.242" v="163" actId="14100"/>
        <pc:sldMkLst>
          <pc:docMk/>
          <pc:sldMk cId="1832227057" sldId="2147470033"/>
        </pc:sldMkLst>
        <pc:spChg chg="del">
          <ac:chgData name="Dawid Janik" userId="81a947f4-3345-42c0-a461-2bf27ee4639f" providerId="ADAL" clId="{B83146BC-24D5-4C73-9A84-28D9C2A45BCE}" dt="2024-04-11T10:26:16.614" v="150" actId="478"/>
          <ac:spMkLst>
            <pc:docMk/>
            <pc:sldMk cId="1832227057" sldId="2147470033"/>
            <ac:spMk id="2" creationId="{A6BEC258-3F8F-814E-C899-881C81E6E1E1}"/>
          </ac:spMkLst>
        </pc:spChg>
        <pc:spChg chg="del">
          <ac:chgData name="Dawid Janik" userId="81a947f4-3345-42c0-a461-2bf27ee4639f" providerId="ADAL" clId="{B83146BC-24D5-4C73-9A84-28D9C2A45BCE}" dt="2024-04-11T10:26:20.199" v="152" actId="478"/>
          <ac:spMkLst>
            <pc:docMk/>
            <pc:sldMk cId="1832227057" sldId="2147470033"/>
            <ac:spMk id="3" creationId="{494B0A88-5057-F41E-6D31-1F42E1AA6D1C}"/>
          </ac:spMkLst>
        </pc:spChg>
        <pc:spChg chg="del">
          <ac:chgData name="Dawid Janik" userId="81a947f4-3345-42c0-a461-2bf27ee4639f" providerId="ADAL" clId="{B83146BC-24D5-4C73-9A84-28D9C2A45BCE}" dt="2024-04-11T10:26:15.903" v="149" actId="478"/>
          <ac:spMkLst>
            <pc:docMk/>
            <pc:sldMk cId="1832227057" sldId="2147470033"/>
            <ac:spMk id="5" creationId="{3440AA6A-B300-28F0-BE9C-AAAF3142AF34}"/>
          </ac:spMkLst>
        </pc:spChg>
        <pc:spChg chg="del">
          <ac:chgData name="Dawid Janik" userId="81a947f4-3345-42c0-a461-2bf27ee4639f" providerId="ADAL" clId="{B83146BC-24D5-4C73-9A84-28D9C2A45BCE}" dt="2024-04-11T10:26:17.487" v="151" actId="478"/>
          <ac:spMkLst>
            <pc:docMk/>
            <pc:sldMk cId="1832227057" sldId="2147470033"/>
            <ac:spMk id="6" creationId="{10EC6D58-F7F9-3369-FE60-F55FCD5A2600}"/>
          </ac:spMkLst>
        </pc:spChg>
        <pc:spChg chg="del">
          <ac:chgData name="Dawid Janik" userId="81a947f4-3345-42c0-a461-2bf27ee4639f" providerId="ADAL" clId="{B83146BC-24D5-4C73-9A84-28D9C2A45BCE}" dt="2024-04-11T10:26:21.446" v="153" actId="478"/>
          <ac:spMkLst>
            <pc:docMk/>
            <pc:sldMk cId="1832227057" sldId="2147470033"/>
            <ac:spMk id="7" creationId="{F3C4B4AC-8326-C8A4-616A-0C874D2F6566}"/>
          </ac:spMkLst>
        </pc:spChg>
        <pc:spChg chg="add mod">
          <ac:chgData name="Dawid Janik" userId="81a947f4-3345-42c0-a461-2bf27ee4639f" providerId="ADAL" clId="{B83146BC-24D5-4C73-9A84-28D9C2A45BCE}" dt="2024-04-11T10:26:24.792" v="155" actId="1076"/>
          <ac:spMkLst>
            <pc:docMk/>
            <pc:sldMk cId="1832227057" sldId="2147470033"/>
            <ac:spMk id="8" creationId="{A63BF278-25DB-55E3-92E2-C20F8242A878}"/>
          </ac:spMkLst>
        </pc:spChg>
        <pc:graphicFrameChg chg="add mod">
          <ac:chgData name="Dawid Janik" userId="81a947f4-3345-42c0-a461-2bf27ee4639f" providerId="ADAL" clId="{B83146BC-24D5-4C73-9A84-28D9C2A45BCE}" dt="2024-04-11T10:26:30.991" v="157" actId="1076"/>
          <ac:graphicFrameMkLst>
            <pc:docMk/>
            <pc:sldMk cId="1832227057" sldId="2147470033"/>
            <ac:graphicFrameMk id="9" creationId="{696AFF0F-6A60-FF5E-D6BE-91557C5B85CE}"/>
          </ac:graphicFrameMkLst>
        </pc:graphicFrameChg>
        <pc:picChg chg="add mod">
          <ac:chgData name="Dawid Janik" userId="81a947f4-3345-42c0-a461-2bf27ee4639f" providerId="ADAL" clId="{B83146BC-24D5-4C73-9A84-28D9C2A45BCE}" dt="2024-04-11T10:26:58.242" v="163" actId="14100"/>
          <ac:picMkLst>
            <pc:docMk/>
            <pc:sldMk cId="1832227057" sldId="2147470033"/>
            <ac:picMk id="10" creationId="{4A17C39A-35DF-E786-3CF8-42963DB9DDD7}"/>
          </ac:picMkLst>
        </pc:picChg>
      </pc:sldChg>
    </pc:docChg>
  </pc:docChgLst>
  <pc:docChgLst>
    <pc:chgData name="Nicole Lubecka" userId="S::nicole.lubecka@upfieldbrands.com::89b115e4-070b-43fa-b212-29dc9a6c2e42" providerId="AD" clId="Web-{138AF29A-C477-D2FF-6431-72192182B0FA}"/>
    <pc:docChg chg="modSld">
      <pc:chgData name="Nicole Lubecka" userId="S::nicole.lubecka@upfieldbrands.com::89b115e4-070b-43fa-b212-29dc9a6c2e42" providerId="AD" clId="Web-{138AF29A-C477-D2FF-6431-72192182B0FA}" dt="2023-04-11T08:44:48.602" v="1" actId="1076"/>
      <pc:docMkLst>
        <pc:docMk/>
      </pc:docMkLst>
      <pc:sldChg chg="modSp">
        <pc:chgData name="Nicole Lubecka" userId="S::nicole.lubecka@upfieldbrands.com::89b115e4-070b-43fa-b212-29dc9a6c2e42" providerId="AD" clId="Web-{138AF29A-C477-D2FF-6431-72192182B0FA}" dt="2023-04-11T08:44:48.602" v="1" actId="1076"/>
        <pc:sldMkLst>
          <pc:docMk/>
          <pc:sldMk cId="1994188391" sldId="2901"/>
        </pc:sldMkLst>
        <pc:picChg chg="mod">
          <ac:chgData name="Nicole Lubecka" userId="S::nicole.lubecka@upfieldbrands.com::89b115e4-070b-43fa-b212-29dc9a6c2e42" providerId="AD" clId="Web-{138AF29A-C477-D2FF-6431-72192182B0FA}" dt="2023-04-11T08:44:48.602" v="1" actId="1076"/>
          <ac:picMkLst>
            <pc:docMk/>
            <pc:sldMk cId="1994188391" sldId="2901"/>
            <ac:picMk id="10" creationId="{549678DC-67D3-647D-1FCB-9AA4870B77E9}"/>
          </ac:picMkLst>
        </pc:picChg>
      </pc:sldChg>
    </pc:docChg>
  </pc:docChgLst>
  <pc:docChgLst>
    <pc:chgData name="Maciej Berka" userId="S::maciej.berka@upfieldbrands.com::8378a769-5c1d-4ca6-b8b9-b7218ba349d3" providerId="AD" clId="Web-{1F87592A-E6FE-32D8-DCCA-EEB05752FD75}"/>
    <pc:docChg chg="addSld modSld">
      <pc:chgData name="Maciej Berka" userId="S::maciej.berka@upfieldbrands.com::8378a769-5c1d-4ca6-b8b9-b7218ba349d3" providerId="AD" clId="Web-{1F87592A-E6FE-32D8-DCCA-EEB05752FD75}" dt="2023-04-07T08:52:00.291" v="742"/>
      <pc:docMkLst>
        <pc:docMk/>
      </pc:docMkLst>
      <pc:sldChg chg="addSp delSp modSp">
        <pc:chgData name="Maciej Berka" userId="S::maciej.berka@upfieldbrands.com::8378a769-5c1d-4ca6-b8b9-b7218ba349d3" providerId="AD" clId="Web-{1F87592A-E6FE-32D8-DCCA-EEB05752FD75}" dt="2023-04-07T08:18:06.353" v="6"/>
        <pc:sldMkLst>
          <pc:docMk/>
          <pc:sldMk cId="895411874" sldId="2877"/>
        </pc:sldMkLst>
        <pc:spChg chg="del">
          <ac:chgData name="Maciej Berka" userId="S::maciej.berka@upfieldbrands.com::8378a769-5c1d-4ca6-b8b9-b7218ba349d3" providerId="AD" clId="Web-{1F87592A-E6FE-32D8-DCCA-EEB05752FD75}" dt="2023-04-07T08:18:06.353" v="6"/>
          <ac:spMkLst>
            <pc:docMk/>
            <pc:sldMk cId="895411874" sldId="2877"/>
            <ac:spMk id="2" creationId="{BDBA8CC2-D23B-4D03-8FBE-8D9213EEAC9C}"/>
          </ac:spMkLst>
        </pc:spChg>
        <pc:picChg chg="add mod">
          <ac:chgData name="Maciej Berka" userId="S::maciej.berka@upfieldbrands.com::8378a769-5c1d-4ca6-b8b9-b7218ba349d3" providerId="AD" clId="Web-{1F87592A-E6FE-32D8-DCCA-EEB05752FD75}" dt="2023-04-07T08:17:48.259" v="5" actId="14100"/>
          <ac:picMkLst>
            <pc:docMk/>
            <pc:sldMk cId="895411874" sldId="2877"/>
            <ac:picMk id="3" creationId="{D5E87DA1-8DB3-EDCD-EF7C-9086378FB82A}"/>
          </ac:picMkLst>
        </pc:picChg>
        <pc:picChg chg="del">
          <ac:chgData name="Maciej Berka" userId="S::maciej.berka@upfieldbrands.com::8378a769-5c1d-4ca6-b8b9-b7218ba349d3" providerId="AD" clId="Web-{1F87592A-E6FE-32D8-DCCA-EEB05752FD75}" dt="2023-04-07T08:15:52.772" v="0"/>
          <ac:picMkLst>
            <pc:docMk/>
            <pc:sldMk cId="895411874" sldId="2877"/>
            <ac:picMk id="7" creationId="{E3297ADE-77A8-FDA3-6542-06A903421D37}"/>
          </ac:picMkLst>
        </pc:picChg>
      </pc:sldChg>
      <pc:sldChg chg="addSp delSp modSp">
        <pc:chgData name="Maciej Berka" userId="S::maciej.berka@upfieldbrands.com::8378a769-5c1d-4ca6-b8b9-b7218ba349d3" providerId="AD" clId="Web-{1F87592A-E6FE-32D8-DCCA-EEB05752FD75}" dt="2023-04-07T08:52:00.291" v="742"/>
        <pc:sldMkLst>
          <pc:docMk/>
          <pc:sldMk cId="3400850130" sldId="4092"/>
        </pc:sldMkLst>
        <pc:spChg chg="del mod">
          <ac:chgData name="Maciej Berka" userId="S::maciej.berka@upfieldbrands.com::8378a769-5c1d-4ca6-b8b9-b7218ba349d3" providerId="AD" clId="Web-{1F87592A-E6FE-32D8-DCCA-EEB05752FD75}" dt="2023-04-07T08:38:43.715" v="335"/>
          <ac:spMkLst>
            <pc:docMk/>
            <pc:sldMk cId="3400850130" sldId="4092"/>
            <ac:spMk id="2" creationId="{BDBA8CC2-D23B-4D03-8FBE-8D9213EEAC9C}"/>
          </ac:spMkLst>
        </pc:spChg>
        <pc:spChg chg="mod">
          <ac:chgData name="Maciej Berka" userId="S::maciej.berka@upfieldbrands.com::8378a769-5c1d-4ca6-b8b9-b7218ba349d3" providerId="AD" clId="Web-{1F87592A-E6FE-32D8-DCCA-EEB05752FD75}" dt="2023-04-07T08:38:39.277" v="333" actId="20577"/>
          <ac:spMkLst>
            <pc:docMk/>
            <pc:sldMk cId="3400850130" sldId="4092"/>
            <ac:spMk id="5" creationId="{8F34C24A-4DB1-BAA6-C705-069CFA2CBD19}"/>
          </ac:spMkLst>
        </pc:spChg>
        <pc:spChg chg="del">
          <ac:chgData name="Maciej Berka" userId="S::maciej.berka@upfieldbrands.com::8378a769-5c1d-4ca6-b8b9-b7218ba349d3" providerId="AD" clId="Web-{1F87592A-E6FE-32D8-DCCA-EEB05752FD75}" dt="2023-04-07T08:18:59.026" v="7"/>
          <ac:spMkLst>
            <pc:docMk/>
            <pc:sldMk cId="3400850130" sldId="4092"/>
            <ac:spMk id="8" creationId="{75C42F49-19C2-6376-05E2-2ABAA4AF34BE}"/>
          </ac:spMkLst>
        </pc:spChg>
        <pc:graphicFrameChg chg="add del mod modGraphic">
          <ac:chgData name="Maciej Berka" userId="S::maciej.berka@upfieldbrands.com::8378a769-5c1d-4ca6-b8b9-b7218ba349d3" providerId="AD" clId="Web-{1F87592A-E6FE-32D8-DCCA-EEB05752FD75}" dt="2023-04-07T08:19:58.840" v="18"/>
          <ac:graphicFrameMkLst>
            <pc:docMk/>
            <pc:sldMk cId="3400850130" sldId="4092"/>
            <ac:graphicFrameMk id="6" creationId="{51BF616C-5068-8C98-6F16-7219CE9EB1D2}"/>
          </ac:graphicFrameMkLst>
        </pc:graphicFrameChg>
        <pc:graphicFrameChg chg="add mod modGraphic">
          <ac:chgData name="Maciej Berka" userId="S::maciej.berka@upfieldbrands.com::8378a769-5c1d-4ca6-b8b9-b7218ba349d3" providerId="AD" clId="Web-{1F87592A-E6FE-32D8-DCCA-EEB05752FD75}" dt="2023-04-07T08:52:00.291" v="742"/>
          <ac:graphicFrameMkLst>
            <pc:docMk/>
            <pc:sldMk cId="3400850130" sldId="4092"/>
            <ac:graphicFrameMk id="9" creationId="{991A0A9C-D5B0-0FDE-CAEB-64D2DE74AE09}"/>
          </ac:graphicFrameMkLst>
        </pc:graphicFrameChg>
      </pc:sldChg>
      <pc:sldChg chg="addSp delSp modSp add replId">
        <pc:chgData name="Maciej Berka" userId="S::maciej.berka@upfieldbrands.com::8378a769-5c1d-4ca6-b8b9-b7218ba349d3" providerId="AD" clId="Web-{1F87592A-E6FE-32D8-DCCA-EEB05752FD75}" dt="2023-04-07T08:38:46.043" v="336"/>
        <pc:sldMkLst>
          <pc:docMk/>
          <pc:sldMk cId="2615143445" sldId="4095"/>
        </pc:sldMkLst>
        <pc:spChg chg="del">
          <ac:chgData name="Maciej Berka" userId="S::maciej.berka@upfieldbrands.com::8378a769-5c1d-4ca6-b8b9-b7218ba349d3" providerId="AD" clId="Web-{1F87592A-E6FE-32D8-DCCA-EEB05752FD75}" dt="2023-04-07T08:38:46.043" v="336"/>
          <ac:spMkLst>
            <pc:docMk/>
            <pc:sldMk cId="2615143445" sldId="4095"/>
            <ac:spMk id="2" creationId="{BDBA8CC2-D23B-4D03-8FBE-8D9213EEAC9C}"/>
          </ac:spMkLst>
        </pc:spChg>
        <pc:spChg chg="mod">
          <ac:chgData name="Maciej Berka" userId="S::maciej.berka@upfieldbrands.com::8378a769-5c1d-4ca6-b8b9-b7218ba349d3" providerId="AD" clId="Web-{1F87592A-E6FE-32D8-DCCA-EEB05752FD75}" dt="2023-04-07T08:38:22.105" v="306" actId="20577"/>
          <ac:spMkLst>
            <pc:docMk/>
            <pc:sldMk cId="2615143445" sldId="4095"/>
            <ac:spMk id="5" creationId="{8F34C24A-4DB1-BAA6-C705-069CFA2CBD19}"/>
          </ac:spMkLst>
        </pc:spChg>
        <pc:spChg chg="add del mod">
          <ac:chgData name="Maciej Berka" userId="S::maciej.berka@upfieldbrands.com::8378a769-5c1d-4ca6-b8b9-b7218ba349d3" providerId="AD" clId="Web-{1F87592A-E6FE-32D8-DCCA-EEB05752FD75}" dt="2023-04-07T08:22:20.610" v="59"/>
          <ac:spMkLst>
            <pc:docMk/>
            <pc:sldMk cId="2615143445" sldId="4095"/>
            <ac:spMk id="7" creationId="{52380D34-2A82-66EB-CBE1-180EFA0082DC}"/>
          </ac:spMkLst>
        </pc:spChg>
        <pc:spChg chg="add del mod">
          <ac:chgData name="Maciej Berka" userId="S::maciej.berka@upfieldbrands.com::8378a769-5c1d-4ca6-b8b9-b7218ba349d3" providerId="AD" clId="Web-{1F87592A-E6FE-32D8-DCCA-EEB05752FD75}" dt="2023-04-07T08:22:24.797" v="65"/>
          <ac:spMkLst>
            <pc:docMk/>
            <pc:sldMk cId="2615143445" sldId="4095"/>
            <ac:spMk id="11" creationId="{40CFF382-92CF-4B94-6028-1793515EC07C}"/>
          </ac:spMkLst>
        </pc:spChg>
        <pc:spChg chg="add del mod">
          <ac:chgData name="Maciej Berka" userId="S::maciej.berka@upfieldbrands.com::8378a769-5c1d-4ca6-b8b9-b7218ba349d3" providerId="AD" clId="Web-{1F87592A-E6FE-32D8-DCCA-EEB05752FD75}" dt="2023-04-07T08:23:30.471" v="74"/>
          <ac:spMkLst>
            <pc:docMk/>
            <pc:sldMk cId="2615143445" sldId="4095"/>
            <ac:spMk id="16" creationId="{4A87498C-2B8A-9347-F34E-B51572A96A1A}"/>
          </ac:spMkLst>
        </pc:spChg>
        <pc:spChg chg="add del mod">
          <ac:chgData name="Maciej Berka" userId="S::maciej.berka@upfieldbrands.com::8378a769-5c1d-4ca6-b8b9-b7218ba349d3" providerId="AD" clId="Web-{1F87592A-E6FE-32D8-DCCA-EEB05752FD75}" dt="2023-04-07T08:24:06.112" v="113"/>
          <ac:spMkLst>
            <pc:docMk/>
            <pc:sldMk cId="2615143445" sldId="4095"/>
            <ac:spMk id="19" creationId="{6357A6FD-6D8A-3FCC-BAE2-D6AA03971316}"/>
          </ac:spMkLst>
        </pc:spChg>
        <pc:spChg chg="add del mod">
          <ac:chgData name="Maciej Berka" userId="S::maciej.berka@upfieldbrands.com::8378a769-5c1d-4ca6-b8b9-b7218ba349d3" providerId="AD" clId="Web-{1F87592A-E6FE-32D8-DCCA-EEB05752FD75}" dt="2023-04-07T08:24:38.035" v="150"/>
          <ac:spMkLst>
            <pc:docMk/>
            <pc:sldMk cId="2615143445" sldId="4095"/>
            <ac:spMk id="22" creationId="{5A74D0C6-AF9C-943D-03BB-B52EB3A06D3B}"/>
          </ac:spMkLst>
        </pc:spChg>
        <pc:graphicFrameChg chg="add del mod">
          <ac:chgData name="Maciej Berka" userId="S::maciej.berka@upfieldbrands.com::8378a769-5c1d-4ca6-b8b9-b7218ba349d3" providerId="AD" clId="Web-{1F87592A-E6FE-32D8-DCCA-EEB05752FD75}" dt="2023-04-07T08:22:20.610" v="60"/>
          <ac:graphicFrameMkLst>
            <pc:docMk/>
            <pc:sldMk cId="2615143445" sldId="4095"/>
            <ac:graphicFrameMk id="6" creationId="{20778BF2-EF49-60BF-EE63-2D0CBB7501FB}"/>
          </ac:graphicFrameMkLst>
        </pc:graphicFrameChg>
        <pc:graphicFrameChg chg="del mod modGraphic">
          <ac:chgData name="Maciej Berka" userId="S::maciej.berka@upfieldbrands.com::8378a769-5c1d-4ca6-b8b9-b7218ba349d3" providerId="AD" clId="Web-{1F87592A-E6FE-32D8-DCCA-EEB05752FD75}" dt="2023-04-07T08:24:56.864" v="152"/>
          <ac:graphicFrameMkLst>
            <pc:docMk/>
            <pc:sldMk cId="2615143445" sldId="4095"/>
            <ac:graphicFrameMk id="9" creationId="{991A0A9C-D5B0-0FDE-CAEB-64D2DE74AE09}"/>
          </ac:graphicFrameMkLst>
        </pc:graphicFrameChg>
        <pc:graphicFrameChg chg="add del mod">
          <ac:chgData name="Maciej Berka" userId="S::maciej.berka@upfieldbrands.com::8378a769-5c1d-4ca6-b8b9-b7218ba349d3" providerId="AD" clId="Web-{1F87592A-E6FE-32D8-DCCA-EEB05752FD75}" dt="2023-04-07T08:22:24.797" v="66"/>
          <ac:graphicFrameMkLst>
            <pc:docMk/>
            <pc:sldMk cId="2615143445" sldId="4095"/>
            <ac:graphicFrameMk id="10" creationId="{B5131E28-9A30-6FFC-43BE-E33AB2CB3872}"/>
          </ac:graphicFrameMkLst>
        </pc:graphicFrameChg>
        <pc:graphicFrameChg chg="add del mod">
          <ac:chgData name="Maciej Berka" userId="S::maciej.berka@upfieldbrands.com::8378a769-5c1d-4ca6-b8b9-b7218ba349d3" providerId="AD" clId="Web-{1F87592A-E6FE-32D8-DCCA-EEB05752FD75}" dt="2023-04-07T08:23:01.658" v="69"/>
          <ac:graphicFrameMkLst>
            <pc:docMk/>
            <pc:sldMk cId="2615143445" sldId="4095"/>
            <ac:graphicFrameMk id="13" creationId="{ECE04A5A-0757-5A4E-571F-AEB69186C3A5}"/>
          </ac:graphicFrameMkLst>
        </pc:graphicFrameChg>
        <pc:graphicFrameChg chg="add del mod">
          <ac:chgData name="Maciej Berka" userId="S::maciej.berka@upfieldbrands.com::8378a769-5c1d-4ca6-b8b9-b7218ba349d3" providerId="AD" clId="Web-{1F87592A-E6FE-32D8-DCCA-EEB05752FD75}" dt="2023-04-07T08:23:30.471" v="75"/>
          <ac:graphicFrameMkLst>
            <pc:docMk/>
            <pc:sldMk cId="2615143445" sldId="4095"/>
            <ac:graphicFrameMk id="15" creationId="{780FCB5F-FA38-5B69-6E08-AC3DFC3CD5D8}"/>
          </ac:graphicFrameMkLst>
        </pc:graphicFrameChg>
        <pc:graphicFrameChg chg="add del mod">
          <ac:chgData name="Maciej Berka" userId="S::maciej.berka@upfieldbrands.com::8378a769-5c1d-4ca6-b8b9-b7218ba349d3" providerId="AD" clId="Web-{1F87592A-E6FE-32D8-DCCA-EEB05752FD75}" dt="2023-04-07T08:24:06.112" v="114"/>
          <ac:graphicFrameMkLst>
            <pc:docMk/>
            <pc:sldMk cId="2615143445" sldId="4095"/>
            <ac:graphicFrameMk id="18" creationId="{16BF8A46-C963-62E4-0D55-E4C245DF78BD}"/>
          </ac:graphicFrameMkLst>
        </pc:graphicFrameChg>
        <pc:graphicFrameChg chg="add del mod">
          <ac:chgData name="Maciej Berka" userId="S::maciej.berka@upfieldbrands.com::8378a769-5c1d-4ca6-b8b9-b7218ba349d3" providerId="AD" clId="Web-{1F87592A-E6FE-32D8-DCCA-EEB05752FD75}" dt="2023-04-07T08:24:38.035" v="151"/>
          <ac:graphicFrameMkLst>
            <pc:docMk/>
            <pc:sldMk cId="2615143445" sldId="4095"/>
            <ac:graphicFrameMk id="21" creationId="{9BA64FB0-4734-57E5-E792-697C2513BF2F}"/>
          </ac:graphicFrameMkLst>
        </pc:graphicFrameChg>
        <pc:graphicFrameChg chg="add mod modGraphic">
          <ac:chgData name="Maciej Berka" userId="S::maciej.berka@upfieldbrands.com::8378a769-5c1d-4ca6-b8b9-b7218ba349d3" providerId="AD" clId="Web-{1F87592A-E6FE-32D8-DCCA-EEB05752FD75}" dt="2023-04-07T08:33:08.285" v="182"/>
          <ac:graphicFrameMkLst>
            <pc:docMk/>
            <pc:sldMk cId="2615143445" sldId="4095"/>
            <ac:graphicFrameMk id="24" creationId="{25226C66-F17A-6AA6-F904-23E339213F6B}"/>
          </ac:graphicFrameMkLst>
        </pc:graphicFrameChg>
      </pc:sldChg>
      <pc:sldChg chg="addSp delSp modSp add replId">
        <pc:chgData name="Maciej Berka" userId="S::maciej.berka@upfieldbrands.com::8378a769-5c1d-4ca6-b8b9-b7218ba349d3" providerId="AD" clId="Web-{1F87592A-E6FE-32D8-DCCA-EEB05752FD75}" dt="2023-04-07T08:38:48.262" v="337"/>
        <pc:sldMkLst>
          <pc:docMk/>
          <pc:sldMk cId="1438476031" sldId="4096"/>
        </pc:sldMkLst>
        <pc:spChg chg="del">
          <ac:chgData name="Maciej Berka" userId="S::maciej.berka@upfieldbrands.com::8378a769-5c1d-4ca6-b8b9-b7218ba349d3" providerId="AD" clId="Web-{1F87592A-E6FE-32D8-DCCA-EEB05752FD75}" dt="2023-04-07T08:38:48.262" v="337"/>
          <ac:spMkLst>
            <pc:docMk/>
            <pc:sldMk cId="1438476031" sldId="4096"/>
            <ac:spMk id="2" creationId="{BDBA8CC2-D23B-4D03-8FBE-8D9213EEAC9C}"/>
          </ac:spMkLst>
        </pc:spChg>
        <pc:spChg chg="mod">
          <ac:chgData name="Maciej Berka" userId="S::maciej.berka@upfieldbrands.com::8378a769-5c1d-4ca6-b8b9-b7218ba349d3" providerId="AD" clId="Web-{1F87592A-E6FE-32D8-DCCA-EEB05752FD75}" dt="2023-04-07T08:38:32.168" v="322" actId="20577"/>
          <ac:spMkLst>
            <pc:docMk/>
            <pc:sldMk cId="1438476031" sldId="4096"/>
            <ac:spMk id="5" creationId="{8F34C24A-4DB1-BAA6-C705-069CFA2CBD19}"/>
          </ac:spMkLst>
        </pc:spChg>
        <pc:spChg chg="add del mod">
          <ac:chgData name="Maciej Berka" userId="S::maciej.berka@upfieldbrands.com::8378a769-5c1d-4ca6-b8b9-b7218ba349d3" providerId="AD" clId="Web-{1F87592A-E6FE-32D8-DCCA-EEB05752FD75}" dt="2023-04-07T08:37:04.994" v="274"/>
          <ac:spMkLst>
            <pc:docMk/>
            <pc:sldMk cId="1438476031" sldId="4096"/>
            <ac:spMk id="7" creationId="{0CA0D2F2-0A28-80C0-3239-F7F2380E38AA}"/>
          </ac:spMkLst>
        </pc:spChg>
        <pc:spChg chg="add del mod">
          <ac:chgData name="Maciej Berka" userId="S::maciej.berka@upfieldbrands.com::8378a769-5c1d-4ca6-b8b9-b7218ba349d3" providerId="AD" clId="Web-{1F87592A-E6FE-32D8-DCCA-EEB05752FD75}" dt="2023-04-07T08:37:11.697" v="282"/>
          <ac:spMkLst>
            <pc:docMk/>
            <pc:sldMk cId="1438476031" sldId="4096"/>
            <ac:spMk id="10" creationId="{0A4013C6-745E-1851-A2F4-91DEC682F6F3}"/>
          </ac:spMkLst>
        </pc:spChg>
        <pc:graphicFrameChg chg="add del mod">
          <ac:chgData name="Maciej Berka" userId="S::maciej.berka@upfieldbrands.com::8378a769-5c1d-4ca6-b8b9-b7218ba349d3" providerId="AD" clId="Web-{1F87592A-E6FE-32D8-DCCA-EEB05752FD75}" dt="2023-04-07T08:37:04.994" v="275"/>
          <ac:graphicFrameMkLst>
            <pc:docMk/>
            <pc:sldMk cId="1438476031" sldId="4096"/>
            <ac:graphicFrameMk id="6" creationId="{DF623AD9-EC7D-1515-1A0B-68A8B754950D}"/>
          </ac:graphicFrameMkLst>
        </pc:graphicFrameChg>
        <pc:graphicFrameChg chg="add del mod">
          <ac:chgData name="Maciej Berka" userId="S::maciej.berka@upfieldbrands.com::8378a769-5c1d-4ca6-b8b9-b7218ba349d3" providerId="AD" clId="Web-{1F87592A-E6FE-32D8-DCCA-EEB05752FD75}" dt="2023-04-07T08:37:11.697" v="283"/>
          <ac:graphicFrameMkLst>
            <pc:docMk/>
            <pc:sldMk cId="1438476031" sldId="4096"/>
            <ac:graphicFrameMk id="9" creationId="{26AA8335-C457-0065-9A69-6EA37AE91F6B}"/>
          </ac:graphicFrameMkLst>
        </pc:graphicFrameChg>
        <pc:graphicFrameChg chg="mod modGraphic">
          <ac:chgData name="Maciej Berka" userId="S::maciej.berka@upfieldbrands.com::8378a769-5c1d-4ca6-b8b9-b7218ba349d3" providerId="AD" clId="Web-{1F87592A-E6FE-32D8-DCCA-EEB05752FD75}" dt="2023-04-07T08:37:55.448" v="296"/>
          <ac:graphicFrameMkLst>
            <pc:docMk/>
            <pc:sldMk cId="1438476031" sldId="4096"/>
            <ac:graphicFrameMk id="24" creationId="{25226C66-F17A-6AA6-F904-23E339213F6B}"/>
          </ac:graphicFrameMkLst>
        </pc:graphicFrameChg>
      </pc:sldChg>
    </pc:docChg>
  </pc:docChgLst>
  <pc:docChgLst>
    <pc:chgData name="Dawid Janik" userId="S::dawid.janik@upfieldbrands.com::81a947f4-3345-42c0-a461-2bf27ee4639f" providerId="AD" clId="Web-{97DCC9B8-6E9C-4254-8174-B25FF5B555E5}"/>
    <pc:docChg chg="addSld modSld">
      <pc:chgData name="Dawid Janik" userId="S::dawid.janik@upfieldbrands.com::81a947f4-3345-42c0-a461-2bf27ee4639f" providerId="AD" clId="Web-{97DCC9B8-6E9C-4254-8174-B25FF5B555E5}" dt="2023-06-05T13:10:52.875" v="109"/>
      <pc:docMkLst>
        <pc:docMk/>
      </pc:docMkLst>
      <pc:sldChg chg="new">
        <pc:chgData name="Dawid Janik" userId="S::dawid.janik@upfieldbrands.com::81a947f4-3345-42c0-a461-2bf27ee4639f" providerId="AD" clId="Web-{97DCC9B8-6E9C-4254-8174-B25FF5B555E5}" dt="2023-06-05T13:06:31.397" v="0"/>
        <pc:sldMkLst>
          <pc:docMk/>
          <pc:sldMk cId="2218249780" sldId="2147469988"/>
        </pc:sldMkLst>
      </pc:sldChg>
      <pc:sldChg chg="addSp delSp modSp new">
        <pc:chgData name="Dawid Janik" userId="S::dawid.janik@upfieldbrands.com::81a947f4-3345-42c0-a461-2bf27ee4639f" providerId="AD" clId="Web-{97DCC9B8-6E9C-4254-8174-B25FF5B555E5}" dt="2023-06-05T13:07:24.805" v="12" actId="14100"/>
        <pc:sldMkLst>
          <pc:docMk/>
          <pc:sldMk cId="2461597442" sldId="2147469989"/>
        </pc:sldMkLst>
        <pc:spChg chg="del">
          <ac:chgData name="Dawid Janik" userId="S::dawid.janik@upfieldbrands.com::81a947f4-3345-42c0-a461-2bf27ee4639f" providerId="AD" clId="Web-{97DCC9B8-6E9C-4254-8174-B25FF5B555E5}" dt="2023-06-05T13:06:50.601" v="2"/>
          <ac:spMkLst>
            <pc:docMk/>
            <pc:sldMk cId="2461597442" sldId="2147469989"/>
            <ac:spMk id="2" creationId="{0E01B220-1294-3BDC-DE08-A77C24739E06}"/>
          </ac:spMkLst>
        </pc:spChg>
        <pc:spChg chg="del">
          <ac:chgData name="Dawid Janik" userId="S::dawid.janik@upfieldbrands.com::81a947f4-3345-42c0-a461-2bf27ee4639f" providerId="AD" clId="Web-{97DCC9B8-6E9C-4254-8174-B25FF5B555E5}" dt="2023-06-05T13:06:53.117" v="4"/>
          <ac:spMkLst>
            <pc:docMk/>
            <pc:sldMk cId="2461597442" sldId="2147469989"/>
            <ac:spMk id="3" creationId="{4188CA66-6887-A2E9-F959-AF62CE65D048}"/>
          </ac:spMkLst>
        </pc:spChg>
        <pc:spChg chg="del">
          <ac:chgData name="Dawid Janik" userId="S::dawid.janik@upfieldbrands.com::81a947f4-3345-42c0-a461-2bf27ee4639f" providerId="AD" clId="Web-{97DCC9B8-6E9C-4254-8174-B25FF5B555E5}" dt="2023-06-05T13:06:51.929" v="3"/>
          <ac:spMkLst>
            <pc:docMk/>
            <pc:sldMk cId="2461597442" sldId="2147469989"/>
            <ac:spMk id="5" creationId="{EBB87EE6-375B-0FDD-066F-90A495B080E4}"/>
          </ac:spMkLst>
        </pc:spChg>
        <pc:spChg chg="del">
          <ac:chgData name="Dawid Janik" userId="S::dawid.janik@upfieldbrands.com::81a947f4-3345-42c0-a461-2bf27ee4639f" providerId="AD" clId="Web-{97DCC9B8-6E9C-4254-8174-B25FF5B555E5}" dt="2023-06-05T13:06:55.523" v="6"/>
          <ac:spMkLst>
            <pc:docMk/>
            <pc:sldMk cId="2461597442" sldId="2147469989"/>
            <ac:spMk id="6" creationId="{12494BD6-BEE9-B9A4-F589-F4BE21B9B215}"/>
          </ac:spMkLst>
        </pc:spChg>
        <pc:spChg chg="del">
          <ac:chgData name="Dawid Janik" userId="S::dawid.janik@upfieldbrands.com::81a947f4-3345-42c0-a461-2bf27ee4639f" providerId="AD" clId="Web-{97DCC9B8-6E9C-4254-8174-B25FF5B555E5}" dt="2023-06-05T13:06:54.570" v="5"/>
          <ac:spMkLst>
            <pc:docMk/>
            <pc:sldMk cId="2461597442" sldId="2147469989"/>
            <ac:spMk id="7" creationId="{C89C8673-5007-413C-983D-6DD609D4F503}"/>
          </ac:spMkLst>
        </pc:spChg>
        <pc:graphicFrameChg chg="add mod">
          <ac:chgData name="Dawid Janik" userId="S::dawid.janik@upfieldbrands.com::81a947f4-3345-42c0-a461-2bf27ee4639f" providerId="AD" clId="Web-{97DCC9B8-6E9C-4254-8174-B25FF5B555E5}" dt="2023-06-05T13:07:08.055" v="9" actId="1076"/>
          <ac:graphicFrameMkLst>
            <pc:docMk/>
            <pc:sldMk cId="2461597442" sldId="2147469989"/>
            <ac:graphicFrameMk id="8" creationId="{02211EDB-357B-3EBD-8563-829190157A54}"/>
          </ac:graphicFrameMkLst>
        </pc:graphicFrameChg>
        <pc:graphicFrameChg chg="add mod">
          <ac:chgData name="Dawid Janik" userId="S::dawid.janik@upfieldbrands.com::81a947f4-3345-42c0-a461-2bf27ee4639f" providerId="AD" clId="Web-{97DCC9B8-6E9C-4254-8174-B25FF5B555E5}" dt="2023-06-05T13:07:24.805" v="12" actId="14100"/>
          <ac:graphicFrameMkLst>
            <pc:docMk/>
            <pc:sldMk cId="2461597442" sldId="2147469989"/>
            <ac:graphicFrameMk id="9" creationId="{0C7CCDEB-7596-4380-A802-A754E86AEF4C}"/>
          </ac:graphicFrameMkLst>
        </pc:graphicFrameChg>
      </pc:sldChg>
      <pc:sldChg chg="addSp delSp modSp new">
        <pc:chgData name="Dawid Janik" userId="S::dawid.janik@upfieldbrands.com::81a947f4-3345-42c0-a461-2bf27ee4639f" providerId="AD" clId="Web-{97DCC9B8-6E9C-4254-8174-B25FF5B555E5}" dt="2023-06-05T13:10:52.875" v="109"/>
        <pc:sldMkLst>
          <pc:docMk/>
          <pc:sldMk cId="1173544550" sldId="2147469990"/>
        </pc:sldMkLst>
        <pc:spChg chg="del">
          <ac:chgData name="Dawid Janik" userId="S::dawid.janik@upfieldbrands.com::81a947f4-3345-42c0-a461-2bf27ee4639f" providerId="AD" clId="Web-{97DCC9B8-6E9C-4254-8174-B25FF5B555E5}" dt="2023-06-05T13:08:12.541" v="15"/>
          <ac:spMkLst>
            <pc:docMk/>
            <pc:sldMk cId="1173544550" sldId="2147469990"/>
            <ac:spMk id="2" creationId="{1B545374-A6C1-D6C0-A49D-7216F050F38D}"/>
          </ac:spMkLst>
        </pc:spChg>
        <pc:spChg chg="del">
          <ac:chgData name="Dawid Janik" userId="S::dawid.janik@upfieldbrands.com::81a947f4-3345-42c0-a461-2bf27ee4639f" providerId="AD" clId="Web-{97DCC9B8-6E9C-4254-8174-B25FF5B555E5}" dt="2023-06-05T13:08:15.291" v="18"/>
          <ac:spMkLst>
            <pc:docMk/>
            <pc:sldMk cId="1173544550" sldId="2147469990"/>
            <ac:spMk id="3" creationId="{8EFD9625-24F2-2E81-C1FC-27F0AAA8CA54}"/>
          </ac:spMkLst>
        </pc:spChg>
        <pc:spChg chg="del">
          <ac:chgData name="Dawid Janik" userId="S::dawid.janik@upfieldbrands.com::81a947f4-3345-42c0-a461-2bf27ee4639f" providerId="AD" clId="Web-{97DCC9B8-6E9C-4254-8174-B25FF5B555E5}" dt="2023-06-05T13:08:14.385" v="17"/>
          <ac:spMkLst>
            <pc:docMk/>
            <pc:sldMk cId="1173544550" sldId="2147469990"/>
            <ac:spMk id="5" creationId="{3B901FB4-98B4-4B69-A099-BA7014FF2C55}"/>
          </ac:spMkLst>
        </pc:spChg>
        <pc:spChg chg="del">
          <ac:chgData name="Dawid Janik" userId="S::dawid.janik@upfieldbrands.com::81a947f4-3345-42c0-a461-2bf27ee4639f" providerId="AD" clId="Web-{97DCC9B8-6E9C-4254-8174-B25FF5B555E5}" dt="2023-06-05T13:08:13.369" v="16"/>
          <ac:spMkLst>
            <pc:docMk/>
            <pc:sldMk cId="1173544550" sldId="2147469990"/>
            <ac:spMk id="6" creationId="{B12270DE-00E8-ACF3-446E-19B124637AE5}"/>
          </ac:spMkLst>
        </pc:spChg>
        <pc:spChg chg="del">
          <ac:chgData name="Dawid Janik" userId="S::dawid.janik@upfieldbrands.com::81a947f4-3345-42c0-a461-2bf27ee4639f" providerId="AD" clId="Web-{97DCC9B8-6E9C-4254-8174-B25FF5B555E5}" dt="2023-06-05T13:08:07.541" v="14"/>
          <ac:spMkLst>
            <pc:docMk/>
            <pc:sldMk cId="1173544550" sldId="2147469990"/>
            <ac:spMk id="7" creationId="{26078364-0A47-6781-9925-922AEE81C323}"/>
          </ac:spMkLst>
        </pc:spChg>
        <pc:graphicFrameChg chg="add mod ord modGraphic">
          <ac:chgData name="Dawid Janik" userId="S::dawid.janik@upfieldbrands.com::81a947f4-3345-42c0-a461-2bf27ee4639f" providerId="AD" clId="Web-{97DCC9B8-6E9C-4254-8174-B25FF5B555E5}" dt="2023-06-05T13:10:49.937" v="108" actId="1076"/>
          <ac:graphicFrameMkLst>
            <pc:docMk/>
            <pc:sldMk cId="1173544550" sldId="2147469990"/>
            <ac:graphicFrameMk id="9" creationId="{3275F67D-9261-03F9-FCA6-39E3EAAE8923}"/>
          </ac:graphicFrameMkLst>
        </pc:graphicFrameChg>
        <pc:graphicFrameChg chg="add mod modGraphic">
          <ac:chgData name="Dawid Janik" userId="S::dawid.janik@upfieldbrands.com::81a947f4-3345-42c0-a461-2bf27ee4639f" providerId="AD" clId="Web-{97DCC9B8-6E9C-4254-8174-B25FF5B555E5}" dt="2023-06-05T13:10:52.875" v="109"/>
          <ac:graphicFrameMkLst>
            <pc:docMk/>
            <pc:sldMk cId="1173544550" sldId="2147469990"/>
            <ac:graphicFrameMk id="11" creationId="{147DA55D-8971-7364-6DA5-52224804D215}"/>
          </ac:graphicFrameMkLst>
        </pc:graphicFrameChg>
      </pc:sldChg>
    </pc:docChg>
  </pc:docChgLst>
  <pc:docChgLst>
    <pc:chgData name="Dawid Janik" userId="S::dawid.janik@upfieldbrands.com::81a947f4-3345-42c0-a461-2bf27ee4639f" providerId="AD" clId="Web-{D8798FAB-602F-4BD4-8735-1030FE42914F}"/>
    <pc:docChg chg="modSld">
      <pc:chgData name="Dawid Janik" userId="S::dawid.janik@upfieldbrands.com::81a947f4-3345-42c0-a461-2bf27ee4639f" providerId="AD" clId="Web-{D8798FAB-602F-4BD4-8735-1030FE42914F}" dt="2023-06-07T13:36:12.623" v="45" actId="1076"/>
      <pc:docMkLst>
        <pc:docMk/>
      </pc:docMkLst>
      <pc:sldChg chg="addSp modSp">
        <pc:chgData name="Dawid Janik" userId="S::dawid.janik@upfieldbrands.com::81a947f4-3345-42c0-a461-2bf27ee4639f" providerId="AD" clId="Web-{D8798FAB-602F-4BD4-8735-1030FE42914F}" dt="2023-06-07T13:36:12.623" v="45" actId="1076"/>
        <pc:sldMkLst>
          <pc:docMk/>
          <pc:sldMk cId="1556072929" sldId="2147469997"/>
        </pc:sldMkLst>
        <pc:spChg chg="add mod">
          <ac:chgData name="Dawid Janik" userId="S::dawid.janik@upfieldbrands.com::81a947f4-3345-42c0-a461-2bf27ee4639f" providerId="AD" clId="Web-{D8798FAB-602F-4BD4-8735-1030FE42914F}" dt="2023-06-07T13:36:03.623" v="43" actId="1076"/>
          <ac:spMkLst>
            <pc:docMk/>
            <pc:sldMk cId="1556072929" sldId="2147469997"/>
            <ac:spMk id="5" creationId="{F8D28C37-4906-30E6-482A-BDDD9CB1BD5F}"/>
          </ac:spMkLst>
        </pc:spChg>
        <pc:spChg chg="add mod">
          <ac:chgData name="Dawid Janik" userId="S::dawid.janik@upfieldbrands.com::81a947f4-3345-42c0-a461-2bf27ee4639f" providerId="AD" clId="Web-{D8798FAB-602F-4BD4-8735-1030FE42914F}" dt="2023-06-07T13:36:12.623" v="45" actId="1076"/>
          <ac:spMkLst>
            <pc:docMk/>
            <pc:sldMk cId="1556072929" sldId="2147469997"/>
            <ac:spMk id="6" creationId="{09368012-2CC4-CDE5-FE98-AC62BF9688F2}"/>
          </ac:spMkLst>
        </pc:spChg>
        <pc:spChg chg="mod">
          <ac:chgData name="Dawid Janik" userId="S::dawid.janik@upfieldbrands.com::81a947f4-3345-42c0-a461-2bf27ee4639f" providerId="AD" clId="Web-{D8798FAB-602F-4BD4-8735-1030FE42914F}" dt="2023-06-07T13:35:59.873" v="42" actId="1076"/>
          <ac:spMkLst>
            <pc:docMk/>
            <pc:sldMk cId="1556072929" sldId="2147469997"/>
            <ac:spMk id="13" creationId="{EF2030BF-F17A-5C1A-CF2B-B3CE3154F2FE}"/>
          </ac:spMkLst>
        </pc:spChg>
        <pc:graphicFrameChg chg="add mod modGraphic">
          <ac:chgData name="Dawid Janik" userId="S::dawid.janik@upfieldbrands.com::81a947f4-3345-42c0-a461-2bf27ee4639f" providerId="AD" clId="Web-{D8798FAB-602F-4BD4-8735-1030FE42914F}" dt="2023-06-07T13:36:07.248" v="44" actId="1076"/>
          <ac:graphicFrameMkLst>
            <pc:docMk/>
            <pc:sldMk cId="1556072929" sldId="2147469997"/>
            <ac:graphicFrameMk id="3" creationId="{D60AF2BF-FC5F-92E5-140E-E1D2E3DF3635}"/>
          </ac:graphicFrameMkLst>
        </pc:graphicFrameChg>
        <pc:graphicFrameChg chg="mod modGraphic">
          <ac:chgData name="Dawid Janik" userId="S::dawid.janik@upfieldbrands.com::81a947f4-3345-42c0-a461-2bf27ee4639f" providerId="AD" clId="Web-{D8798FAB-602F-4BD4-8735-1030FE42914F}" dt="2023-06-07T13:35:56.373" v="41" actId="1076"/>
          <ac:graphicFrameMkLst>
            <pc:docMk/>
            <pc:sldMk cId="1556072929" sldId="2147469997"/>
            <ac:graphicFrameMk id="12" creationId="{A9247756-7DED-DB5D-C970-6D7CAEE95029}"/>
          </ac:graphicFrameMkLst>
        </pc:graphicFrameChg>
      </pc:sldChg>
    </pc:docChg>
  </pc:docChgLst>
  <pc:docChgLst>
    <pc:chgData name="Judyta Kozlowska" userId="b4dee01e-1dd1-4ace-b126-5b3bd0cf451c" providerId="ADAL" clId="{73B32ADE-1590-490E-9993-BA19385B518B}"/>
    <pc:docChg chg="undo custSel addSld delSld modSld sldOrd">
      <pc:chgData name="Judyta Kozlowska" userId="b4dee01e-1dd1-4ace-b126-5b3bd0cf451c" providerId="ADAL" clId="{73B32ADE-1590-490E-9993-BA19385B518B}" dt="2023-04-11T07:50:29.763" v="1444" actId="20577"/>
      <pc:docMkLst>
        <pc:docMk/>
      </pc:docMkLst>
      <pc:sldChg chg="addSp delSp modSp del mod">
        <pc:chgData name="Judyta Kozlowska" userId="b4dee01e-1dd1-4ace-b126-5b3bd0cf451c" providerId="ADAL" clId="{73B32ADE-1590-490E-9993-BA19385B518B}" dt="2023-04-09T16:16:00.799" v="571" actId="2696"/>
        <pc:sldMkLst>
          <pc:docMk/>
          <pc:sldMk cId="2172592217" sldId="259"/>
        </pc:sldMkLst>
        <pc:spChg chg="add del mod">
          <ac:chgData name="Judyta Kozlowska" userId="b4dee01e-1dd1-4ace-b126-5b3bd0cf451c" providerId="ADAL" clId="{73B32ADE-1590-490E-9993-BA19385B518B}" dt="2023-04-09T16:13:51.559" v="568" actId="478"/>
          <ac:spMkLst>
            <pc:docMk/>
            <pc:sldMk cId="2172592217" sldId="259"/>
            <ac:spMk id="2" creationId="{1F6C59D8-470D-09DA-B612-8214B46279A7}"/>
          </ac:spMkLst>
        </pc:spChg>
      </pc:sldChg>
      <pc:sldChg chg="modSp mod">
        <pc:chgData name="Judyta Kozlowska" userId="b4dee01e-1dd1-4ace-b126-5b3bd0cf451c" providerId="ADAL" clId="{73B32ADE-1590-490E-9993-BA19385B518B}" dt="2023-04-07T06:43:26.700" v="5" actId="20577"/>
        <pc:sldMkLst>
          <pc:docMk/>
          <pc:sldMk cId="387532369" sldId="262"/>
        </pc:sldMkLst>
        <pc:spChg chg="mod">
          <ac:chgData name="Judyta Kozlowska" userId="b4dee01e-1dd1-4ace-b126-5b3bd0cf451c" providerId="ADAL" clId="{73B32ADE-1590-490E-9993-BA19385B518B}" dt="2023-04-07T06:43:26.700" v="5" actId="20577"/>
          <ac:spMkLst>
            <pc:docMk/>
            <pc:sldMk cId="387532369" sldId="262"/>
            <ac:spMk id="2" creationId="{00000000-0000-0000-0000-000000000000}"/>
          </ac:spMkLst>
        </pc:spChg>
      </pc:sldChg>
      <pc:sldChg chg="addSp delSp modSp mod">
        <pc:chgData name="Judyta Kozlowska" userId="b4dee01e-1dd1-4ace-b126-5b3bd0cf451c" providerId="ADAL" clId="{73B32ADE-1590-490E-9993-BA19385B518B}" dt="2023-04-09T16:47:34.756" v="836" actId="20577"/>
        <pc:sldMkLst>
          <pc:docMk/>
          <pc:sldMk cId="289989424" sldId="2858"/>
        </pc:sldMkLst>
        <pc:spChg chg="mod">
          <ac:chgData name="Judyta Kozlowska" userId="b4dee01e-1dd1-4ace-b126-5b3bd0cf451c" providerId="ADAL" clId="{73B32ADE-1590-490E-9993-BA19385B518B}" dt="2023-04-09T16:47:34.756" v="836" actId="20577"/>
          <ac:spMkLst>
            <pc:docMk/>
            <pc:sldMk cId="289989424" sldId="2858"/>
            <ac:spMk id="2" creationId="{CF04DB44-42D0-7DDA-052D-69EE10190E3D}"/>
          </ac:spMkLst>
        </pc:spChg>
        <pc:spChg chg="add mod">
          <ac:chgData name="Judyta Kozlowska" userId="b4dee01e-1dd1-4ace-b126-5b3bd0cf451c" providerId="ADAL" clId="{73B32ADE-1590-490E-9993-BA19385B518B}" dt="2023-04-07T06:46:15.723" v="107" actId="20577"/>
          <ac:spMkLst>
            <pc:docMk/>
            <pc:sldMk cId="289989424" sldId="2858"/>
            <ac:spMk id="3" creationId="{9EF69F06-B4AC-2EDA-368F-793BF833AC0D}"/>
          </ac:spMkLst>
        </pc:spChg>
        <pc:picChg chg="del">
          <ac:chgData name="Judyta Kozlowska" userId="b4dee01e-1dd1-4ace-b126-5b3bd0cf451c" providerId="ADAL" clId="{73B32ADE-1590-490E-9993-BA19385B518B}" dt="2023-04-09T16:43:54.421" v="823" actId="478"/>
          <ac:picMkLst>
            <pc:docMk/>
            <pc:sldMk cId="289989424" sldId="2858"/>
            <ac:picMk id="5" creationId="{5E28C92C-6989-C986-F7C9-86C988B3FE83}"/>
          </ac:picMkLst>
        </pc:picChg>
        <pc:picChg chg="add mod">
          <ac:chgData name="Judyta Kozlowska" userId="b4dee01e-1dd1-4ace-b126-5b3bd0cf451c" providerId="ADAL" clId="{73B32ADE-1590-490E-9993-BA19385B518B}" dt="2023-04-09T16:44:04.407" v="827" actId="1076"/>
          <ac:picMkLst>
            <pc:docMk/>
            <pc:sldMk cId="289989424" sldId="2858"/>
            <ac:picMk id="7" creationId="{2842E60C-8109-44F5-88CB-AA9FD8BE4869}"/>
          </ac:picMkLst>
        </pc:picChg>
      </pc:sldChg>
      <pc:sldChg chg="addSp delSp modSp mod">
        <pc:chgData name="Judyta Kozlowska" userId="b4dee01e-1dd1-4ace-b126-5b3bd0cf451c" providerId="ADAL" clId="{73B32ADE-1590-490E-9993-BA19385B518B}" dt="2023-04-09T16:38:45.311" v="799" actId="14100"/>
        <pc:sldMkLst>
          <pc:docMk/>
          <pc:sldMk cId="3969372951" sldId="2860"/>
        </pc:sldMkLst>
        <pc:spChg chg="del">
          <ac:chgData name="Judyta Kozlowska" userId="b4dee01e-1dd1-4ace-b126-5b3bd0cf451c" providerId="ADAL" clId="{73B32ADE-1590-490E-9993-BA19385B518B}" dt="2023-04-07T07:11:37.730" v="214" actId="478"/>
          <ac:spMkLst>
            <pc:docMk/>
            <pc:sldMk cId="3969372951" sldId="2860"/>
            <ac:spMk id="2" creationId="{DCEC3E0C-FE24-BAD0-37DB-5C1FD664FAA8}"/>
          </ac:spMkLst>
        </pc:spChg>
        <pc:spChg chg="add del mod">
          <ac:chgData name="Judyta Kozlowska" userId="b4dee01e-1dd1-4ace-b126-5b3bd0cf451c" providerId="ADAL" clId="{73B32ADE-1590-490E-9993-BA19385B518B}" dt="2023-04-07T07:11:39.133" v="215" actId="478"/>
          <ac:spMkLst>
            <pc:docMk/>
            <pc:sldMk cId="3969372951" sldId="2860"/>
            <ac:spMk id="7" creationId="{5B97CEC6-32DF-5AB7-C7AF-38A3AA52D887}"/>
          </ac:spMkLst>
        </pc:spChg>
        <pc:picChg chg="add del">
          <ac:chgData name="Judyta Kozlowska" userId="b4dee01e-1dd1-4ace-b126-5b3bd0cf451c" providerId="ADAL" clId="{73B32ADE-1590-490E-9993-BA19385B518B}" dt="2023-04-07T06:45:48.011" v="90"/>
          <ac:picMkLst>
            <pc:docMk/>
            <pc:sldMk cId="3969372951" sldId="2860"/>
            <ac:picMk id="5" creationId="{691C7BEC-3D21-F1DF-132C-6B1CA0FC3C05}"/>
          </ac:picMkLst>
        </pc:picChg>
        <pc:picChg chg="mod">
          <ac:chgData name="Judyta Kozlowska" userId="b4dee01e-1dd1-4ace-b126-5b3bd0cf451c" providerId="ADAL" clId="{73B32ADE-1590-490E-9993-BA19385B518B}" dt="2023-04-09T16:38:45.311" v="799" actId="14100"/>
          <ac:picMkLst>
            <pc:docMk/>
            <pc:sldMk cId="3969372951" sldId="2860"/>
            <ac:picMk id="9" creationId="{E737997F-1C12-6C97-9D7F-A8393406089F}"/>
          </ac:picMkLst>
        </pc:picChg>
      </pc:sldChg>
      <pc:sldChg chg="addSp delSp modSp mod">
        <pc:chgData name="Judyta Kozlowska" userId="b4dee01e-1dd1-4ace-b126-5b3bd0cf451c" providerId="ADAL" clId="{73B32ADE-1590-490E-9993-BA19385B518B}" dt="2023-04-07T07:13:17.869" v="246" actId="1076"/>
        <pc:sldMkLst>
          <pc:docMk/>
          <pc:sldMk cId="773440969" sldId="2861"/>
        </pc:sldMkLst>
        <pc:spChg chg="add del mod">
          <ac:chgData name="Judyta Kozlowska" userId="b4dee01e-1dd1-4ace-b126-5b3bd0cf451c" providerId="ADAL" clId="{73B32ADE-1590-490E-9993-BA19385B518B}" dt="2023-04-07T07:11:50.224" v="218" actId="478"/>
          <ac:spMkLst>
            <pc:docMk/>
            <pc:sldMk cId="773440969" sldId="2861"/>
            <ac:spMk id="3" creationId="{932B2548-FADA-4A83-61FD-336685D28ACC}"/>
          </ac:spMkLst>
        </pc:spChg>
        <pc:picChg chg="mod">
          <ac:chgData name="Judyta Kozlowska" userId="b4dee01e-1dd1-4ace-b126-5b3bd0cf451c" providerId="ADAL" clId="{73B32ADE-1590-490E-9993-BA19385B518B}" dt="2023-04-07T07:13:15.909" v="245" actId="1076"/>
          <ac:picMkLst>
            <pc:docMk/>
            <pc:sldMk cId="773440969" sldId="2861"/>
            <ac:picMk id="8" creationId="{B9615C80-0CFC-CE0B-2498-2A37108D107D}"/>
          </ac:picMkLst>
        </pc:picChg>
        <pc:picChg chg="mod">
          <ac:chgData name="Judyta Kozlowska" userId="b4dee01e-1dd1-4ace-b126-5b3bd0cf451c" providerId="ADAL" clId="{73B32ADE-1590-490E-9993-BA19385B518B}" dt="2023-04-07T07:13:17.869" v="246" actId="1076"/>
          <ac:picMkLst>
            <pc:docMk/>
            <pc:sldMk cId="773440969" sldId="2861"/>
            <ac:picMk id="9" creationId="{664FC15B-7BC2-F331-20CE-778AE8670093}"/>
          </ac:picMkLst>
        </pc:picChg>
        <pc:picChg chg="del mod">
          <ac:chgData name="Judyta Kozlowska" userId="b4dee01e-1dd1-4ace-b126-5b3bd0cf451c" providerId="ADAL" clId="{73B32ADE-1590-490E-9993-BA19385B518B}" dt="2023-04-07T07:13:08.240" v="241" actId="478"/>
          <ac:picMkLst>
            <pc:docMk/>
            <pc:sldMk cId="773440969" sldId="2861"/>
            <ac:picMk id="10" creationId="{33AE2FF3-E6E3-E600-2706-0C35426C7CB1}"/>
          </ac:picMkLst>
        </pc:picChg>
      </pc:sldChg>
      <pc:sldChg chg="addSp delSp modSp mod">
        <pc:chgData name="Judyta Kozlowska" userId="b4dee01e-1dd1-4ace-b126-5b3bd0cf451c" providerId="ADAL" clId="{73B32ADE-1590-490E-9993-BA19385B518B}" dt="2023-04-11T07:50:29.763" v="1444" actId="20577"/>
        <pc:sldMkLst>
          <pc:docMk/>
          <pc:sldMk cId="1531271792" sldId="2864"/>
        </pc:sldMkLst>
        <pc:spChg chg="add del mod">
          <ac:chgData name="Judyta Kozlowska" userId="b4dee01e-1dd1-4ace-b126-5b3bd0cf451c" providerId="ADAL" clId="{73B32ADE-1590-490E-9993-BA19385B518B}" dt="2023-04-09T14:14:55.449" v="324" actId="478"/>
          <ac:spMkLst>
            <pc:docMk/>
            <pc:sldMk cId="1531271792" sldId="2864"/>
            <ac:spMk id="3" creationId="{0D9C1871-7D64-077A-9751-B8CAF4B7997D}"/>
          </ac:spMkLst>
        </pc:spChg>
        <pc:spChg chg="mod">
          <ac:chgData name="Judyta Kozlowska" userId="b4dee01e-1dd1-4ace-b126-5b3bd0cf451c" providerId="ADAL" clId="{73B32ADE-1590-490E-9993-BA19385B518B}" dt="2023-04-11T07:50:29.763" v="1444" actId="20577"/>
          <ac:spMkLst>
            <pc:docMk/>
            <pc:sldMk cId="1531271792" sldId="2864"/>
            <ac:spMk id="7" creationId="{26CB480A-83AA-4501-762B-2484F15EB6A6}"/>
          </ac:spMkLst>
        </pc:spChg>
        <pc:spChg chg="add del mod">
          <ac:chgData name="Judyta Kozlowska" userId="b4dee01e-1dd1-4ace-b126-5b3bd0cf451c" providerId="ADAL" clId="{73B32ADE-1590-490E-9993-BA19385B518B}" dt="2023-04-11T07:03:41.654" v="1278" actId="478"/>
          <ac:spMkLst>
            <pc:docMk/>
            <pc:sldMk cId="1531271792" sldId="2864"/>
            <ac:spMk id="12" creationId="{0C80CF8F-6288-442B-7034-F1017FB6D3C8}"/>
          </ac:spMkLst>
        </pc:spChg>
        <pc:picChg chg="del">
          <ac:chgData name="Judyta Kozlowska" userId="b4dee01e-1dd1-4ace-b126-5b3bd0cf451c" providerId="ADAL" clId="{73B32ADE-1590-490E-9993-BA19385B518B}" dt="2023-04-09T14:14:52.129" v="323" actId="478"/>
          <ac:picMkLst>
            <pc:docMk/>
            <pc:sldMk cId="1531271792" sldId="2864"/>
            <ac:picMk id="6" creationId="{0B72830C-97E5-497B-AED6-857EF2617646}"/>
          </ac:picMkLst>
        </pc:picChg>
        <pc:picChg chg="add del mod">
          <ac:chgData name="Judyta Kozlowska" userId="b4dee01e-1dd1-4ace-b126-5b3bd0cf451c" providerId="ADAL" clId="{73B32ADE-1590-490E-9993-BA19385B518B}" dt="2023-04-09T14:37:10.013" v="327" actId="478"/>
          <ac:picMkLst>
            <pc:docMk/>
            <pc:sldMk cId="1531271792" sldId="2864"/>
            <ac:picMk id="8" creationId="{1C0E26F5-1051-765C-D7F1-34917A3F1405}"/>
          </ac:picMkLst>
        </pc:picChg>
        <pc:picChg chg="add del mod">
          <ac:chgData name="Judyta Kozlowska" userId="b4dee01e-1dd1-4ace-b126-5b3bd0cf451c" providerId="ADAL" clId="{73B32ADE-1590-490E-9993-BA19385B518B}" dt="2023-04-11T07:03:03.527" v="1255" actId="478"/>
          <ac:picMkLst>
            <pc:docMk/>
            <pc:sldMk cId="1531271792" sldId="2864"/>
            <ac:picMk id="11" creationId="{BBCF9D05-0122-13FF-DFC8-058BCD1C3E1C}"/>
          </ac:picMkLst>
        </pc:picChg>
        <pc:picChg chg="add mod">
          <ac:chgData name="Judyta Kozlowska" userId="b4dee01e-1dd1-4ace-b126-5b3bd0cf451c" providerId="ADAL" clId="{73B32ADE-1590-490E-9993-BA19385B518B}" dt="2023-04-11T07:23:09.700" v="1283" actId="14100"/>
          <ac:picMkLst>
            <pc:docMk/>
            <pc:sldMk cId="1531271792" sldId="2864"/>
            <ac:picMk id="1026" creationId="{F020534E-24A5-CA23-7681-B26E0EEE32CD}"/>
          </ac:picMkLst>
        </pc:picChg>
      </pc:sldChg>
      <pc:sldChg chg="addSp delSp modSp mod">
        <pc:chgData name="Judyta Kozlowska" userId="b4dee01e-1dd1-4ace-b126-5b3bd0cf451c" providerId="ADAL" clId="{73B32ADE-1590-490E-9993-BA19385B518B}" dt="2023-04-07T07:13:54.328" v="259" actId="1076"/>
        <pc:sldMkLst>
          <pc:docMk/>
          <pc:sldMk cId="4281873408" sldId="2868"/>
        </pc:sldMkLst>
        <pc:spChg chg="add del mod">
          <ac:chgData name="Judyta Kozlowska" userId="b4dee01e-1dd1-4ace-b126-5b3bd0cf451c" providerId="ADAL" clId="{73B32ADE-1590-490E-9993-BA19385B518B}" dt="2023-04-07T07:13:49.663" v="257" actId="478"/>
          <ac:spMkLst>
            <pc:docMk/>
            <pc:sldMk cId="4281873408" sldId="2868"/>
            <ac:spMk id="2" creationId="{D2DA838B-D136-8963-96DD-10771B666C1D}"/>
          </ac:spMkLst>
        </pc:spChg>
        <pc:picChg chg="mod">
          <ac:chgData name="Judyta Kozlowska" userId="b4dee01e-1dd1-4ace-b126-5b3bd0cf451c" providerId="ADAL" clId="{73B32ADE-1590-490E-9993-BA19385B518B}" dt="2023-04-07T07:13:54.328" v="259" actId="1076"/>
          <ac:picMkLst>
            <pc:docMk/>
            <pc:sldMk cId="4281873408" sldId="2868"/>
            <ac:picMk id="6" creationId="{36217676-4B8B-18B5-AA3A-CC0E07986321}"/>
          </ac:picMkLst>
        </pc:picChg>
      </pc:sldChg>
      <pc:sldChg chg="addSp delSp modSp mod">
        <pc:chgData name="Judyta Kozlowska" userId="b4dee01e-1dd1-4ace-b126-5b3bd0cf451c" providerId="ADAL" clId="{73B32ADE-1590-490E-9993-BA19385B518B}" dt="2023-04-07T07:14:04.540" v="262" actId="478"/>
        <pc:sldMkLst>
          <pc:docMk/>
          <pc:sldMk cId="3716441291" sldId="2869"/>
        </pc:sldMkLst>
        <pc:spChg chg="add del mod">
          <ac:chgData name="Judyta Kozlowska" userId="b4dee01e-1dd1-4ace-b126-5b3bd0cf451c" providerId="ADAL" clId="{73B32ADE-1590-490E-9993-BA19385B518B}" dt="2023-04-07T07:14:04.540" v="262" actId="478"/>
          <ac:spMkLst>
            <pc:docMk/>
            <pc:sldMk cId="3716441291" sldId="2869"/>
            <ac:spMk id="2" creationId="{3E4A1A9F-AD2C-2C65-0E28-4D64DB9D21AC}"/>
          </ac:spMkLst>
        </pc:spChg>
        <pc:picChg chg="mod">
          <ac:chgData name="Judyta Kozlowska" userId="b4dee01e-1dd1-4ace-b126-5b3bd0cf451c" providerId="ADAL" clId="{73B32ADE-1590-490E-9993-BA19385B518B}" dt="2023-04-07T07:14:03.329" v="261" actId="1076"/>
          <ac:picMkLst>
            <pc:docMk/>
            <pc:sldMk cId="3716441291" sldId="2869"/>
            <ac:picMk id="3" creationId="{A8272F24-B00C-FE5D-5CFC-FADBF77DC453}"/>
          </ac:picMkLst>
        </pc:picChg>
      </pc:sldChg>
      <pc:sldChg chg="addSp modSp del">
        <pc:chgData name="Judyta Kozlowska" userId="b4dee01e-1dd1-4ace-b126-5b3bd0cf451c" providerId="ADAL" clId="{73B32ADE-1590-490E-9993-BA19385B518B}" dt="2023-04-09T16:32:38.926" v="774" actId="2696"/>
        <pc:sldMkLst>
          <pc:docMk/>
          <pc:sldMk cId="1608263504" sldId="2870"/>
        </pc:sldMkLst>
        <pc:spChg chg="add mod">
          <ac:chgData name="Judyta Kozlowska" userId="b4dee01e-1dd1-4ace-b126-5b3bd0cf451c" providerId="ADAL" clId="{73B32ADE-1590-490E-9993-BA19385B518B}" dt="2023-04-09T16:22:56.076" v="597"/>
          <ac:spMkLst>
            <pc:docMk/>
            <pc:sldMk cId="1608263504" sldId="2870"/>
            <ac:spMk id="2" creationId="{33D38B9A-9A69-0A56-04F7-1470E1B20B02}"/>
          </ac:spMkLst>
        </pc:spChg>
      </pc:sldChg>
      <pc:sldChg chg="addSp delSp modSp mod">
        <pc:chgData name="Judyta Kozlowska" userId="b4dee01e-1dd1-4ace-b126-5b3bd0cf451c" providerId="ADAL" clId="{73B32ADE-1590-490E-9993-BA19385B518B}" dt="2023-04-09T16:38:38.129" v="798" actId="1076"/>
        <pc:sldMkLst>
          <pc:docMk/>
          <pc:sldMk cId="977520493" sldId="2871"/>
        </pc:sldMkLst>
        <pc:spChg chg="add del mod">
          <ac:chgData name="Judyta Kozlowska" userId="b4dee01e-1dd1-4ace-b126-5b3bd0cf451c" providerId="ADAL" clId="{73B32ADE-1590-490E-9993-BA19385B518B}" dt="2023-04-09T16:31:29.226" v="768" actId="478"/>
          <ac:spMkLst>
            <pc:docMk/>
            <pc:sldMk cId="977520493" sldId="2871"/>
            <ac:spMk id="2" creationId="{21A20D3C-0079-908E-A43B-72BD67A5CABF}"/>
          </ac:spMkLst>
        </pc:spChg>
        <pc:spChg chg="mod">
          <ac:chgData name="Judyta Kozlowska" userId="b4dee01e-1dd1-4ace-b126-5b3bd0cf451c" providerId="ADAL" clId="{73B32ADE-1590-490E-9993-BA19385B518B}" dt="2023-04-09T16:31:32.272" v="773" actId="20577"/>
          <ac:spMkLst>
            <pc:docMk/>
            <pc:sldMk cId="977520493" sldId="2871"/>
            <ac:spMk id="5" creationId="{46038FB7-675A-432D-0796-C0AF3BBB48A7}"/>
          </ac:spMkLst>
        </pc:spChg>
        <pc:spChg chg="mod">
          <ac:chgData name="Judyta Kozlowska" userId="b4dee01e-1dd1-4ace-b126-5b3bd0cf451c" providerId="ADAL" clId="{73B32ADE-1590-490E-9993-BA19385B518B}" dt="2023-04-09T16:38:38.129" v="798" actId="1076"/>
          <ac:spMkLst>
            <pc:docMk/>
            <pc:sldMk cId="977520493" sldId="2871"/>
            <ac:spMk id="6" creationId="{A970C547-B9F9-37A5-36DC-CF45A3FE60CE}"/>
          </ac:spMkLst>
        </pc:spChg>
        <pc:spChg chg="mod">
          <ac:chgData name="Judyta Kozlowska" userId="b4dee01e-1dd1-4ace-b126-5b3bd0cf451c" providerId="ADAL" clId="{73B32ADE-1590-490E-9993-BA19385B518B}" dt="2023-04-09T16:35:52.886" v="793" actId="20577"/>
          <ac:spMkLst>
            <pc:docMk/>
            <pc:sldMk cId="977520493" sldId="2871"/>
            <ac:spMk id="7" creationId="{A69089E7-81EC-E1CE-6266-605ABBE74300}"/>
          </ac:spMkLst>
        </pc:spChg>
        <pc:picChg chg="del">
          <ac:chgData name="Judyta Kozlowska" userId="b4dee01e-1dd1-4ace-b126-5b3bd0cf451c" providerId="ADAL" clId="{73B32ADE-1590-490E-9993-BA19385B518B}" dt="2023-04-09T16:35:49.804" v="791" actId="478"/>
          <ac:picMkLst>
            <pc:docMk/>
            <pc:sldMk cId="977520493" sldId="2871"/>
            <ac:picMk id="8" creationId="{AB2EAA07-3504-7894-086A-14940D5BEA57}"/>
          </ac:picMkLst>
        </pc:picChg>
        <pc:picChg chg="add mod">
          <ac:chgData name="Judyta Kozlowska" userId="b4dee01e-1dd1-4ace-b126-5b3bd0cf451c" providerId="ADAL" clId="{73B32ADE-1590-490E-9993-BA19385B518B}" dt="2023-04-09T16:38:37.716" v="797" actId="14100"/>
          <ac:picMkLst>
            <pc:docMk/>
            <pc:sldMk cId="977520493" sldId="2871"/>
            <ac:picMk id="10" creationId="{8D5780AD-89B5-4490-5673-0B330AC206AA}"/>
          </ac:picMkLst>
        </pc:picChg>
      </pc:sldChg>
      <pc:sldChg chg="addSp delSp modSp mod">
        <pc:chgData name="Judyta Kozlowska" userId="b4dee01e-1dd1-4ace-b126-5b3bd0cf451c" providerId="ADAL" clId="{73B32ADE-1590-490E-9993-BA19385B518B}" dt="2023-04-09T16:21:46.459" v="587" actId="478"/>
        <pc:sldMkLst>
          <pc:docMk/>
          <pc:sldMk cId="4104552231" sldId="2872"/>
        </pc:sldMkLst>
        <pc:spChg chg="add del mod">
          <ac:chgData name="Judyta Kozlowska" userId="b4dee01e-1dd1-4ace-b126-5b3bd0cf451c" providerId="ADAL" clId="{73B32ADE-1590-490E-9993-BA19385B518B}" dt="2023-04-09T16:21:46.459" v="587" actId="478"/>
          <ac:spMkLst>
            <pc:docMk/>
            <pc:sldMk cId="4104552231" sldId="2872"/>
            <ac:spMk id="2" creationId="{439B8232-A752-DBED-C9BC-65F7B3020AFF}"/>
          </ac:spMkLst>
        </pc:spChg>
        <pc:picChg chg="del">
          <ac:chgData name="Judyta Kozlowska" userId="b4dee01e-1dd1-4ace-b126-5b3bd0cf451c" providerId="ADAL" clId="{73B32ADE-1590-490E-9993-BA19385B518B}" dt="2023-04-09T16:21:38.218" v="583" actId="478"/>
          <ac:picMkLst>
            <pc:docMk/>
            <pc:sldMk cId="4104552231" sldId="2872"/>
            <ac:picMk id="3" creationId="{595C103A-B48D-66F0-5FB7-E44C72B519CB}"/>
          </ac:picMkLst>
        </pc:picChg>
        <pc:picChg chg="add mod">
          <ac:chgData name="Judyta Kozlowska" userId="b4dee01e-1dd1-4ace-b126-5b3bd0cf451c" providerId="ADAL" clId="{73B32ADE-1590-490E-9993-BA19385B518B}" dt="2023-04-09T16:21:43.806" v="586" actId="1076"/>
          <ac:picMkLst>
            <pc:docMk/>
            <pc:sldMk cId="4104552231" sldId="2872"/>
            <ac:picMk id="8" creationId="{3A0183F4-1440-8CB6-AA9E-A3B10129EF80}"/>
          </ac:picMkLst>
        </pc:picChg>
      </pc:sldChg>
      <pc:sldChg chg="addSp delSp modSp mod">
        <pc:chgData name="Judyta Kozlowska" userId="b4dee01e-1dd1-4ace-b126-5b3bd0cf451c" providerId="ADAL" clId="{73B32ADE-1590-490E-9993-BA19385B518B}" dt="2023-04-09T16:30:40.725" v="760" actId="20577"/>
        <pc:sldMkLst>
          <pc:docMk/>
          <pc:sldMk cId="4087466394" sldId="2873"/>
        </pc:sldMkLst>
        <pc:spChg chg="add del mod">
          <ac:chgData name="Judyta Kozlowska" userId="b4dee01e-1dd1-4ace-b126-5b3bd0cf451c" providerId="ADAL" clId="{73B32ADE-1590-490E-9993-BA19385B518B}" dt="2023-04-09T16:23:02.869" v="598" actId="478"/>
          <ac:spMkLst>
            <pc:docMk/>
            <pc:sldMk cId="4087466394" sldId="2873"/>
            <ac:spMk id="2" creationId="{B1245BA3-038A-4E8C-DCB5-C576FF7FDD5E}"/>
          </ac:spMkLst>
        </pc:spChg>
        <pc:spChg chg="mod">
          <ac:chgData name="Judyta Kozlowska" userId="b4dee01e-1dd1-4ace-b126-5b3bd0cf451c" providerId="ADAL" clId="{73B32ADE-1590-490E-9993-BA19385B518B}" dt="2023-04-09T16:30:40.725" v="760" actId="20577"/>
          <ac:spMkLst>
            <pc:docMk/>
            <pc:sldMk cId="4087466394" sldId="2873"/>
            <ac:spMk id="5" creationId="{46038FB7-675A-432D-0796-C0AF3BBB48A7}"/>
          </ac:spMkLst>
        </pc:spChg>
        <pc:spChg chg="mod">
          <ac:chgData name="Judyta Kozlowska" userId="b4dee01e-1dd1-4ace-b126-5b3bd0cf451c" providerId="ADAL" clId="{73B32ADE-1590-490E-9993-BA19385B518B}" dt="2023-04-09T16:30:26.816" v="755" actId="255"/>
          <ac:spMkLst>
            <pc:docMk/>
            <pc:sldMk cId="4087466394" sldId="2873"/>
            <ac:spMk id="6" creationId="{A970C547-B9F9-37A5-36DC-CF45A3FE60CE}"/>
          </ac:spMkLst>
        </pc:spChg>
        <pc:spChg chg="add del mod">
          <ac:chgData name="Judyta Kozlowska" userId="b4dee01e-1dd1-4ace-b126-5b3bd0cf451c" providerId="ADAL" clId="{73B32ADE-1590-490E-9993-BA19385B518B}" dt="2023-04-09T16:27:43.142" v="604"/>
          <ac:spMkLst>
            <pc:docMk/>
            <pc:sldMk cId="4087466394" sldId="2873"/>
            <ac:spMk id="9" creationId="{ABE39BB1-2F8F-0F05-0303-556F947C4FC6}"/>
          </ac:spMkLst>
        </pc:spChg>
        <pc:picChg chg="del">
          <ac:chgData name="Judyta Kozlowska" userId="b4dee01e-1dd1-4ace-b126-5b3bd0cf451c" providerId="ADAL" clId="{73B32ADE-1590-490E-9993-BA19385B518B}" dt="2023-04-09T16:23:15.004" v="599" actId="478"/>
          <ac:picMkLst>
            <pc:docMk/>
            <pc:sldMk cId="4087466394" sldId="2873"/>
            <ac:picMk id="3" creationId="{90497184-90F3-3361-B271-F87A77A9F4FC}"/>
          </ac:picMkLst>
        </pc:picChg>
        <pc:picChg chg="add mod">
          <ac:chgData name="Judyta Kozlowska" userId="b4dee01e-1dd1-4ace-b126-5b3bd0cf451c" providerId="ADAL" clId="{73B32ADE-1590-490E-9993-BA19385B518B}" dt="2023-04-09T16:30:29.957" v="756" actId="1076"/>
          <ac:picMkLst>
            <pc:docMk/>
            <pc:sldMk cId="4087466394" sldId="2873"/>
            <ac:picMk id="8" creationId="{F238B691-7489-4505-CE53-1771AF384D50}"/>
          </ac:picMkLst>
        </pc:picChg>
      </pc:sldChg>
      <pc:sldChg chg="addSp modSp mod">
        <pc:chgData name="Judyta Kozlowska" userId="b4dee01e-1dd1-4ace-b126-5b3bd0cf451c" providerId="ADAL" clId="{73B32ADE-1590-490E-9993-BA19385B518B}" dt="2023-04-07T06:48:22.552" v="162" actId="20577"/>
        <pc:sldMkLst>
          <pc:docMk/>
          <pc:sldMk cId="895411874" sldId="2877"/>
        </pc:sldMkLst>
        <pc:spChg chg="add mod">
          <ac:chgData name="Judyta Kozlowska" userId="b4dee01e-1dd1-4ace-b126-5b3bd0cf451c" providerId="ADAL" clId="{73B32ADE-1590-490E-9993-BA19385B518B}" dt="2023-04-07T06:48:22.552" v="162" actId="20577"/>
          <ac:spMkLst>
            <pc:docMk/>
            <pc:sldMk cId="895411874" sldId="2877"/>
            <ac:spMk id="2" creationId="{BDBA8CC2-D23B-4D03-8FBE-8D9213EEAC9C}"/>
          </ac:spMkLst>
        </pc:spChg>
      </pc:sldChg>
      <pc:sldChg chg="modSp mod">
        <pc:chgData name="Judyta Kozlowska" userId="b4dee01e-1dd1-4ace-b126-5b3bd0cf451c" providerId="ADAL" clId="{73B32ADE-1590-490E-9993-BA19385B518B}" dt="2023-04-07T06:43:49.924" v="62" actId="6549"/>
        <pc:sldMkLst>
          <pc:docMk/>
          <pc:sldMk cId="2561586527" sldId="2880"/>
        </pc:sldMkLst>
        <pc:spChg chg="mod">
          <ac:chgData name="Judyta Kozlowska" userId="b4dee01e-1dd1-4ace-b126-5b3bd0cf451c" providerId="ADAL" clId="{73B32ADE-1590-490E-9993-BA19385B518B}" dt="2023-04-07T06:43:49.924" v="62" actId="6549"/>
          <ac:spMkLst>
            <pc:docMk/>
            <pc:sldMk cId="2561586527" sldId="2880"/>
            <ac:spMk id="6" creationId="{B3953017-58C0-4B73-BD7C-6A3501B81345}"/>
          </ac:spMkLst>
        </pc:spChg>
      </pc:sldChg>
      <pc:sldChg chg="addSp delSp modSp mod">
        <pc:chgData name="Judyta Kozlowska" userId="b4dee01e-1dd1-4ace-b126-5b3bd0cf451c" providerId="ADAL" clId="{73B32ADE-1590-490E-9993-BA19385B518B}" dt="2023-04-09T16:13:40.106" v="567" actId="1076"/>
        <pc:sldMkLst>
          <pc:docMk/>
          <pc:sldMk cId="2835097437" sldId="2890"/>
        </pc:sldMkLst>
        <pc:spChg chg="add del mod">
          <ac:chgData name="Judyta Kozlowska" userId="b4dee01e-1dd1-4ace-b126-5b3bd0cf451c" providerId="ADAL" clId="{73B32ADE-1590-490E-9993-BA19385B518B}" dt="2023-04-09T16:03:22.902" v="563" actId="478"/>
          <ac:spMkLst>
            <pc:docMk/>
            <pc:sldMk cId="2835097437" sldId="2890"/>
            <ac:spMk id="2" creationId="{16644869-F49B-158B-BEA7-4F824068409E}"/>
          </ac:spMkLst>
        </pc:spChg>
        <pc:spChg chg="mod">
          <ac:chgData name="Judyta Kozlowska" userId="b4dee01e-1dd1-4ace-b126-5b3bd0cf451c" providerId="ADAL" clId="{73B32ADE-1590-490E-9993-BA19385B518B}" dt="2023-04-09T16:03:19.516" v="562" actId="20577"/>
          <ac:spMkLst>
            <pc:docMk/>
            <pc:sldMk cId="2835097437" sldId="2890"/>
            <ac:spMk id="5" creationId="{8F34C24A-4DB1-BAA6-C705-069CFA2CBD19}"/>
          </ac:spMkLst>
        </pc:spChg>
        <pc:picChg chg="del">
          <ac:chgData name="Judyta Kozlowska" userId="b4dee01e-1dd1-4ace-b126-5b3bd0cf451c" providerId="ADAL" clId="{73B32ADE-1590-490E-9993-BA19385B518B}" dt="2023-04-09T16:03:04.996" v="537" actId="478"/>
          <ac:picMkLst>
            <pc:docMk/>
            <pc:sldMk cId="2835097437" sldId="2890"/>
            <ac:picMk id="6" creationId="{BFBC01D3-E0F8-0E0C-3B79-0FD7003EEED0}"/>
          </ac:picMkLst>
        </pc:picChg>
        <pc:picChg chg="add mod">
          <ac:chgData name="Judyta Kozlowska" userId="b4dee01e-1dd1-4ace-b126-5b3bd0cf451c" providerId="ADAL" clId="{73B32ADE-1590-490E-9993-BA19385B518B}" dt="2023-04-09T16:13:40.106" v="567" actId="1076"/>
          <ac:picMkLst>
            <pc:docMk/>
            <pc:sldMk cId="2835097437" sldId="2890"/>
            <ac:picMk id="7" creationId="{298C3DF9-F050-0E76-F930-38ECBE1D3CA1}"/>
          </ac:picMkLst>
        </pc:picChg>
      </pc:sldChg>
      <pc:sldChg chg="addSp delSp modSp mod">
        <pc:chgData name="Judyta Kozlowska" userId="b4dee01e-1dd1-4ace-b126-5b3bd0cf451c" providerId="ADAL" clId="{73B32ADE-1590-490E-9993-BA19385B518B}" dt="2023-04-09T16:22:46.241" v="596" actId="1076"/>
        <pc:sldMkLst>
          <pc:docMk/>
          <pc:sldMk cId="1303653633" sldId="2896"/>
        </pc:sldMkLst>
        <pc:spChg chg="add del mod">
          <ac:chgData name="Judyta Kozlowska" userId="b4dee01e-1dd1-4ace-b126-5b3bd0cf451c" providerId="ADAL" clId="{73B32ADE-1590-490E-9993-BA19385B518B}" dt="2023-04-09T16:22:04.011" v="589" actId="478"/>
          <ac:spMkLst>
            <pc:docMk/>
            <pc:sldMk cId="1303653633" sldId="2896"/>
            <ac:spMk id="2" creationId="{E203DFE8-96D1-DC17-A459-8329090C8778}"/>
          </ac:spMkLst>
        </pc:spChg>
        <pc:picChg chg="del">
          <ac:chgData name="Judyta Kozlowska" userId="b4dee01e-1dd1-4ace-b126-5b3bd0cf451c" providerId="ADAL" clId="{73B32ADE-1590-490E-9993-BA19385B518B}" dt="2023-04-09T16:22:10.989" v="591" actId="478"/>
          <ac:picMkLst>
            <pc:docMk/>
            <pc:sldMk cId="1303653633" sldId="2896"/>
            <ac:picMk id="3" creationId="{383CBC12-2E10-D31B-597C-B9D6C67A6C2F}"/>
          </ac:picMkLst>
        </pc:picChg>
        <pc:picChg chg="add mod">
          <ac:chgData name="Judyta Kozlowska" userId="b4dee01e-1dd1-4ace-b126-5b3bd0cf451c" providerId="ADAL" clId="{73B32ADE-1590-490E-9993-BA19385B518B}" dt="2023-04-09T16:22:46.241" v="596" actId="1076"/>
          <ac:picMkLst>
            <pc:docMk/>
            <pc:sldMk cId="1303653633" sldId="2896"/>
            <ac:picMk id="8" creationId="{D37BA4D5-D534-ACB8-3BD0-677A36A75768}"/>
          </ac:picMkLst>
        </pc:picChg>
      </pc:sldChg>
      <pc:sldChg chg="addSp delSp modSp mod">
        <pc:chgData name="Judyta Kozlowska" userId="b4dee01e-1dd1-4ace-b126-5b3bd0cf451c" providerId="ADAL" clId="{73B32ADE-1590-490E-9993-BA19385B518B}" dt="2023-04-09T16:52:39.629" v="851" actId="1076"/>
        <pc:sldMkLst>
          <pc:docMk/>
          <pc:sldMk cId="1501911350" sldId="2898"/>
        </pc:sldMkLst>
        <pc:spChg chg="add del mod">
          <ac:chgData name="Judyta Kozlowska" userId="b4dee01e-1dd1-4ace-b126-5b3bd0cf451c" providerId="ADAL" clId="{73B32ADE-1590-490E-9993-BA19385B518B}" dt="2023-04-07T07:34:23.291" v="272" actId="478"/>
          <ac:spMkLst>
            <pc:docMk/>
            <pc:sldMk cId="1501911350" sldId="2898"/>
            <ac:spMk id="2" creationId="{FFD4EFED-6B16-2621-D373-299B6BC2D54C}"/>
          </ac:spMkLst>
        </pc:spChg>
        <pc:spChg chg="mod">
          <ac:chgData name="Judyta Kozlowska" userId="b4dee01e-1dd1-4ace-b126-5b3bd0cf451c" providerId="ADAL" clId="{73B32ADE-1590-490E-9993-BA19385B518B}" dt="2023-04-07T07:34:34.115" v="290" actId="20577"/>
          <ac:spMkLst>
            <pc:docMk/>
            <pc:sldMk cId="1501911350" sldId="2898"/>
            <ac:spMk id="8" creationId="{2639CBB1-9DEB-9FCD-E0C1-595C61F5FB4C}"/>
          </ac:spMkLst>
        </pc:spChg>
        <pc:picChg chg="add mod">
          <ac:chgData name="Judyta Kozlowska" userId="b4dee01e-1dd1-4ace-b126-5b3bd0cf451c" providerId="ADAL" clId="{73B32ADE-1590-490E-9993-BA19385B518B}" dt="2023-04-09T16:52:39.629" v="851" actId="1076"/>
          <ac:picMkLst>
            <pc:docMk/>
            <pc:sldMk cId="1501911350" sldId="2898"/>
            <ac:picMk id="5" creationId="{12C89FF5-EEAB-ED58-269B-1092BED7EB7E}"/>
          </ac:picMkLst>
        </pc:picChg>
        <pc:picChg chg="del">
          <ac:chgData name="Judyta Kozlowska" userId="b4dee01e-1dd1-4ace-b126-5b3bd0cf451c" providerId="ADAL" clId="{73B32ADE-1590-490E-9993-BA19385B518B}" dt="2023-04-07T06:47:22.482" v="135" actId="478"/>
          <ac:picMkLst>
            <pc:docMk/>
            <pc:sldMk cId="1501911350" sldId="2898"/>
            <ac:picMk id="2050" creationId="{0E47CC4E-01A4-71FC-64E5-206A5B1FB5F5}"/>
          </ac:picMkLst>
        </pc:picChg>
      </pc:sldChg>
      <pc:sldChg chg="addSp delSp modSp mod">
        <pc:chgData name="Judyta Kozlowska" userId="b4dee01e-1dd1-4ace-b126-5b3bd0cf451c" providerId="ADAL" clId="{73B32ADE-1590-490E-9993-BA19385B518B}" dt="2023-04-07T07:13:44.967" v="256" actId="478"/>
        <pc:sldMkLst>
          <pc:docMk/>
          <pc:sldMk cId="3200011237" sldId="2900"/>
        </pc:sldMkLst>
        <pc:spChg chg="add del mod">
          <ac:chgData name="Judyta Kozlowska" userId="b4dee01e-1dd1-4ace-b126-5b3bd0cf451c" providerId="ADAL" clId="{73B32ADE-1590-490E-9993-BA19385B518B}" dt="2023-04-07T07:13:44.967" v="256" actId="478"/>
          <ac:spMkLst>
            <pc:docMk/>
            <pc:sldMk cId="3200011237" sldId="2900"/>
            <ac:spMk id="3" creationId="{D552C90B-A9B1-B68F-793C-C63F22A8F2F0}"/>
          </ac:spMkLst>
        </pc:spChg>
        <pc:picChg chg="mod">
          <ac:chgData name="Judyta Kozlowska" userId="b4dee01e-1dd1-4ace-b126-5b3bd0cf451c" providerId="ADAL" clId="{73B32ADE-1590-490E-9993-BA19385B518B}" dt="2023-04-07T07:13:43.114" v="254" actId="1076"/>
          <ac:picMkLst>
            <pc:docMk/>
            <pc:sldMk cId="3200011237" sldId="2900"/>
            <ac:picMk id="6" creationId="{1CC3CCA3-AE69-AE88-698D-6FA8C404A609}"/>
          </ac:picMkLst>
        </pc:picChg>
      </pc:sldChg>
      <pc:sldChg chg="addSp delSp modSp mod">
        <pc:chgData name="Judyta Kozlowska" userId="b4dee01e-1dd1-4ace-b126-5b3bd0cf451c" providerId="ADAL" clId="{73B32ADE-1590-490E-9993-BA19385B518B}" dt="2023-04-09T17:01:27.323" v="888" actId="1076"/>
        <pc:sldMkLst>
          <pc:docMk/>
          <pc:sldMk cId="1994188391" sldId="2901"/>
        </pc:sldMkLst>
        <pc:spChg chg="mod">
          <ac:chgData name="Judyta Kozlowska" userId="b4dee01e-1dd1-4ace-b126-5b3bd0cf451c" providerId="ADAL" clId="{73B32ADE-1590-490E-9993-BA19385B518B}" dt="2023-04-09T16:52:26.077" v="850" actId="20577"/>
          <ac:spMkLst>
            <pc:docMk/>
            <pc:sldMk cId="1994188391" sldId="2901"/>
            <ac:spMk id="2" creationId="{8EEDAC2E-F15E-B79F-9619-C10F38F0CAD7}"/>
          </ac:spMkLst>
        </pc:spChg>
        <pc:spChg chg="add del mod">
          <ac:chgData name="Judyta Kozlowska" userId="b4dee01e-1dd1-4ace-b126-5b3bd0cf451c" providerId="ADAL" clId="{73B32ADE-1590-490E-9993-BA19385B518B}" dt="2023-04-09T16:47:55.012" v="837" actId="478"/>
          <ac:spMkLst>
            <pc:docMk/>
            <pc:sldMk cId="1994188391" sldId="2901"/>
            <ac:spMk id="3" creationId="{78B7DA2D-BFC5-1FE7-CEE8-A64FA37786C1}"/>
          </ac:spMkLst>
        </pc:spChg>
        <pc:spChg chg="mod">
          <ac:chgData name="Judyta Kozlowska" userId="b4dee01e-1dd1-4ace-b126-5b3bd0cf451c" providerId="ADAL" clId="{73B32ADE-1590-490E-9993-BA19385B518B}" dt="2023-04-09T17:01:27.323" v="888" actId="1076"/>
          <ac:spMkLst>
            <pc:docMk/>
            <pc:sldMk cId="1994188391" sldId="2901"/>
            <ac:spMk id="6" creationId="{E894BCB5-7F98-1252-07B2-779CBBA414BB}"/>
          </ac:spMkLst>
        </pc:spChg>
        <pc:picChg chg="del">
          <ac:chgData name="Judyta Kozlowska" userId="b4dee01e-1dd1-4ace-b126-5b3bd0cf451c" providerId="ADAL" clId="{73B32ADE-1590-490E-9993-BA19385B518B}" dt="2023-04-09T17:00:28.975" v="873" actId="478"/>
          <ac:picMkLst>
            <pc:docMk/>
            <pc:sldMk cId="1994188391" sldId="2901"/>
            <ac:picMk id="7" creationId="{0309C76B-1E78-0AFC-733E-777B6C89D1E4}"/>
          </ac:picMkLst>
        </pc:picChg>
        <pc:picChg chg="add del mod">
          <ac:chgData name="Judyta Kozlowska" userId="b4dee01e-1dd1-4ace-b126-5b3bd0cf451c" providerId="ADAL" clId="{73B32ADE-1590-490E-9993-BA19385B518B}" dt="2023-04-09T17:00:53.423" v="878" actId="478"/>
          <ac:picMkLst>
            <pc:docMk/>
            <pc:sldMk cId="1994188391" sldId="2901"/>
            <ac:picMk id="8" creationId="{2D4AD7C8-18AA-A78A-E6B0-6FBDD08EBC10}"/>
          </ac:picMkLst>
        </pc:picChg>
        <pc:picChg chg="add mod">
          <ac:chgData name="Judyta Kozlowska" userId="b4dee01e-1dd1-4ace-b126-5b3bd0cf451c" providerId="ADAL" clId="{73B32ADE-1590-490E-9993-BA19385B518B}" dt="2023-04-09T17:01:24.064" v="887" actId="1076"/>
          <ac:picMkLst>
            <pc:docMk/>
            <pc:sldMk cId="1994188391" sldId="2901"/>
            <ac:picMk id="10" creationId="{549678DC-67D3-647D-1FCB-9AA4870B77E9}"/>
          </ac:picMkLst>
        </pc:picChg>
      </pc:sldChg>
      <pc:sldChg chg="del">
        <pc:chgData name="Judyta Kozlowska" userId="b4dee01e-1dd1-4ace-b126-5b3bd0cf451c" providerId="ADAL" clId="{73B32ADE-1590-490E-9993-BA19385B518B}" dt="2023-04-07T06:48:13.135" v="149" actId="2696"/>
        <pc:sldMkLst>
          <pc:docMk/>
          <pc:sldMk cId="304985107" sldId="2903"/>
        </pc:sldMkLst>
      </pc:sldChg>
      <pc:sldChg chg="modSp del mod">
        <pc:chgData name="Judyta Kozlowska" userId="b4dee01e-1dd1-4ace-b126-5b3bd0cf451c" providerId="ADAL" clId="{73B32ADE-1590-490E-9993-BA19385B518B}" dt="2023-04-07T06:49:11.362" v="213" actId="2696"/>
        <pc:sldMkLst>
          <pc:docMk/>
          <pc:sldMk cId="2754080841" sldId="2905"/>
        </pc:sldMkLst>
        <pc:spChg chg="mod">
          <ac:chgData name="Judyta Kozlowska" userId="b4dee01e-1dd1-4ace-b126-5b3bd0cf451c" providerId="ADAL" clId="{73B32ADE-1590-490E-9993-BA19385B518B}" dt="2023-04-07T06:49:00.716" v="198" actId="5793"/>
          <ac:spMkLst>
            <pc:docMk/>
            <pc:sldMk cId="2754080841" sldId="2905"/>
            <ac:spMk id="2" creationId="{2609E707-9A6B-FB02-7DD2-569966258B01}"/>
          </ac:spMkLst>
        </pc:spChg>
        <pc:spChg chg="mod">
          <ac:chgData name="Judyta Kozlowska" userId="b4dee01e-1dd1-4ace-b126-5b3bd0cf451c" providerId="ADAL" clId="{73B32ADE-1590-490E-9993-BA19385B518B}" dt="2023-04-07T06:49:07.032" v="212" actId="20577"/>
          <ac:spMkLst>
            <pc:docMk/>
            <pc:sldMk cId="2754080841" sldId="2905"/>
            <ac:spMk id="5" creationId="{8F34C24A-4DB1-BAA6-C705-069CFA2CBD19}"/>
          </ac:spMkLst>
        </pc:spChg>
      </pc:sldChg>
      <pc:sldChg chg="addSp modSp del">
        <pc:chgData name="Judyta Kozlowska" userId="b4dee01e-1dd1-4ace-b126-5b3bd0cf451c" providerId="ADAL" clId="{73B32ADE-1590-490E-9993-BA19385B518B}" dt="2023-04-09T16:21:56.999" v="588" actId="2696"/>
        <pc:sldMkLst>
          <pc:docMk/>
          <pc:sldMk cId="1046086577" sldId="4085"/>
        </pc:sldMkLst>
        <pc:spChg chg="add mod">
          <ac:chgData name="Judyta Kozlowska" userId="b4dee01e-1dd1-4ace-b126-5b3bd0cf451c" providerId="ADAL" clId="{73B32ADE-1590-490E-9993-BA19385B518B}" dt="2023-04-07T06:45:26.911" v="85"/>
          <ac:spMkLst>
            <pc:docMk/>
            <pc:sldMk cId="1046086577" sldId="4085"/>
            <ac:spMk id="2" creationId="{241F1AAD-A6D5-077B-54BC-674AF0079BB6}"/>
          </ac:spMkLst>
        </pc:spChg>
      </pc:sldChg>
      <pc:sldChg chg="del">
        <pc:chgData name="Judyta Kozlowska" userId="b4dee01e-1dd1-4ace-b126-5b3bd0cf451c" providerId="ADAL" clId="{73B32ADE-1590-490E-9993-BA19385B518B}" dt="2023-04-09T16:22:06.928" v="590" actId="2696"/>
        <pc:sldMkLst>
          <pc:docMk/>
          <pc:sldMk cId="2480918371" sldId="4086"/>
        </pc:sldMkLst>
      </pc:sldChg>
      <pc:sldChg chg="addSp delSp modSp mod">
        <pc:chgData name="Judyta Kozlowska" userId="b4dee01e-1dd1-4ace-b126-5b3bd0cf451c" providerId="ADAL" clId="{73B32ADE-1590-490E-9993-BA19385B518B}" dt="2023-04-11T07:28:12.318" v="1440" actId="14100"/>
        <pc:sldMkLst>
          <pc:docMk/>
          <pc:sldMk cId="1464430320" sldId="4087"/>
        </pc:sldMkLst>
        <pc:spChg chg="mod">
          <ac:chgData name="Judyta Kozlowska" userId="b4dee01e-1dd1-4ace-b126-5b3bd0cf451c" providerId="ADAL" clId="{73B32ADE-1590-490E-9993-BA19385B518B}" dt="2023-04-11T07:28:12.318" v="1440" actId="14100"/>
          <ac:spMkLst>
            <pc:docMk/>
            <pc:sldMk cId="1464430320" sldId="4087"/>
            <ac:spMk id="2" creationId="{FCB2BE31-96F6-E7E8-A043-2B3908624B8A}"/>
          </ac:spMkLst>
        </pc:spChg>
        <pc:spChg chg="add del mod">
          <ac:chgData name="Judyta Kozlowska" userId="b4dee01e-1dd1-4ace-b126-5b3bd0cf451c" providerId="ADAL" clId="{73B32ADE-1590-490E-9993-BA19385B518B}" dt="2023-04-09T16:02:44.703" v="536" actId="478"/>
          <ac:spMkLst>
            <pc:docMk/>
            <pc:sldMk cId="1464430320" sldId="4087"/>
            <ac:spMk id="3" creationId="{53AF9B15-2884-CEE9-88D1-93D9D8107F28}"/>
          </ac:spMkLst>
        </pc:spChg>
        <pc:picChg chg="add mod">
          <ac:chgData name="Judyta Kozlowska" userId="b4dee01e-1dd1-4ace-b126-5b3bd0cf451c" providerId="ADAL" clId="{73B32ADE-1590-490E-9993-BA19385B518B}" dt="2023-04-11T07:27:47.821" v="1429" actId="1076"/>
          <ac:picMkLst>
            <pc:docMk/>
            <pc:sldMk cId="1464430320" sldId="4087"/>
            <ac:picMk id="5" creationId="{13CE515C-6B64-139F-C4AB-732593929AC7}"/>
          </ac:picMkLst>
        </pc:picChg>
        <pc:picChg chg="del">
          <ac:chgData name="Judyta Kozlowska" userId="b4dee01e-1dd1-4ace-b126-5b3bd0cf451c" providerId="ADAL" clId="{73B32ADE-1590-490E-9993-BA19385B518B}" dt="2023-04-09T16:02:29.641" v="530" actId="478"/>
          <ac:picMkLst>
            <pc:docMk/>
            <pc:sldMk cId="1464430320" sldId="4087"/>
            <ac:picMk id="5" creationId="{C8D0A02A-F420-097A-A718-6895104B15FB}"/>
          </ac:picMkLst>
        </pc:picChg>
        <pc:picChg chg="add del mod">
          <ac:chgData name="Judyta Kozlowska" userId="b4dee01e-1dd1-4ace-b126-5b3bd0cf451c" providerId="ADAL" clId="{73B32ADE-1590-490E-9993-BA19385B518B}" dt="2023-04-11T07:18:15.956" v="1279" actId="478"/>
          <ac:picMkLst>
            <pc:docMk/>
            <pc:sldMk cId="1464430320" sldId="4087"/>
            <ac:picMk id="7" creationId="{FBCE51EB-0D7C-A5D8-43E9-F9D39B82F5AE}"/>
          </ac:picMkLst>
        </pc:picChg>
      </pc:sldChg>
      <pc:sldChg chg="addSp delSp modSp mod">
        <pc:chgData name="Judyta Kozlowska" userId="b4dee01e-1dd1-4ace-b126-5b3bd0cf451c" providerId="ADAL" clId="{73B32ADE-1590-490E-9993-BA19385B518B}" dt="2023-04-09T16:47:30.656" v="834" actId="1076"/>
        <pc:sldMkLst>
          <pc:docMk/>
          <pc:sldMk cId="941718428" sldId="4088"/>
        </pc:sldMkLst>
        <pc:spChg chg="mod">
          <ac:chgData name="Judyta Kozlowska" userId="b4dee01e-1dd1-4ace-b126-5b3bd0cf451c" providerId="ADAL" clId="{73B32ADE-1590-490E-9993-BA19385B518B}" dt="2023-04-09T16:44:25.306" v="830" actId="20577"/>
          <ac:spMkLst>
            <pc:docMk/>
            <pc:sldMk cId="941718428" sldId="4088"/>
            <ac:spMk id="2" creationId="{CF04DB44-42D0-7DDA-052D-69EE10190E3D}"/>
          </ac:spMkLst>
        </pc:spChg>
        <pc:spChg chg="add del mod">
          <ac:chgData name="Judyta Kozlowska" userId="b4dee01e-1dd1-4ace-b126-5b3bd0cf451c" providerId="ADAL" clId="{73B32ADE-1590-490E-9993-BA19385B518B}" dt="2023-04-09T16:44:21.806" v="828" actId="478"/>
          <ac:spMkLst>
            <pc:docMk/>
            <pc:sldMk cId="941718428" sldId="4088"/>
            <ac:spMk id="3" creationId="{0F2DF5E5-681C-E3D5-76B4-C44F1122765F}"/>
          </ac:spMkLst>
        </pc:spChg>
        <pc:picChg chg="del">
          <ac:chgData name="Judyta Kozlowska" userId="b4dee01e-1dd1-4ace-b126-5b3bd0cf451c" providerId="ADAL" clId="{73B32ADE-1590-490E-9993-BA19385B518B}" dt="2023-04-09T16:47:24.530" v="832" actId="478"/>
          <ac:picMkLst>
            <pc:docMk/>
            <pc:sldMk cId="941718428" sldId="4088"/>
            <ac:picMk id="5" creationId="{147C03CA-469F-B19E-300F-D7CD75E9B00B}"/>
          </ac:picMkLst>
        </pc:picChg>
        <pc:picChg chg="add mod">
          <ac:chgData name="Judyta Kozlowska" userId="b4dee01e-1dd1-4ace-b126-5b3bd0cf451c" providerId="ADAL" clId="{73B32ADE-1590-490E-9993-BA19385B518B}" dt="2023-04-09T16:47:30.656" v="834" actId="1076"/>
          <ac:picMkLst>
            <pc:docMk/>
            <pc:sldMk cId="941718428" sldId="4088"/>
            <ac:picMk id="7" creationId="{19AC4256-486E-FB4B-172E-04F5EAB71B3D}"/>
          </ac:picMkLst>
        </pc:picChg>
      </pc:sldChg>
      <pc:sldChg chg="addSp modSp del mod">
        <pc:chgData name="Judyta Kozlowska" userId="b4dee01e-1dd1-4ace-b126-5b3bd0cf451c" providerId="ADAL" clId="{73B32ADE-1590-490E-9993-BA19385B518B}" dt="2023-04-07T06:46:55.247" v="126" actId="47"/>
        <pc:sldMkLst>
          <pc:docMk/>
          <pc:sldMk cId="2703860500" sldId="4089"/>
        </pc:sldMkLst>
        <pc:spChg chg="add mod">
          <ac:chgData name="Judyta Kozlowska" userId="b4dee01e-1dd1-4ace-b126-5b3bd0cf451c" providerId="ADAL" clId="{73B32ADE-1590-490E-9993-BA19385B518B}" dt="2023-04-07T06:46:44.273" v="122" actId="20577"/>
          <ac:spMkLst>
            <pc:docMk/>
            <pc:sldMk cId="2703860500" sldId="4089"/>
            <ac:spMk id="7" creationId="{78286905-D90B-69D7-EFC1-60615EBB3F2F}"/>
          </ac:spMkLst>
        </pc:spChg>
      </pc:sldChg>
      <pc:sldChg chg="addSp modSp del mod">
        <pc:chgData name="Judyta Kozlowska" userId="b4dee01e-1dd1-4ace-b126-5b3bd0cf451c" providerId="ADAL" clId="{73B32ADE-1590-490E-9993-BA19385B518B}" dt="2023-04-07T06:46:56.300" v="127" actId="47"/>
        <pc:sldMkLst>
          <pc:docMk/>
          <pc:sldMk cId="1282179420" sldId="4090"/>
        </pc:sldMkLst>
        <pc:spChg chg="add mod">
          <ac:chgData name="Judyta Kozlowska" userId="b4dee01e-1dd1-4ace-b126-5b3bd0cf451c" providerId="ADAL" clId="{73B32ADE-1590-490E-9993-BA19385B518B}" dt="2023-04-07T06:46:50.233" v="125" actId="20577"/>
          <ac:spMkLst>
            <pc:docMk/>
            <pc:sldMk cId="1282179420" sldId="4090"/>
            <ac:spMk id="3" creationId="{D1E0AAE3-A280-43A1-CDBD-64997547BCEB}"/>
          </ac:spMkLst>
        </pc:spChg>
      </pc:sldChg>
      <pc:sldChg chg="addSp delSp modSp add mod">
        <pc:chgData name="Judyta Kozlowska" userId="b4dee01e-1dd1-4ace-b126-5b3bd0cf451c" providerId="ADAL" clId="{73B32ADE-1590-490E-9993-BA19385B518B}" dt="2023-04-07T06:48:43.126" v="196" actId="478"/>
        <pc:sldMkLst>
          <pc:docMk/>
          <pc:sldMk cId="3400850130" sldId="4092"/>
        </pc:sldMkLst>
        <pc:spChg chg="mod">
          <ac:chgData name="Judyta Kozlowska" userId="b4dee01e-1dd1-4ace-b126-5b3bd0cf451c" providerId="ADAL" clId="{73B32ADE-1590-490E-9993-BA19385B518B}" dt="2023-04-07T06:48:40.807" v="195" actId="20577"/>
          <ac:spMkLst>
            <pc:docMk/>
            <pc:sldMk cId="3400850130" sldId="4092"/>
            <ac:spMk id="5" creationId="{8F34C24A-4DB1-BAA6-C705-069CFA2CBD19}"/>
          </ac:spMkLst>
        </pc:spChg>
        <pc:spChg chg="del">
          <ac:chgData name="Judyta Kozlowska" userId="b4dee01e-1dd1-4ace-b126-5b3bd0cf451c" providerId="ADAL" clId="{73B32ADE-1590-490E-9993-BA19385B518B}" dt="2023-04-07T06:48:43.126" v="196" actId="478"/>
          <ac:spMkLst>
            <pc:docMk/>
            <pc:sldMk cId="3400850130" sldId="4092"/>
            <ac:spMk id="6" creationId="{3CF23B17-7A57-84F9-4912-9479A93BB5D8}"/>
          </ac:spMkLst>
        </pc:spChg>
        <pc:spChg chg="add mod">
          <ac:chgData name="Judyta Kozlowska" userId="b4dee01e-1dd1-4ace-b126-5b3bd0cf451c" providerId="ADAL" clId="{73B32ADE-1590-490E-9993-BA19385B518B}" dt="2023-04-07T06:48:43.126" v="196" actId="478"/>
          <ac:spMkLst>
            <pc:docMk/>
            <pc:sldMk cId="3400850130" sldId="4092"/>
            <ac:spMk id="8" creationId="{75C42F49-19C2-6376-05E2-2ABAA4AF34BE}"/>
          </ac:spMkLst>
        </pc:spChg>
        <pc:picChg chg="del">
          <ac:chgData name="Judyta Kozlowska" userId="b4dee01e-1dd1-4ace-b126-5b3bd0cf451c" providerId="ADAL" clId="{73B32ADE-1590-490E-9993-BA19385B518B}" dt="2023-04-07T06:48:30.962" v="164" actId="478"/>
          <ac:picMkLst>
            <pc:docMk/>
            <pc:sldMk cId="3400850130" sldId="4092"/>
            <ac:picMk id="7" creationId="{E3297ADE-77A8-FDA3-6542-06A903421D37}"/>
          </ac:picMkLst>
        </pc:picChg>
      </pc:sldChg>
      <pc:sldChg chg="delSp modSp add mod">
        <pc:chgData name="Judyta Kozlowska" userId="b4dee01e-1dd1-4ace-b126-5b3bd0cf451c" providerId="ADAL" clId="{73B32ADE-1590-490E-9993-BA19385B518B}" dt="2023-04-07T07:13:37.866" v="253" actId="1076"/>
        <pc:sldMkLst>
          <pc:docMk/>
          <pc:sldMk cId="35842721" sldId="4093"/>
        </pc:sldMkLst>
        <pc:picChg chg="del">
          <ac:chgData name="Judyta Kozlowska" userId="b4dee01e-1dd1-4ace-b126-5b3bd0cf451c" providerId="ADAL" clId="{73B32ADE-1590-490E-9993-BA19385B518B}" dt="2023-04-07T07:13:27.109" v="247" actId="478"/>
          <ac:picMkLst>
            <pc:docMk/>
            <pc:sldMk cId="35842721" sldId="4093"/>
            <ac:picMk id="8" creationId="{B9615C80-0CFC-CE0B-2498-2A37108D107D}"/>
          </ac:picMkLst>
        </pc:picChg>
        <pc:picChg chg="del">
          <ac:chgData name="Judyta Kozlowska" userId="b4dee01e-1dd1-4ace-b126-5b3bd0cf451c" providerId="ADAL" clId="{73B32ADE-1590-490E-9993-BA19385B518B}" dt="2023-04-07T07:13:27.527" v="248" actId="478"/>
          <ac:picMkLst>
            <pc:docMk/>
            <pc:sldMk cId="35842721" sldId="4093"/>
            <ac:picMk id="9" creationId="{664FC15B-7BC2-F331-20CE-778AE8670093}"/>
          </ac:picMkLst>
        </pc:picChg>
        <pc:picChg chg="mod">
          <ac:chgData name="Judyta Kozlowska" userId="b4dee01e-1dd1-4ace-b126-5b3bd0cf451c" providerId="ADAL" clId="{73B32ADE-1590-490E-9993-BA19385B518B}" dt="2023-04-07T07:13:37.866" v="253" actId="1076"/>
          <ac:picMkLst>
            <pc:docMk/>
            <pc:sldMk cId="35842721" sldId="4093"/>
            <ac:picMk id="10" creationId="{33AE2FF3-E6E3-E600-2706-0C35426C7CB1}"/>
          </ac:picMkLst>
        </pc:picChg>
      </pc:sldChg>
      <pc:sldChg chg="addSp delSp modSp add mod ord">
        <pc:chgData name="Judyta Kozlowska" userId="b4dee01e-1dd1-4ace-b126-5b3bd0cf451c" providerId="ADAL" clId="{73B32ADE-1590-490E-9993-BA19385B518B}" dt="2023-04-09T16:52:45.471" v="852" actId="1076"/>
        <pc:sldMkLst>
          <pc:docMk/>
          <pc:sldMk cId="2760141480" sldId="4094"/>
        </pc:sldMkLst>
        <pc:spChg chg="mod">
          <ac:chgData name="Judyta Kozlowska" userId="b4dee01e-1dd1-4ace-b126-5b3bd0cf451c" providerId="ADAL" clId="{73B32ADE-1590-490E-9993-BA19385B518B}" dt="2023-04-07T07:35:10.678" v="316" actId="20577"/>
          <ac:spMkLst>
            <pc:docMk/>
            <pc:sldMk cId="2760141480" sldId="4094"/>
            <ac:spMk id="8" creationId="{2639CBB1-9DEB-9FCD-E0C1-595C61F5FB4C}"/>
          </ac:spMkLst>
        </pc:spChg>
        <pc:picChg chg="add mod">
          <ac:chgData name="Judyta Kozlowska" userId="b4dee01e-1dd1-4ace-b126-5b3bd0cf451c" providerId="ADAL" clId="{73B32ADE-1590-490E-9993-BA19385B518B}" dt="2023-04-09T16:52:45.471" v="852" actId="1076"/>
          <ac:picMkLst>
            <pc:docMk/>
            <pc:sldMk cId="2760141480" sldId="4094"/>
            <ac:picMk id="3" creationId="{F2C8346C-B1C1-DF06-3158-1A695592DB08}"/>
          </ac:picMkLst>
        </pc:picChg>
        <pc:picChg chg="del">
          <ac:chgData name="Judyta Kozlowska" userId="b4dee01e-1dd1-4ace-b126-5b3bd0cf451c" providerId="ADAL" clId="{73B32ADE-1590-490E-9993-BA19385B518B}" dt="2023-04-07T07:34:53.548" v="309" actId="478"/>
          <ac:picMkLst>
            <pc:docMk/>
            <pc:sldMk cId="2760141480" sldId="4094"/>
            <ac:picMk id="5" creationId="{12C89FF5-EEAB-ED58-269B-1092BED7EB7E}"/>
          </ac:picMkLst>
        </pc:picChg>
      </pc:sldChg>
      <pc:sldChg chg="modSp mod">
        <pc:chgData name="Judyta Kozlowska" userId="b4dee01e-1dd1-4ace-b126-5b3bd0cf451c" providerId="ADAL" clId="{73B32ADE-1590-490E-9993-BA19385B518B}" dt="2023-04-09T16:35:42.019" v="790" actId="255"/>
        <pc:sldMkLst>
          <pc:docMk/>
          <pc:sldMk cId="1713371450" sldId="2147377982"/>
        </pc:sldMkLst>
        <pc:spChg chg="mod">
          <ac:chgData name="Judyta Kozlowska" userId="b4dee01e-1dd1-4ace-b126-5b3bd0cf451c" providerId="ADAL" clId="{73B32ADE-1590-490E-9993-BA19385B518B}" dt="2023-04-09T16:34:12.157" v="777" actId="6549"/>
          <ac:spMkLst>
            <pc:docMk/>
            <pc:sldMk cId="1713371450" sldId="2147377982"/>
            <ac:spMk id="2" creationId="{426B52B8-8017-23F8-6496-BF1EEC0DB1C6}"/>
          </ac:spMkLst>
        </pc:spChg>
        <pc:spChg chg="mod">
          <ac:chgData name="Judyta Kozlowska" userId="b4dee01e-1dd1-4ace-b126-5b3bd0cf451c" providerId="ADAL" clId="{73B32ADE-1590-490E-9993-BA19385B518B}" dt="2023-04-09T16:35:26.637" v="786" actId="255"/>
          <ac:spMkLst>
            <pc:docMk/>
            <pc:sldMk cId="1713371450" sldId="2147377982"/>
            <ac:spMk id="5" creationId="{ABAE84A1-6450-B372-E705-88C7C01BB1CD}"/>
          </ac:spMkLst>
        </pc:spChg>
        <pc:spChg chg="mod">
          <ac:chgData name="Judyta Kozlowska" userId="b4dee01e-1dd1-4ace-b126-5b3bd0cf451c" providerId="ADAL" clId="{73B32ADE-1590-490E-9993-BA19385B518B}" dt="2023-04-09T16:35:42.019" v="790" actId="255"/>
          <ac:spMkLst>
            <pc:docMk/>
            <pc:sldMk cId="1713371450" sldId="2147377982"/>
            <ac:spMk id="6" creationId="{24F5C0D7-8B54-FA72-3588-003945BB1F9C}"/>
          </ac:spMkLst>
        </pc:spChg>
        <pc:spChg chg="mod">
          <ac:chgData name="Judyta Kozlowska" userId="b4dee01e-1dd1-4ace-b126-5b3bd0cf451c" providerId="ADAL" clId="{73B32ADE-1590-490E-9993-BA19385B518B}" dt="2023-04-09T16:34:41.416" v="780" actId="1076"/>
          <ac:spMkLst>
            <pc:docMk/>
            <pc:sldMk cId="1713371450" sldId="2147377982"/>
            <ac:spMk id="7" creationId="{42D59A19-5256-78AA-089A-4927C03C62D8}"/>
          </ac:spMkLst>
        </pc:spChg>
      </pc:sldChg>
      <pc:sldChg chg="modSp mod">
        <pc:chgData name="Judyta Kozlowska" userId="b4dee01e-1dd1-4ace-b126-5b3bd0cf451c" providerId="ADAL" clId="{73B32ADE-1590-490E-9993-BA19385B518B}" dt="2023-04-09T16:18:21.963" v="579" actId="255"/>
        <pc:sldMkLst>
          <pc:docMk/>
          <pc:sldMk cId="1489363635" sldId="2147469970"/>
        </pc:sldMkLst>
        <pc:spChg chg="mod">
          <ac:chgData name="Judyta Kozlowska" userId="b4dee01e-1dd1-4ace-b126-5b3bd0cf451c" providerId="ADAL" clId="{73B32ADE-1590-490E-9993-BA19385B518B}" dt="2023-04-09T16:18:21.963" v="579" actId="255"/>
          <ac:spMkLst>
            <pc:docMk/>
            <pc:sldMk cId="1489363635" sldId="2147469970"/>
            <ac:spMk id="18" creationId="{67288395-A982-493B-0C26-0C9FAEF5995F}"/>
          </ac:spMkLst>
        </pc:spChg>
      </pc:sldChg>
      <pc:sldChg chg="modSp add mod">
        <pc:chgData name="Judyta Kozlowska" userId="b4dee01e-1dd1-4ace-b126-5b3bd0cf451c" providerId="ADAL" clId="{73B32ADE-1590-490E-9993-BA19385B518B}" dt="2023-04-09T16:18:12.169" v="577" actId="14100"/>
        <pc:sldMkLst>
          <pc:docMk/>
          <pc:sldMk cId="2552806603" sldId="2147469973"/>
        </pc:sldMkLst>
        <pc:spChg chg="mod">
          <ac:chgData name="Judyta Kozlowska" userId="b4dee01e-1dd1-4ace-b126-5b3bd0cf451c" providerId="ADAL" clId="{73B32ADE-1590-490E-9993-BA19385B518B}" dt="2023-04-09T16:18:12.169" v="577" actId="14100"/>
          <ac:spMkLst>
            <pc:docMk/>
            <pc:sldMk cId="2552806603" sldId="2147469973"/>
            <ac:spMk id="18" creationId="{67288395-A982-493B-0C26-0C9FAEF5995F}"/>
          </ac:spMkLst>
        </pc:spChg>
      </pc:sldChg>
      <pc:sldChg chg="modSp mod">
        <pc:chgData name="Judyta Kozlowska" userId="b4dee01e-1dd1-4ace-b126-5b3bd0cf451c" providerId="ADAL" clId="{73B32ADE-1590-490E-9993-BA19385B518B}" dt="2023-04-09T16:18:45.787" v="582" actId="255"/>
        <pc:sldMkLst>
          <pc:docMk/>
          <pc:sldMk cId="4122844954" sldId="2147469974"/>
        </pc:sldMkLst>
        <pc:spChg chg="mod">
          <ac:chgData name="Judyta Kozlowska" userId="b4dee01e-1dd1-4ace-b126-5b3bd0cf451c" providerId="ADAL" clId="{73B32ADE-1590-490E-9993-BA19385B518B}" dt="2023-04-09T16:18:45.787" v="582" actId="255"/>
          <ac:spMkLst>
            <pc:docMk/>
            <pc:sldMk cId="4122844954" sldId="2147469974"/>
            <ac:spMk id="2" creationId="{5BE6C5DA-04AE-23C6-8659-1C06E67C1704}"/>
          </ac:spMkLst>
        </pc:spChg>
      </pc:sldChg>
      <pc:sldChg chg="addSp delSp modSp add mod">
        <pc:chgData name="Judyta Kozlowska" userId="b4dee01e-1dd1-4ace-b126-5b3bd0cf451c" providerId="ADAL" clId="{73B32ADE-1590-490E-9993-BA19385B518B}" dt="2023-04-09T16:31:18.909" v="767" actId="14100"/>
        <pc:sldMkLst>
          <pc:docMk/>
          <pc:sldMk cId="2927461264" sldId="2147469975"/>
        </pc:sldMkLst>
        <pc:spChg chg="add del mod">
          <ac:chgData name="Judyta Kozlowska" userId="b4dee01e-1dd1-4ace-b126-5b3bd0cf451c" providerId="ADAL" clId="{73B32ADE-1590-490E-9993-BA19385B518B}" dt="2023-04-09T16:31:12.889" v="764" actId="478"/>
          <ac:spMkLst>
            <pc:docMk/>
            <pc:sldMk cId="2927461264" sldId="2147469975"/>
            <ac:spMk id="3" creationId="{93372569-0F1F-B5ED-AB9A-B4B9CEDE0830}"/>
          </ac:spMkLst>
        </pc:spChg>
        <pc:spChg chg="mod">
          <ac:chgData name="Judyta Kozlowska" userId="b4dee01e-1dd1-4ace-b126-5b3bd0cf451c" providerId="ADAL" clId="{73B32ADE-1590-490E-9993-BA19385B518B}" dt="2023-04-09T16:30:44.752" v="761" actId="6549"/>
          <ac:spMkLst>
            <pc:docMk/>
            <pc:sldMk cId="2927461264" sldId="2147469975"/>
            <ac:spMk id="5" creationId="{46038FB7-675A-432D-0796-C0AF3BBB48A7}"/>
          </ac:spMkLst>
        </pc:spChg>
        <pc:spChg chg="del">
          <ac:chgData name="Judyta Kozlowska" userId="b4dee01e-1dd1-4ace-b126-5b3bd0cf451c" providerId="ADAL" clId="{73B32ADE-1590-490E-9993-BA19385B518B}" dt="2023-04-09T16:30:47.288" v="762" actId="478"/>
          <ac:spMkLst>
            <pc:docMk/>
            <pc:sldMk cId="2927461264" sldId="2147469975"/>
            <ac:spMk id="6" creationId="{A970C547-B9F9-37A5-36DC-CF45A3FE60CE}"/>
          </ac:spMkLst>
        </pc:spChg>
        <pc:picChg chg="del">
          <ac:chgData name="Judyta Kozlowska" userId="b4dee01e-1dd1-4ace-b126-5b3bd0cf451c" providerId="ADAL" clId="{73B32ADE-1590-490E-9993-BA19385B518B}" dt="2023-04-09T16:30:34.831" v="758" actId="478"/>
          <ac:picMkLst>
            <pc:docMk/>
            <pc:sldMk cId="2927461264" sldId="2147469975"/>
            <ac:picMk id="8" creationId="{F238B691-7489-4505-CE53-1771AF384D50}"/>
          </ac:picMkLst>
        </pc:picChg>
        <pc:picChg chg="add mod">
          <ac:chgData name="Judyta Kozlowska" userId="b4dee01e-1dd1-4ace-b126-5b3bd0cf451c" providerId="ADAL" clId="{73B32ADE-1590-490E-9993-BA19385B518B}" dt="2023-04-09T16:31:18.909" v="767" actId="14100"/>
          <ac:picMkLst>
            <pc:docMk/>
            <pc:sldMk cId="2927461264" sldId="2147469975"/>
            <ac:picMk id="9" creationId="{B991FEE6-917E-1C77-36A2-7D86870B629A}"/>
          </ac:picMkLst>
        </pc:picChg>
      </pc:sldChg>
      <pc:sldChg chg="addSp delSp modSp mod">
        <pc:chgData name="Judyta Kozlowska" userId="b4dee01e-1dd1-4ace-b126-5b3bd0cf451c" providerId="ADAL" clId="{73B32ADE-1590-490E-9993-BA19385B518B}" dt="2023-04-09T17:21:33.443" v="916" actId="1076"/>
        <pc:sldMkLst>
          <pc:docMk/>
          <pc:sldMk cId="1656987977" sldId="2147469976"/>
        </pc:sldMkLst>
        <pc:spChg chg="mod">
          <ac:chgData name="Judyta Kozlowska" userId="b4dee01e-1dd1-4ace-b126-5b3bd0cf451c" providerId="ADAL" clId="{73B32ADE-1590-490E-9993-BA19385B518B}" dt="2023-04-09T16:53:52.574" v="870" actId="20577"/>
          <ac:spMkLst>
            <pc:docMk/>
            <pc:sldMk cId="1656987977" sldId="2147469976"/>
            <ac:spMk id="2" creationId="{1B444CE3-6913-B191-D3ED-3CC7690DE5CA}"/>
          </ac:spMkLst>
        </pc:spChg>
        <pc:picChg chg="add del mod">
          <ac:chgData name="Judyta Kozlowska" userId="b4dee01e-1dd1-4ace-b126-5b3bd0cf451c" providerId="ADAL" clId="{73B32ADE-1590-490E-9993-BA19385B518B}" dt="2023-04-09T17:13:09.652" v="891" actId="478"/>
          <ac:picMkLst>
            <pc:docMk/>
            <pc:sldMk cId="1656987977" sldId="2147469976"/>
            <ac:picMk id="5" creationId="{936AC3AF-D216-9257-7A06-DBA4556B3F57}"/>
          </ac:picMkLst>
        </pc:picChg>
        <pc:picChg chg="add del mod">
          <ac:chgData name="Judyta Kozlowska" userId="b4dee01e-1dd1-4ace-b126-5b3bd0cf451c" providerId="ADAL" clId="{73B32ADE-1590-490E-9993-BA19385B518B}" dt="2023-04-09T17:13:44.195" v="899" actId="478"/>
          <ac:picMkLst>
            <pc:docMk/>
            <pc:sldMk cId="1656987977" sldId="2147469976"/>
            <ac:picMk id="7" creationId="{027C51D2-1F17-302F-AA35-47B3B97C7955}"/>
          </ac:picMkLst>
        </pc:picChg>
        <pc:picChg chg="del">
          <ac:chgData name="Judyta Kozlowska" userId="b4dee01e-1dd1-4ace-b126-5b3bd0cf451c" providerId="ADAL" clId="{73B32ADE-1590-490E-9993-BA19385B518B}" dt="2023-04-09T16:53:54.839" v="871" actId="478"/>
          <ac:picMkLst>
            <pc:docMk/>
            <pc:sldMk cId="1656987977" sldId="2147469976"/>
            <ac:picMk id="8" creationId="{B9615C80-0CFC-CE0B-2498-2A37108D107D}"/>
          </ac:picMkLst>
        </pc:picChg>
        <pc:picChg chg="del">
          <ac:chgData name="Judyta Kozlowska" userId="b4dee01e-1dd1-4ace-b126-5b3bd0cf451c" providerId="ADAL" clId="{73B32ADE-1590-490E-9993-BA19385B518B}" dt="2023-04-09T16:53:55.320" v="872" actId="478"/>
          <ac:picMkLst>
            <pc:docMk/>
            <pc:sldMk cId="1656987977" sldId="2147469976"/>
            <ac:picMk id="9" creationId="{664FC15B-7BC2-F331-20CE-778AE8670093}"/>
          </ac:picMkLst>
        </pc:picChg>
        <pc:picChg chg="add del mod">
          <ac:chgData name="Judyta Kozlowska" userId="b4dee01e-1dd1-4ace-b126-5b3bd0cf451c" providerId="ADAL" clId="{73B32ADE-1590-490E-9993-BA19385B518B}" dt="2023-04-09T17:13:42.884" v="897" actId="478"/>
          <ac:picMkLst>
            <pc:docMk/>
            <pc:sldMk cId="1656987977" sldId="2147469976"/>
            <ac:picMk id="11" creationId="{CF92C4FD-8D07-272D-42B2-A27DFFE4B5A6}"/>
          </ac:picMkLst>
        </pc:picChg>
        <pc:picChg chg="add del mod">
          <ac:chgData name="Judyta Kozlowska" userId="b4dee01e-1dd1-4ace-b126-5b3bd0cf451c" providerId="ADAL" clId="{73B32ADE-1590-490E-9993-BA19385B518B}" dt="2023-04-09T17:15:04.685" v="902" actId="478"/>
          <ac:picMkLst>
            <pc:docMk/>
            <pc:sldMk cId="1656987977" sldId="2147469976"/>
            <ac:picMk id="13" creationId="{79EBF2C8-E6AC-AE92-AEE3-F443E3DDA24A}"/>
          </ac:picMkLst>
        </pc:picChg>
        <pc:picChg chg="add mod">
          <ac:chgData name="Judyta Kozlowska" userId="b4dee01e-1dd1-4ace-b126-5b3bd0cf451c" providerId="ADAL" clId="{73B32ADE-1590-490E-9993-BA19385B518B}" dt="2023-04-09T17:16:46.371" v="905" actId="1076"/>
          <ac:picMkLst>
            <pc:docMk/>
            <pc:sldMk cId="1656987977" sldId="2147469976"/>
            <ac:picMk id="15" creationId="{C6C74333-F21D-69DB-F693-1E2320C396B1}"/>
          </ac:picMkLst>
        </pc:picChg>
        <pc:picChg chg="add mod">
          <ac:chgData name="Judyta Kozlowska" userId="b4dee01e-1dd1-4ace-b126-5b3bd0cf451c" providerId="ADAL" clId="{73B32ADE-1590-490E-9993-BA19385B518B}" dt="2023-04-09T17:17:41.051" v="907" actId="1076"/>
          <ac:picMkLst>
            <pc:docMk/>
            <pc:sldMk cId="1656987977" sldId="2147469976"/>
            <ac:picMk id="17" creationId="{F67AD6CE-DC50-6B79-7DA4-65A4848A7C7B}"/>
          </ac:picMkLst>
        </pc:picChg>
        <pc:picChg chg="add mod">
          <ac:chgData name="Judyta Kozlowska" userId="b4dee01e-1dd1-4ace-b126-5b3bd0cf451c" providerId="ADAL" clId="{73B32ADE-1590-490E-9993-BA19385B518B}" dt="2023-04-09T17:21:27.731" v="915" actId="1076"/>
          <ac:picMkLst>
            <pc:docMk/>
            <pc:sldMk cId="1656987977" sldId="2147469976"/>
            <ac:picMk id="19" creationId="{1A113BAF-C745-4A8C-8F84-9E66FF1A96C7}"/>
          </ac:picMkLst>
        </pc:picChg>
        <pc:picChg chg="add mod">
          <ac:chgData name="Judyta Kozlowska" userId="b4dee01e-1dd1-4ace-b126-5b3bd0cf451c" providerId="ADAL" clId="{73B32ADE-1590-490E-9993-BA19385B518B}" dt="2023-04-09T17:21:33.443" v="916" actId="1076"/>
          <ac:picMkLst>
            <pc:docMk/>
            <pc:sldMk cId="1656987977" sldId="2147469976"/>
            <ac:picMk id="21" creationId="{4A853EED-E617-1C50-886C-F4B90CAE2895}"/>
          </ac:picMkLst>
        </pc:picChg>
      </pc:sldChg>
    </pc:docChg>
  </pc:docChgLst>
  <pc:docChgLst>
    <pc:chgData name="Maciej Wieczorek" userId="03cab7ad-036c-4eb1-853d-ca1d6f0654ad" providerId="ADAL" clId="{E433057C-BCBA-4D50-9AC8-7869022F9D2B}"/>
    <pc:docChg chg="modSld">
      <pc:chgData name="Maciej Wieczorek" userId="03cab7ad-036c-4eb1-853d-ca1d6f0654ad" providerId="ADAL" clId="{E433057C-BCBA-4D50-9AC8-7869022F9D2B}" dt="2023-01-11T12:07:45.590" v="10" actId="1076"/>
      <pc:docMkLst>
        <pc:docMk/>
      </pc:docMkLst>
      <pc:sldChg chg="addSp modSp mod">
        <pc:chgData name="Maciej Wieczorek" userId="03cab7ad-036c-4eb1-853d-ca1d6f0654ad" providerId="ADAL" clId="{E433057C-BCBA-4D50-9AC8-7869022F9D2B}" dt="2023-01-11T12:07:45.590" v="10" actId="1076"/>
        <pc:sldMkLst>
          <pc:docMk/>
          <pc:sldMk cId="1501911350" sldId="2898"/>
        </pc:sldMkLst>
        <pc:picChg chg="add mod">
          <ac:chgData name="Maciej Wieczorek" userId="03cab7ad-036c-4eb1-853d-ca1d6f0654ad" providerId="ADAL" clId="{E433057C-BCBA-4D50-9AC8-7869022F9D2B}" dt="2023-01-11T12:07:45.590" v="10" actId="1076"/>
          <ac:picMkLst>
            <pc:docMk/>
            <pc:sldMk cId="1501911350" sldId="2898"/>
            <ac:picMk id="3" creationId="{62AA5320-34C1-4B11-8AD4-DF09C19EBE5C}"/>
          </ac:picMkLst>
        </pc:picChg>
      </pc:sldChg>
    </pc:docChg>
  </pc:docChgLst>
  <pc:docChgLst>
    <pc:chgData name="Dawid Janik" userId="S::dawid.janik@upfieldbrands.com::81a947f4-3345-42c0-a461-2bf27ee4639f" providerId="AD" clId="Web-{7210C62A-1752-435C-8334-42791FA91707}"/>
    <pc:docChg chg="addSld modSld">
      <pc:chgData name="Dawid Janik" userId="S::dawid.janik@upfieldbrands.com::81a947f4-3345-42c0-a461-2bf27ee4639f" providerId="AD" clId="Web-{7210C62A-1752-435C-8334-42791FA91707}" dt="2023-06-09T08:45:32.013" v="52" actId="1076"/>
      <pc:docMkLst>
        <pc:docMk/>
      </pc:docMkLst>
      <pc:sldChg chg="modSp">
        <pc:chgData name="Dawid Janik" userId="S::dawid.janik@upfieldbrands.com::81a947f4-3345-42c0-a461-2bf27ee4639f" providerId="AD" clId="Web-{7210C62A-1752-435C-8334-42791FA91707}" dt="2023-06-09T08:45:32.013" v="52" actId="1076"/>
        <pc:sldMkLst>
          <pc:docMk/>
          <pc:sldMk cId="1361416781" sldId="2147469996"/>
        </pc:sldMkLst>
        <pc:graphicFrameChg chg="mod">
          <ac:chgData name="Dawid Janik" userId="S::dawid.janik@upfieldbrands.com::81a947f4-3345-42c0-a461-2bf27ee4639f" providerId="AD" clId="Web-{7210C62A-1752-435C-8334-42791FA91707}" dt="2023-06-09T08:45:32.013" v="52" actId="1076"/>
          <ac:graphicFrameMkLst>
            <pc:docMk/>
            <pc:sldMk cId="1361416781" sldId="2147469996"/>
            <ac:graphicFrameMk id="2" creationId="{743DA750-E386-391F-38BD-83E748B18AEE}"/>
          </ac:graphicFrameMkLst>
        </pc:graphicFrameChg>
      </pc:sldChg>
      <pc:sldChg chg="delSp modSp">
        <pc:chgData name="Dawid Janik" userId="S::dawid.janik@upfieldbrands.com::81a947f4-3345-42c0-a461-2bf27ee4639f" providerId="AD" clId="Web-{7210C62A-1752-435C-8334-42791FA91707}" dt="2023-06-09T08:44:53.199" v="51" actId="1076"/>
        <pc:sldMkLst>
          <pc:docMk/>
          <pc:sldMk cId="1556072929" sldId="2147469997"/>
        </pc:sldMkLst>
        <pc:spChg chg="del">
          <ac:chgData name="Dawid Janik" userId="S::dawid.janik@upfieldbrands.com::81a947f4-3345-42c0-a461-2bf27ee4639f" providerId="AD" clId="Web-{7210C62A-1752-435C-8334-42791FA91707}" dt="2023-06-09T08:44:46.808" v="48"/>
          <ac:spMkLst>
            <pc:docMk/>
            <pc:sldMk cId="1556072929" sldId="2147469997"/>
            <ac:spMk id="5" creationId="{F8D28C37-4906-30E6-482A-BDDD9CB1BD5F}"/>
          </ac:spMkLst>
        </pc:spChg>
        <pc:spChg chg="del">
          <ac:chgData name="Dawid Janik" userId="S::dawid.janik@upfieldbrands.com::81a947f4-3345-42c0-a461-2bf27ee4639f" providerId="AD" clId="Web-{7210C62A-1752-435C-8334-42791FA91707}" dt="2023-06-09T08:44:49.902" v="50"/>
          <ac:spMkLst>
            <pc:docMk/>
            <pc:sldMk cId="1556072929" sldId="2147469997"/>
            <ac:spMk id="6" creationId="{09368012-2CC4-CDE5-FE98-AC62BF9688F2}"/>
          </ac:spMkLst>
        </pc:spChg>
        <pc:spChg chg="del mod">
          <ac:chgData name="Dawid Janik" userId="S::dawid.janik@upfieldbrands.com::81a947f4-3345-42c0-a461-2bf27ee4639f" providerId="AD" clId="Web-{7210C62A-1752-435C-8334-42791FA91707}" dt="2023-06-09T08:44:46.699" v="47"/>
          <ac:spMkLst>
            <pc:docMk/>
            <pc:sldMk cId="1556072929" sldId="2147469997"/>
            <ac:spMk id="13" creationId="{EF2030BF-F17A-5C1A-CF2B-B3CE3154F2FE}"/>
          </ac:spMkLst>
        </pc:spChg>
        <pc:graphicFrameChg chg="del">
          <ac:chgData name="Dawid Janik" userId="S::dawid.janik@upfieldbrands.com::81a947f4-3345-42c0-a461-2bf27ee4639f" providerId="AD" clId="Web-{7210C62A-1752-435C-8334-42791FA91707}" dt="2023-06-09T08:44:48.183" v="49"/>
          <ac:graphicFrameMkLst>
            <pc:docMk/>
            <pc:sldMk cId="1556072929" sldId="2147469997"/>
            <ac:graphicFrameMk id="3" creationId="{D60AF2BF-FC5F-92E5-140E-E1D2E3DF3635}"/>
          </ac:graphicFrameMkLst>
        </pc:graphicFrameChg>
        <pc:graphicFrameChg chg="mod modGraphic">
          <ac:chgData name="Dawid Janik" userId="S::dawid.janik@upfieldbrands.com::81a947f4-3345-42c0-a461-2bf27ee4639f" providerId="AD" clId="Web-{7210C62A-1752-435C-8334-42791FA91707}" dt="2023-06-09T08:44:53.199" v="51" actId="1076"/>
          <ac:graphicFrameMkLst>
            <pc:docMk/>
            <pc:sldMk cId="1556072929" sldId="2147469997"/>
            <ac:graphicFrameMk id="12" creationId="{A9247756-7DED-DB5D-C970-6D7CAEE95029}"/>
          </ac:graphicFrameMkLst>
        </pc:graphicFrameChg>
      </pc:sldChg>
      <pc:sldChg chg="addSp delSp modSp new">
        <pc:chgData name="Dawid Janik" userId="S::dawid.janik@upfieldbrands.com::81a947f4-3345-42c0-a461-2bf27ee4639f" providerId="AD" clId="Web-{7210C62A-1752-435C-8334-42791FA91707}" dt="2023-06-09T08:44:38.964" v="45" actId="1076"/>
        <pc:sldMkLst>
          <pc:docMk/>
          <pc:sldMk cId="3954989652" sldId="2147469998"/>
        </pc:sldMkLst>
        <pc:spChg chg="del">
          <ac:chgData name="Dawid Janik" userId="S::dawid.janik@upfieldbrands.com::81a947f4-3345-42c0-a461-2bf27ee4639f" providerId="AD" clId="Web-{7210C62A-1752-435C-8334-42791FA91707}" dt="2023-06-09T08:43:56.103" v="30"/>
          <ac:spMkLst>
            <pc:docMk/>
            <pc:sldMk cId="3954989652" sldId="2147469998"/>
            <ac:spMk id="2" creationId="{E7E34F5A-6248-4B49-F9C1-BF253F188F0C}"/>
          </ac:spMkLst>
        </pc:spChg>
        <pc:spChg chg="del">
          <ac:chgData name="Dawid Janik" userId="S::dawid.janik@upfieldbrands.com::81a947f4-3345-42c0-a461-2bf27ee4639f" providerId="AD" clId="Web-{7210C62A-1752-435C-8334-42791FA91707}" dt="2023-06-09T08:43:57.760" v="32"/>
          <ac:spMkLst>
            <pc:docMk/>
            <pc:sldMk cId="3954989652" sldId="2147469998"/>
            <ac:spMk id="3" creationId="{20746CF3-162A-7749-2EFA-65EA580B5262}"/>
          </ac:spMkLst>
        </pc:spChg>
        <pc:spChg chg="del">
          <ac:chgData name="Dawid Janik" userId="S::dawid.janik@upfieldbrands.com::81a947f4-3345-42c0-a461-2bf27ee4639f" providerId="AD" clId="Web-{7210C62A-1752-435C-8334-42791FA91707}" dt="2023-06-09T08:43:55.541" v="29"/>
          <ac:spMkLst>
            <pc:docMk/>
            <pc:sldMk cId="3954989652" sldId="2147469998"/>
            <ac:spMk id="5" creationId="{93951B23-3AE5-587C-1594-F70B783E00F7}"/>
          </ac:spMkLst>
        </pc:spChg>
        <pc:spChg chg="del">
          <ac:chgData name="Dawid Janik" userId="S::dawid.janik@upfieldbrands.com::81a947f4-3345-42c0-a461-2bf27ee4639f" providerId="AD" clId="Web-{7210C62A-1752-435C-8334-42791FA91707}" dt="2023-06-09T08:43:56.916" v="31"/>
          <ac:spMkLst>
            <pc:docMk/>
            <pc:sldMk cId="3954989652" sldId="2147469998"/>
            <ac:spMk id="6" creationId="{536C5E38-8842-C367-8387-980A0F788A60}"/>
          </ac:spMkLst>
        </pc:spChg>
        <pc:spChg chg="del">
          <ac:chgData name="Dawid Janik" userId="S::dawid.janik@upfieldbrands.com::81a947f4-3345-42c0-a461-2bf27ee4639f" providerId="AD" clId="Web-{7210C62A-1752-435C-8334-42791FA91707}" dt="2023-06-09T08:43:58.916" v="33"/>
          <ac:spMkLst>
            <pc:docMk/>
            <pc:sldMk cId="3954989652" sldId="2147469998"/>
            <ac:spMk id="7" creationId="{8A1BA659-907A-0CE0-E365-2899A8F921F2}"/>
          </ac:spMkLst>
        </pc:spChg>
        <pc:spChg chg="add mod">
          <ac:chgData name="Dawid Janik" userId="S::dawid.janik@upfieldbrands.com::81a947f4-3345-42c0-a461-2bf27ee4639f" providerId="AD" clId="Web-{7210C62A-1752-435C-8334-42791FA91707}" dt="2023-06-09T08:44:13.385" v="39" actId="1076"/>
          <ac:spMkLst>
            <pc:docMk/>
            <pc:sldMk cId="3954989652" sldId="2147469998"/>
            <ac:spMk id="8" creationId="{3D6EDE1C-654B-A7ED-33A8-0E51F53699F4}"/>
          </ac:spMkLst>
        </pc:spChg>
        <pc:spChg chg="add mod">
          <ac:chgData name="Dawid Janik" userId="S::dawid.janik@upfieldbrands.com::81a947f4-3345-42c0-a461-2bf27ee4639f" providerId="AD" clId="Web-{7210C62A-1752-435C-8334-42791FA91707}" dt="2023-06-09T08:44:22.370" v="41" actId="1076"/>
          <ac:spMkLst>
            <pc:docMk/>
            <pc:sldMk cId="3954989652" sldId="2147469998"/>
            <ac:spMk id="10" creationId="{C89F8B5A-C14E-9C18-1A9C-35CC60F0B4F0}"/>
          </ac:spMkLst>
        </pc:spChg>
        <pc:spChg chg="add mod">
          <ac:chgData name="Dawid Janik" userId="S::dawid.janik@upfieldbrands.com::81a947f4-3345-42c0-a461-2bf27ee4639f" providerId="AD" clId="Web-{7210C62A-1752-435C-8334-42791FA91707}" dt="2023-06-09T08:44:38.964" v="45" actId="1076"/>
          <ac:spMkLst>
            <pc:docMk/>
            <pc:sldMk cId="3954989652" sldId="2147469998"/>
            <ac:spMk id="14" creationId="{E020F866-6AC9-7416-6701-23693DC6FDAA}"/>
          </ac:spMkLst>
        </pc:spChg>
        <pc:graphicFrameChg chg="add mod">
          <ac:chgData name="Dawid Janik" userId="S::dawid.janik@upfieldbrands.com::81a947f4-3345-42c0-a461-2bf27ee4639f" providerId="AD" clId="Web-{7210C62A-1752-435C-8334-42791FA91707}" dt="2023-06-09T08:44:30.073" v="43" actId="1076"/>
          <ac:graphicFrameMkLst>
            <pc:docMk/>
            <pc:sldMk cId="3954989652" sldId="2147469998"/>
            <ac:graphicFrameMk id="12" creationId="{5290F14D-ABFA-C9F8-263B-17403AB61F5E}"/>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upfieldbrands.sharepoint.com/sites/IssueLogOils/Shared%20Documents/General/Issue%20Log%20EU_oil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upfieldbrands.sharepoint.com/sites/IssueLogOils/Shared%20Documents/General/Issue%20Log%20EU_oil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Issue Log EU_oils.xlsx]Arkusz2'!$A$120</c:f>
              <c:strCache>
                <c:ptCount val="1"/>
                <c:pt idx="0">
                  <c:v>Headspace</c:v>
                </c:pt>
              </c:strCache>
            </c:strRef>
          </c:tx>
          <c:spPr>
            <a:solidFill>
              <a:schemeClr val="accent1"/>
            </a:solidFill>
            <a:ln>
              <a:noFill/>
            </a:ln>
            <a:effectLst/>
          </c:spPr>
          <c:invertIfNegative val="0"/>
          <c:cat>
            <c:strRef>
              <c:f>'[Issue Log EU_oils.xlsx]Arkusz2'!$B$119:$M$119</c:f>
              <c:strCache>
                <c:ptCount val="12"/>
                <c:pt idx="0">
                  <c:v>Jan</c:v>
                </c:pt>
                <c:pt idx="1">
                  <c:v>Feb</c:v>
                </c:pt>
                <c:pt idx="2">
                  <c:v>Mar</c:v>
                </c:pt>
                <c:pt idx="3">
                  <c:v>Apr</c:v>
                </c:pt>
                <c:pt idx="4">
                  <c:v>May</c:v>
                </c:pt>
                <c:pt idx="5">
                  <c:v>Jun</c:v>
                </c:pt>
                <c:pt idx="6">
                  <c:v>July</c:v>
                </c:pt>
                <c:pt idx="7">
                  <c:v>Aug</c:v>
                </c:pt>
                <c:pt idx="8">
                  <c:v>Sep</c:v>
                </c:pt>
                <c:pt idx="9">
                  <c:v>Oct</c:v>
                </c:pt>
                <c:pt idx="10">
                  <c:v>Nov</c:v>
                </c:pt>
                <c:pt idx="11">
                  <c:v>Dec</c:v>
                </c:pt>
              </c:strCache>
            </c:strRef>
          </c:cat>
          <c:val>
            <c:numRef>
              <c:f>'[Issue Log EU_oils.xlsx]Arkusz2'!$B$120:$M$120</c:f>
              <c:numCache>
                <c:formatCode>General</c:formatCode>
                <c:ptCount val="12"/>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BC33-42AD-B7F9-9EE3B26C64E8}"/>
            </c:ext>
          </c:extLst>
        </c:ser>
        <c:ser>
          <c:idx val="1"/>
          <c:order val="1"/>
          <c:tx>
            <c:strRef>
              <c:f>'[Issue Log EU_oils.xlsx]Arkusz2'!$A$121</c:f>
              <c:strCache>
                <c:ptCount val="1"/>
                <c:pt idx="0">
                  <c:v>Quality issue</c:v>
                </c:pt>
              </c:strCache>
            </c:strRef>
          </c:tx>
          <c:spPr>
            <a:solidFill>
              <a:schemeClr val="accent2"/>
            </a:solidFill>
            <a:ln>
              <a:noFill/>
            </a:ln>
            <a:effectLst/>
          </c:spPr>
          <c:invertIfNegative val="0"/>
          <c:cat>
            <c:strRef>
              <c:f>'[Issue Log EU_oils.xlsx]Arkusz2'!$B$119:$M$119</c:f>
              <c:strCache>
                <c:ptCount val="12"/>
                <c:pt idx="0">
                  <c:v>Jan</c:v>
                </c:pt>
                <c:pt idx="1">
                  <c:v>Feb</c:v>
                </c:pt>
                <c:pt idx="2">
                  <c:v>Mar</c:v>
                </c:pt>
                <c:pt idx="3">
                  <c:v>Apr</c:v>
                </c:pt>
                <c:pt idx="4">
                  <c:v>May</c:v>
                </c:pt>
                <c:pt idx="5">
                  <c:v>Jun</c:v>
                </c:pt>
                <c:pt idx="6">
                  <c:v>July</c:v>
                </c:pt>
                <c:pt idx="7">
                  <c:v>Aug</c:v>
                </c:pt>
                <c:pt idx="8">
                  <c:v>Sep</c:v>
                </c:pt>
                <c:pt idx="9">
                  <c:v>Oct</c:v>
                </c:pt>
                <c:pt idx="10">
                  <c:v>Nov</c:v>
                </c:pt>
                <c:pt idx="11">
                  <c:v>Dec</c:v>
                </c:pt>
              </c:strCache>
            </c:strRef>
          </c:cat>
          <c:val>
            <c:numRef>
              <c:f>'[Issue Log EU_oils.xlsx]Arkusz2'!$B$121:$M$121</c:f>
              <c:numCache>
                <c:formatCode>General</c:formatCode>
                <c:ptCount val="12"/>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1-BC33-42AD-B7F9-9EE3B26C64E8}"/>
            </c:ext>
          </c:extLst>
        </c:ser>
        <c:ser>
          <c:idx val="2"/>
          <c:order val="2"/>
          <c:tx>
            <c:strRef>
              <c:f>'[Issue Log EU_oils.xlsx]Arkusz2'!$A$122</c:f>
              <c:strCache>
                <c:ptCount val="1"/>
                <c:pt idx="0">
                  <c:v>Delay with loading</c:v>
                </c:pt>
              </c:strCache>
            </c:strRef>
          </c:tx>
          <c:spPr>
            <a:solidFill>
              <a:schemeClr val="accent3"/>
            </a:solidFill>
            <a:ln>
              <a:noFill/>
            </a:ln>
            <a:effectLst/>
          </c:spPr>
          <c:invertIfNegative val="0"/>
          <c:cat>
            <c:strRef>
              <c:f>'[Issue Log EU_oils.xlsx]Arkusz2'!$B$119:$M$119</c:f>
              <c:strCache>
                <c:ptCount val="12"/>
                <c:pt idx="0">
                  <c:v>Jan</c:v>
                </c:pt>
                <c:pt idx="1">
                  <c:v>Feb</c:v>
                </c:pt>
                <c:pt idx="2">
                  <c:v>Mar</c:v>
                </c:pt>
                <c:pt idx="3">
                  <c:v>Apr</c:v>
                </c:pt>
                <c:pt idx="4">
                  <c:v>May</c:v>
                </c:pt>
                <c:pt idx="5">
                  <c:v>Jun</c:v>
                </c:pt>
                <c:pt idx="6">
                  <c:v>July</c:v>
                </c:pt>
                <c:pt idx="7">
                  <c:v>Aug</c:v>
                </c:pt>
                <c:pt idx="8">
                  <c:v>Sep</c:v>
                </c:pt>
                <c:pt idx="9">
                  <c:v>Oct</c:v>
                </c:pt>
                <c:pt idx="10">
                  <c:v>Nov</c:v>
                </c:pt>
                <c:pt idx="11">
                  <c:v>Dec</c:v>
                </c:pt>
              </c:strCache>
            </c:strRef>
          </c:cat>
          <c:val>
            <c:numRef>
              <c:f>'[Issue Log EU_oils.xlsx]Arkusz2'!$B$122:$M$122</c:f>
              <c:numCache>
                <c:formatCode>General</c:formatCode>
                <c:ptCount val="12"/>
                <c:pt idx="0">
                  <c:v>0</c:v>
                </c:pt>
                <c:pt idx="1">
                  <c:v>0</c:v>
                </c:pt>
                <c:pt idx="2">
                  <c:v>0</c:v>
                </c:pt>
                <c:pt idx="3">
                  <c:v>7</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2-BC33-42AD-B7F9-9EE3B26C64E8}"/>
            </c:ext>
          </c:extLst>
        </c:ser>
        <c:ser>
          <c:idx val="3"/>
          <c:order val="3"/>
          <c:tx>
            <c:strRef>
              <c:f>'[Issue Log EU_oils.xlsx]Arkusz2'!$A$123</c:f>
              <c:strCache>
                <c:ptCount val="1"/>
                <c:pt idx="0">
                  <c:v>Other</c:v>
                </c:pt>
              </c:strCache>
            </c:strRef>
          </c:tx>
          <c:spPr>
            <a:solidFill>
              <a:schemeClr val="accent4"/>
            </a:solidFill>
            <a:ln>
              <a:noFill/>
            </a:ln>
            <a:effectLst/>
          </c:spPr>
          <c:invertIfNegative val="0"/>
          <c:cat>
            <c:strRef>
              <c:f>'[Issue Log EU_oils.xlsx]Arkusz2'!$B$119:$M$119</c:f>
              <c:strCache>
                <c:ptCount val="12"/>
                <c:pt idx="0">
                  <c:v>Jan</c:v>
                </c:pt>
                <c:pt idx="1">
                  <c:v>Feb</c:v>
                </c:pt>
                <c:pt idx="2">
                  <c:v>Mar</c:v>
                </c:pt>
                <c:pt idx="3">
                  <c:v>Apr</c:v>
                </c:pt>
                <c:pt idx="4">
                  <c:v>May</c:v>
                </c:pt>
                <c:pt idx="5">
                  <c:v>Jun</c:v>
                </c:pt>
                <c:pt idx="6">
                  <c:v>July</c:v>
                </c:pt>
                <c:pt idx="7">
                  <c:v>Aug</c:v>
                </c:pt>
                <c:pt idx="8">
                  <c:v>Sep</c:v>
                </c:pt>
                <c:pt idx="9">
                  <c:v>Oct</c:v>
                </c:pt>
                <c:pt idx="10">
                  <c:v>Nov</c:v>
                </c:pt>
                <c:pt idx="11">
                  <c:v>Dec</c:v>
                </c:pt>
              </c:strCache>
            </c:strRef>
          </c:cat>
          <c:val>
            <c:numRef>
              <c:f>'[Issue Log EU_oils.xlsx]Arkusz2'!$B$123:$M$123</c:f>
              <c:numCache>
                <c:formatCode>General</c:formatCode>
                <c:ptCount val="12"/>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3-BC33-42AD-B7F9-9EE3B26C64E8}"/>
            </c:ext>
          </c:extLst>
        </c:ser>
        <c:dLbls>
          <c:showLegendKey val="0"/>
          <c:showVal val="0"/>
          <c:showCatName val="0"/>
          <c:showSerName val="0"/>
          <c:showPercent val="0"/>
          <c:showBubbleSize val="0"/>
        </c:dLbls>
        <c:gapWidth val="150"/>
        <c:overlap val="100"/>
        <c:axId val="448946695"/>
        <c:axId val="448948743"/>
      </c:barChart>
      <c:catAx>
        <c:axId val="448946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448948743"/>
        <c:crosses val="autoZero"/>
        <c:auto val="1"/>
        <c:lblAlgn val="ctr"/>
        <c:lblOffset val="100"/>
        <c:noMultiLvlLbl val="0"/>
      </c:catAx>
      <c:valAx>
        <c:axId val="44894874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448946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chart>
  <c:spPr>
    <a:noFill/>
    <a:ln w="9525" cap="flat" cmpd="sng" algn="ctr">
      <a:solidFill>
        <a:schemeClr val="tx1">
          <a:lumMod val="15000"/>
          <a:lumOff val="85000"/>
        </a:schemeClr>
      </a:solidFill>
      <a:round/>
    </a:ln>
    <a:effectLst/>
  </c:spPr>
  <c:txPr>
    <a:bodyPr/>
    <a:lstStyle/>
    <a:p>
      <a:pPr>
        <a:defRPr/>
      </a:pPr>
      <a:endParaRPr lang="pl-P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Issue Log EU_oils.xlsx]Arkusz2'!$A$138</c:f>
              <c:strCache>
                <c:ptCount val="1"/>
                <c:pt idx="0">
                  <c:v>Logistics</c:v>
                </c:pt>
              </c:strCache>
            </c:strRef>
          </c:tx>
          <c:spPr>
            <a:solidFill>
              <a:schemeClr val="accent1"/>
            </a:solidFill>
            <a:ln>
              <a:noFill/>
            </a:ln>
            <a:effectLst/>
          </c:spPr>
          <c:invertIfNegative val="0"/>
          <c:cat>
            <c:strRef>
              <c:f>'[Issue Log EU_oils.xlsx]Arkusz2'!$B$137:$M$137</c:f>
              <c:strCache>
                <c:ptCount val="12"/>
                <c:pt idx="0">
                  <c:v>Jan</c:v>
                </c:pt>
                <c:pt idx="1">
                  <c:v>Feb</c:v>
                </c:pt>
                <c:pt idx="2">
                  <c:v>Mar</c:v>
                </c:pt>
                <c:pt idx="3">
                  <c:v>Apr</c:v>
                </c:pt>
                <c:pt idx="4">
                  <c:v>May</c:v>
                </c:pt>
                <c:pt idx="5">
                  <c:v>Jun</c:v>
                </c:pt>
                <c:pt idx="6">
                  <c:v>July</c:v>
                </c:pt>
                <c:pt idx="7">
                  <c:v>Aug</c:v>
                </c:pt>
                <c:pt idx="8">
                  <c:v>Sep</c:v>
                </c:pt>
                <c:pt idx="9">
                  <c:v>Oct</c:v>
                </c:pt>
                <c:pt idx="10">
                  <c:v>Nov</c:v>
                </c:pt>
                <c:pt idx="11">
                  <c:v>Dec</c:v>
                </c:pt>
              </c:strCache>
            </c:strRef>
          </c:cat>
          <c:val>
            <c:numRef>
              <c:f>'[Issue Log EU_oils.xlsx]Arkusz2'!$B$138:$M$138</c:f>
              <c:numCache>
                <c:formatCode>General</c:formatCode>
                <c:ptCount val="12"/>
                <c:pt idx="0">
                  <c:v>5</c:v>
                </c:pt>
                <c:pt idx="1">
                  <c:v>11</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0-83E1-4251-9130-39151D7B668D}"/>
            </c:ext>
          </c:extLst>
        </c:ser>
        <c:ser>
          <c:idx val="1"/>
          <c:order val="1"/>
          <c:tx>
            <c:strRef>
              <c:f>'[Issue Log EU_oils.xlsx]Arkusz2'!$A$139</c:f>
              <c:strCache>
                <c:ptCount val="1"/>
                <c:pt idx="0">
                  <c:v>Supplier</c:v>
                </c:pt>
              </c:strCache>
            </c:strRef>
          </c:tx>
          <c:spPr>
            <a:solidFill>
              <a:schemeClr val="accent2"/>
            </a:solidFill>
            <a:ln>
              <a:noFill/>
            </a:ln>
            <a:effectLst/>
          </c:spPr>
          <c:invertIfNegative val="0"/>
          <c:cat>
            <c:strRef>
              <c:f>'[Issue Log EU_oils.xlsx]Arkusz2'!$B$137:$M$137</c:f>
              <c:strCache>
                <c:ptCount val="12"/>
                <c:pt idx="0">
                  <c:v>Jan</c:v>
                </c:pt>
                <c:pt idx="1">
                  <c:v>Feb</c:v>
                </c:pt>
                <c:pt idx="2">
                  <c:v>Mar</c:v>
                </c:pt>
                <c:pt idx="3">
                  <c:v>Apr</c:v>
                </c:pt>
                <c:pt idx="4">
                  <c:v>May</c:v>
                </c:pt>
                <c:pt idx="5">
                  <c:v>Jun</c:v>
                </c:pt>
                <c:pt idx="6">
                  <c:v>July</c:v>
                </c:pt>
                <c:pt idx="7">
                  <c:v>Aug</c:v>
                </c:pt>
                <c:pt idx="8">
                  <c:v>Sep</c:v>
                </c:pt>
                <c:pt idx="9">
                  <c:v>Oct</c:v>
                </c:pt>
                <c:pt idx="10">
                  <c:v>Nov</c:v>
                </c:pt>
                <c:pt idx="11">
                  <c:v>Dec</c:v>
                </c:pt>
              </c:strCache>
            </c:strRef>
          </c:cat>
          <c:val>
            <c:numRef>
              <c:f>'[Issue Log EU_oils.xlsx]Arkusz2'!$B$139:$M$139</c:f>
              <c:numCache>
                <c:formatCode>General</c:formatCode>
                <c:ptCount val="12"/>
                <c:pt idx="0">
                  <c:v>0</c:v>
                </c:pt>
                <c:pt idx="1">
                  <c:v>0</c:v>
                </c:pt>
                <c:pt idx="2">
                  <c:v>0</c:v>
                </c:pt>
                <c:pt idx="3">
                  <c:v>7</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1-83E1-4251-9130-39151D7B668D}"/>
            </c:ext>
          </c:extLst>
        </c:ser>
        <c:ser>
          <c:idx val="2"/>
          <c:order val="2"/>
          <c:tx>
            <c:strRef>
              <c:f>'[Issue Log EU_oils.xlsx]Arkusz2'!$A$140</c:f>
              <c:strCache>
                <c:ptCount val="1"/>
                <c:pt idx="0">
                  <c:v>Mixed</c:v>
                </c:pt>
              </c:strCache>
            </c:strRef>
          </c:tx>
          <c:spPr>
            <a:solidFill>
              <a:schemeClr val="accent3"/>
            </a:solidFill>
            <a:ln>
              <a:noFill/>
            </a:ln>
            <a:effectLst/>
          </c:spPr>
          <c:invertIfNegative val="0"/>
          <c:cat>
            <c:strRef>
              <c:f>'[Issue Log EU_oils.xlsx]Arkusz2'!$B$137:$M$137</c:f>
              <c:strCache>
                <c:ptCount val="12"/>
                <c:pt idx="0">
                  <c:v>Jan</c:v>
                </c:pt>
                <c:pt idx="1">
                  <c:v>Feb</c:v>
                </c:pt>
                <c:pt idx="2">
                  <c:v>Mar</c:v>
                </c:pt>
                <c:pt idx="3">
                  <c:v>Apr</c:v>
                </c:pt>
                <c:pt idx="4">
                  <c:v>May</c:v>
                </c:pt>
                <c:pt idx="5">
                  <c:v>Jun</c:v>
                </c:pt>
                <c:pt idx="6">
                  <c:v>July</c:v>
                </c:pt>
                <c:pt idx="7">
                  <c:v>Aug</c:v>
                </c:pt>
                <c:pt idx="8">
                  <c:v>Sep</c:v>
                </c:pt>
                <c:pt idx="9">
                  <c:v>Oct</c:v>
                </c:pt>
                <c:pt idx="10">
                  <c:v>Nov</c:v>
                </c:pt>
                <c:pt idx="11">
                  <c:v>Dec</c:v>
                </c:pt>
              </c:strCache>
            </c:strRef>
          </c:cat>
          <c:val>
            <c:numRef>
              <c:f>'[Issue Log EU_oils.xlsx]Arkusz2'!$B$140:$M$140</c:f>
              <c:numCache>
                <c:formatCode>General</c:formatCode>
                <c:ptCount val="12"/>
                <c:pt idx="0">
                  <c:v>0</c:v>
                </c:pt>
                <c:pt idx="1">
                  <c:v>7</c:v>
                </c:pt>
                <c:pt idx="2">
                  <c:v>0</c:v>
                </c:pt>
                <c:pt idx="3">
                  <c:v>2</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2-83E1-4251-9130-39151D7B668D}"/>
            </c:ext>
          </c:extLst>
        </c:ser>
        <c:dLbls>
          <c:showLegendKey val="0"/>
          <c:showVal val="0"/>
          <c:showCatName val="0"/>
          <c:showSerName val="0"/>
          <c:showPercent val="0"/>
          <c:showBubbleSize val="0"/>
        </c:dLbls>
        <c:gapWidth val="150"/>
        <c:overlap val="100"/>
        <c:axId val="1636363783"/>
        <c:axId val="392335367"/>
      </c:barChart>
      <c:catAx>
        <c:axId val="16363637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392335367"/>
        <c:crosses val="autoZero"/>
        <c:auto val="1"/>
        <c:lblAlgn val="ctr"/>
        <c:lblOffset val="100"/>
        <c:noMultiLvlLbl val="0"/>
      </c:catAx>
      <c:valAx>
        <c:axId val="39233536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16363637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chart>
  <c:spPr>
    <a:noFill/>
    <a:ln w="9525" cap="flat" cmpd="sng" algn="ctr">
      <a:solidFill>
        <a:schemeClr val="tx1">
          <a:lumMod val="15000"/>
          <a:lumOff val="85000"/>
        </a:schemeClr>
      </a:solidFill>
      <a:round/>
    </a:ln>
    <a:effectLst/>
  </c:spPr>
  <c:txPr>
    <a:bodyPr/>
    <a:lstStyle/>
    <a:p>
      <a:pPr>
        <a:defRPr/>
      </a:pPr>
      <a:endParaRPr lang="pl-P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E8463A5-F906-49A7-B499-83A95627B952}" type="datetimeFigureOut">
              <a:rPr lang="de-DE" smtClean="0"/>
              <a:t>21.10.2024</a:t>
            </a:fld>
            <a:endParaRPr lang="de-D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9210950-6786-45A6-A815-34656C5D99A5}" type="slidenum">
              <a:rPr lang="de-DE" smtClean="0"/>
              <a:t>‹#›</a:t>
            </a:fld>
            <a:endParaRPr lang="de-DE"/>
          </a:p>
        </p:txBody>
      </p:sp>
    </p:spTree>
    <p:extLst>
      <p:ext uri="{BB962C8B-B14F-4D97-AF65-F5344CB8AC3E}">
        <p14:creationId xmlns:p14="http://schemas.microsoft.com/office/powerpoint/2010/main" val="28352235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4.xml"/><Relationship Id="rId4" Type="http://schemas.openxmlformats.org/officeDocument/2006/relationships/image" Target="../media/image25.sv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tiff"/><Relationship Id="rId1" Type="http://schemas.openxmlformats.org/officeDocument/2006/relationships/slideMaster" Target="../slideMasters/slideMaster4.xml"/><Relationship Id="rId4" Type="http://schemas.openxmlformats.org/officeDocument/2006/relationships/image" Target="../media/image25.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4" Type="http://schemas.openxmlformats.org/officeDocument/2006/relationships/image" Target="../media/image2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4.xml"/><Relationship Id="rId4" Type="http://schemas.openxmlformats.org/officeDocument/2006/relationships/image" Target="../media/image25.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4.xml"/><Relationship Id="rId4" Type="http://schemas.openxmlformats.org/officeDocument/2006/relationships/image" Target="../media/image25.svg"/></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4.xml"/><Relationship Id="rId4" Type="http://schemas.openxmlformats.org/officeDocument/2006/relationships/image" Target="../media/image25.sv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3" descr="Upfield-identity-r2-textures-wip10_leaves-main.pn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Rectangle 7"/>
          <p:cNvSpPr/>
          <p:nvPr userDrawn="1"/>
        </p:nvSpPr>
        <p:spPr>
          <a:xfrm>
            <a:off x="2722244" y="1870712"/>
            <a:ext cx="9469756" cy="4987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3189288" y="2931042"/>
            <a:ext cx="8559800" cy="2387600"/>
          </a:xfrm>
        </p:spPr>
        <p:txBody>
          <a:bodyPr anchor="t" anchorCtr="0">
            <a:normAutofit/>
          </a:bodyPr>
          <a:lstStyle>
            <a:lvl1pPr algn="l">
              <a:lnSpc>
                <a:spcPct val="87000"/>
              </a:lnSpc>
              <a:defRPr sz="5000"/>
            </a:lvl1pPr>
          </a:lstStyle>
          <a:p>
            <a:r>
              <a:rPr lang="en-US"/>
              <a:t>Click to edit Master title style</a:t>
            </a:r>
            <a:endParaRPr lang="en-GB"/>
          </a:p>
        </p:txBody>
      </p:sp>
      <p:sp>
        <p:nvSpPr>
          <p:cNvPr id="3" name="Subtitle 2"/>
          <p:cNvSpPr>
            <a:spLocks noGrp="1"/>
          </p:cNvSpPr>
          <p:nvPr>
            <p:ph type="subTitle" idx="1" hasCustomPrompt="1"/>
          </p:nvPr>
        </p:nvSpPr>
        <p:spPr>
          <a:xfrm>
            <a:off x="3189288" y="1977390"/>
            <a:ext cx="8559800" cy="710328"/>
          </a:xfrm>
        </p:spPr>
        <p:txBody>
          <a:bodyPr anchor="b" anchorCtr="0"/>
          <a:lstStyle>
            <a:lvl1pPr marL="0" indent="0" algn="l">
              <a:buNone/>
              <a:defRPr sz="24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GB"/>
          </a:p>
        </p:txBody>
      </p:sp>
      <p:grpSp>
        <p:nvGrpSpPr>
          <p:cNvPr id="10" name="Group 4"/>
          <p:cNvGrpSpPr>
            <a:grpSpLocks noChangeAspect="1"/>
          </p:cNvGrpSpPr>
          <p:nvPr userDrawn="1"/>
        </p:nvGrpSpPr>
        <p:grpSpPr bwMode="auto">
          <a:xfrm>
            <a:off x="5111749" y="5922963"/>
            <a:ext cx="1946274" cy="452437"/>
            <a:chOff x="3220" y="3731"/>
            <a:chExt cx="1226" cy="285"/>
          </a:xfrm>
          <a:solidFill>
            <a:schemeClr val="tx2"/>
          </a:solidFill>
        </p:grpSpPr>
        <p:sp>
          <p:nvSpPr>
            <p:cNvPr id="12" name="Freeform 5"/>
            <p:cNvSpPr>
              <a:spLocks/>
            </p:cNvSpPr>
            <p:nvPr userDrawn="1"/>
          </p:nvSpPr>
          <p:spPr bwMode="auto">
            <a:xfrm>
              <a:off x="3373" y="3731"/>
              <a:ext cx="139" cy="168"/>
            </a:xfrm>
            <a:custGeom>
              <a:avLst/>
              <a:gdLst>
                <a:gd name="T0" fmla="*/ 1877 w 2346"/>
                <a:gd name="T1" fmla="*/ 256 h 2836"/>
                <a:gd name="T2" fmla="*/ 347 w 2346"/>
                <a:gd name="T3" fmla="*/ 732 h 2836"/>
                <a:gd name="T4" fmla="*/ 198 w 2346"/>
                <a:gd name="T5" fmla="*/ 2836 h 2836"/>
                <a:gd name="T6" fmla="*/ 1952 w 2346"/>
                <a:gd name="T7" fmla="*/ 1423 h 2836"/>
                <a:gd name="T8" fmla="*/ 1877 w 2346"/>
                <a:gd name="T9" fmla="*/ 256 h 2836"/>
              </a:gdLst>
              <a:ahLst/>
              <a:cxnLst>
                <a:cxn ang="0">
                  <a:pos x="T0" y="T1"/>
                </a:cxn>
                <a:cxn ang="0">
                  <a:pos x="T2" y="T3"/>
                </a:cxn>
                <a:cxn ang="0">
                  <a:pos x="T4" y="T5"/>
                </a:cxn>
                <a:cxn ang="0">
                  <a:pos x="T6" y="T7"/>
                </a:cxn>
                <a:cxn ang="0">
                  <a:pos x="T8" y="T9"/>
                </a:cxn>
              </a:cxnLst>
              <a:rect l="0" t="0" r="r" b="b"/>
              <a:pathLst>
                <a:path w="2346" h="2836">
                  <a:moveTo>
                    <a:pt x="1877" y="256"/>
                  </a:moveTo>
                  <a:cubicBezTo>
                    <a:pt x="1440" y="0"/>
                    <a:pt x="754" y="116"/>
                    <a:pt x="347" y="732"/>
                  </a:cubicBezTo>
                  <a:cubicBezTo>
                    <a:pt x="0" y="1257"/>
                    <a:pt x="25" y="2110"/>
                    <a:pt x="198" y="2836"/>
                  </a:cubicBezTo>
                  <a:cubicBezTo>
                    <a:pt x="553" y="1921"/>
                    <a:pt x="1522" y="1777"/>
                    <a:pt x="1952" y="1423"/>
                  </a:cubicBezTo>
                  <a:cubicBezTo>
                    <a:pt x="2346" y="1097"/>
                    <a:pt x="2320" y="515"/>
                    <a:pt x="1877"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3391" y="3857"/>
              <a:ext cx="97" cy="74"/>
            </a:xfrm>
            <a:custGeom>
              <a:avLst/>
              <a:gdLst>
                <a:gd name="T0" fmla="*/ 399 w 1646"/>
                <a:gd name="T1" fmla="*/ 1221 h 1246"/>
                <a:gd name="T2" fmla="*/ 1232 w 1646"/>
                <a:gd name="T3" fmla="*/ 946 h 1246"/>
                <a:gd name="T4" fmla="*/ 1558 w 1646"/>
                <a:gd name="T5" fmla="*/ 281 h 1246"/>
                <a:gd name="T6" fmla="*/ 866 w 1646"/>
                <a:gd name="T7" fmla="*/ 167 h 1246"/>
                <a:gd name="T8" fmla="*/ 135 w 1646"/>
                <a:gd name="T9" fmla="*/ 812 h 1246"/>
                <a:gd name="T10" fmla="*/ 45 w 1646"/>
                <a:gd name="T11" fmla="*/ 1146 h 1246"/>
                <a:gd name="T12" fmla="*/ 399 w 1646"/>
                <a:gd name="T13" fmla="*/ 1221 h 1246"/>
              </a:gdLst>
              <a:ahLst/>
              <a:cxnLst>
                <a:cxn ang="0">
                  <a:pos x="T0" y="T1"/>
                </a:cxn>
                <a:cxn ang="0">
                  <a:pos x="T2" y="T3"/>
                </a:cxn>
                <a:cxn ang="0">
                  <a:pos x="T4" y="T5"/>
                </a:cxn>
                <a:cxn ang="0">
                  <a:pos x="T6" y="T7"/>
                </a:cxn>
                <a:cxn ang="0">
                  <a:pos x="T8" y="T9"/>
                </a:cxn>
                <a:cxn ang="0">
                  <a:pos x="T10" y="T11"/>
                </a:cxn>
                <a:cxn ang="0">
                  <a:pos x="T12" y="T13"/>
                </a:cxn>
              </a:cxnLst>
              <a:rect l="0" t="0" r="r" b="b"/>
              <a:pathLst>
                <a:path w="1646" h="1246">
                  <a:moveTo>
                    <a:pt x="399" y="1221"/>
                  </a:moveTo>
                  <a:cubicBezTo>
                    <a:pt x="630" y="1195"/>
                    <a:pt x="954" y="1100"/>
                    <a:pt x="1232" y="946"/>
                  </a:cubicBezTo>
                  <a:cubicBezTo>
                    <a:pt x="1630" y="726"/>
                    <a:pt x="1646" y="459"/>
                    <a:pt x="1558" y="281"/>
                  </a:cubicBezTo>
                  <a:cubicBezTo>
                    <a:pt x="1459" y="81"/>
                    <a:pt x="1189" y="0"/>
                    <a:pt x="866" y="167"/>
                  </a:cubicBezTo>
                  <a:cubicBezTo>
                    <a:pt x="551" y="330"/>
                    <a:pt x="287" y="584"/>
                    <a:pt x="135" y="812"/>
                  </a:cubicBezTo>
                  <a:cubicBezTo>
                    <a:pt x="35" y="964"/>
                    <a:pt x="0" y="1069"/>
                    <a:pt x="45" y="1146"/>
                  </a:cubicBezTo>
                  <a:cubicBezTo>
                    <a:pt x="87" y="1219"/>
                    <a:pt x="183" y="1246"/>
                    <a:pt x="399" y="1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3235" y="3900"/>
              <a:ext cx="262" cy="116"/>
            </a:xfrm>
            <a:custGeom>
              <a:avLst/>
              <a:gdLst>
                <a:gd name="T0" fmla="*/ 647 w 4416"/>
                <a:gd name="T1" fmla="*/ 324 h 1943"/>
                <a:gd name="T2" fmla="*/ 169 w 4416"/>
                <a:gd name="T3" fmla="*/ 777 h 1943"/>
                <a:gd name="T4" fmla="*/ 1941 w 4416"/>
                <a:gd name="T5" fmla="*/ 1906 h 1943"/>
                <a:gd name="T6" fmla="*/ 4416 w 4416"/>
                <a:gd name="T7" fmla="*/ 193 h 1943"/>
                <a:gd name="T8" fmla="*/ 2422 w 4416"/>
                <a:gd name="T9" fmla="*/ 890 h 1943"/>
                <a:gd name="T10" fmla="*/ 647 w 4416"/>
                <a:gd name="T11" fmla="*/ 324 h 1943"/>
              </a:gdLst>
              <a:ahLst/>
              <a:cxnLst>
                <a:cxn ang="0">
                  <a:pos x="T0" y="T1"/>
                </a:cxn>
                <a:cxn ang="0">
                  <a:pos x="T2" y="T3"/>
                </a:cxn>
                <a:cxn ang="0">
                  <a:pos x="T4" y="T5"/>
                </a:cxn>
                <a:cxn ang="0">
                  <a:pos x="T6" y="T7"/>
                </a:cxn>
                <a:cxn ang="0">
                  <a:pos x="T8" y="T9"/>
                </a:cxn>
                <a:cxn ang="0">
                  <a:pos x="T10" y="T11"/>
                </a:cxn>
              </a:cxnLst>
              <a:rect l="0" t="0" r="r" b="b"/>
              <a:pathLst>
                <a:path w="4416" h="1943">
                  <a:moveTo>
                    <a:pt x="647" y="324"/>
                  </a:moveTo>
                  <a:cubicBezTo>
                    <a:pt x="160" y="0"/>
                    <a:pt x="0" y="335"/>
                    <a:pt x="169" y="777"/>
                  </a:cubicBezTo>
                  <a:cubicBezTo>
                    <a:pt x="423" y="1444"/>
                    <a:pt x="1102" y="1881"/>
                    <a:pt x="1941" y="1906"/>
                  </a:cubicBezTo>
                  <a:cubicBezTo>
                    <a:pt x="3194" y="1943"/>
                    <a:pt x="4101" y="1092"/>
                    <a:pt x="4416" y="193"/>
                  </a:cubicBezTo>
                  <a:cubicBezTo>
                    <a:pt x="4014" y="567"/>
                    <a:pt x="3326" y="913"/>
                    <a:pt x="2422" y="890"/>
                  </a:cubicBezTo>
                  <a:cubicBezTo>
                    <a:pt x="1832" y="875"/>
                    <a:pt x="1221" y="707"/>
                    <a:pt x="647"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3220" y="3747"/>
              <a:ext cx="147" cy="178"/>
            </a:xfrm>
            <a:custGeom>
              <a:avLst/>
              <a:gdLst>
                <a:gd name="T0" fmla="*/ 1220 w 2480"/>
                <a:gd name="T1" fmla="*/ 1524 h 3000"/>
                <a:gd name="T2" fmla="*/ 2475 w 2480"/>
                <a:gd name="T3" fmla="*/ 2898 h 3000"/>
                <a:gd name="T4" fmla="*/ 2085 w 2480"/>
                <a:gd name="T5" fmla="*/ 1226 h 3000"/>
                <a:gd name="T6" fmla="*/ 429 w 2480"/>
                <a:gd name="T7" fmla="*/ 314 h 3000"/>
                <a:gd name="T8" fmla="*/ 824 w 2480"/>
                <a:gd name="T9" fmla="*/ 2169 h 3000"/>
                <a:gd name="T10" fmla="*/ 2161 w 2480"/>
                <a:gd name="T11" fmla="*/ 3000 h 3000"/>
                <a:gd name="T12" fmla="*/ 1176 w 2480"/>
                <a:gd name="T13" fmla="*/ 1537 h 3000"/>
                <a:gd name="T14" fmla="*/ 1220 w 2480"/>
                <a:gd name="T15" fmla="*/ 1524 h 3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0" h="3000">
                  <a:moveTo>
                    <a:pt x="1220" y="1524"/>
                  </a:moveTo>
                  <a:cubicBezTo>
                    <a:pt x="1665" y="2130"/>
                    <a:pt x="2113" y="2617"/>
                    <a:pt x="2475" y="2898"/>
                  </a:cubicBezTo>
                  <a:cubicBezTo>
                    <a:pt x="2480" y="2419"/>
                    <a:pt x="2337" y="1683"/>
                    <a:pt x="2085" y="1226"/>
                  </a:cubicBezTo>
                  <a:cubicBezTo>
                    <a:pt x="1579" y="311"/>
                    <a:pt x="828" y="0"/>
                    <a:pt x="429" y="314"/>
                  </a:cubicBezTo>
                  <a:cubicBezTo>
                    <a:pt x="0" y="652"/>
                    <a:pt x="256" y="1559"/>
                    <a:pt x="824" y="2169"/>
                  </a:cubicBezTo>
                  <a:cubicBezTo>
                    <a:pt x="1260" y="2638"/>
                    <a:pt x="1766" y="2907"/>
                    <a:pt x="2161" y="3000"/>
                  </a:cubicBezTo>
                  <a:cubicBezTo>
                    <a:pt x="1749" y="2664"/>
                    <a:pt x="1295" y="1923"/>
                    <a:pt x="1176" y="1537"/>
                  </a:cubicBezTo>
                  <a:cubicBezTo>
                    <a:pt x="1156" y="1470"/>
                    <a:pt x="1182" y="1471"/>
                    <a:pt x="1220" y="15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4259" y="3774"/>
              <a:ext cx="128" cy="189"/>
            </a:xfrm>
            <a:custGeom>
              <a:avLst/>
              <a:gdLst>
                <a:gd name="T0" fmla="*/ 1678 w 2160"/>
                <a:gd name="T1" fmla="*/ 0 h 3187"/>
                <a:gd name="T2" fmla="*/ 1678 w 2160"/>
                <a:gd name="T3" fmla="*/ 1237 h 3187"/>
                <a:gd name="T4" fmla="*/ 1030 w 2160"/>
                <a:gd name="T5" fmla="*/ 986 h 3187"/>
                <a:gd name="T6" fmla="*/ 0 w 2160"/>
                <a:gd name="T7" fmla="*/ 2089 h 3187"/>
                <a:gd name="T8" fmla="*/ 1030 w 2160"/>
                <a:gd name="T9" fmla="*/ 3187 h 3187"/>
                <a:gd name="T10" fmla="*/ 1703 w 2160"/>
                <a:gd name="T11" fmla="*/ 2910 h 3187"/>
                <a:gd name="T12" fmla="*/ 1743 w 2160"/>
                <a:gd name="T13" fmla="*/ 3142 h 3187"/>
                <a:gd name="T14" fmla="*/ 2160 w 2160"/>
                <a:gd name="T15" fmla="*/ 3142 h 3187"/>
                <a:gd name="T16" fmla="*/ 2160 w 2160"/>
                <a:gd name="T17" fmla="*/ 0 h 3187"/>
                <a:gd name="T18" fmla="*/ 1678 w 2160"/>
                <a:gd name="T19" fmla="*/ 0 h 3187"/>
                <a:gd name="T20" fmla="*/ 1093 w 2160"/>
                <a:gd name="T21" fmla="*/ 2751 h 3187"/>
                <a:gd name="T22" fmla="*/ 482 w 2160"/>
                <a:gd name="T23" fmla="*/ 2089 h 3187"/>
                <a:gd name="T24" fmla="*/ 1093 w 2160"/>
                <a:gd name="T25" fmla="*/ 1422 h 3187"/>
                <a:gd name="T26" fmla="*/ 1710 w 2160"/>
                <a:gd name="T27" fmla="*/ 2089 h 3187"/>
                <a:gd name="T28" fmla="*/ 1093 w 2160"/>
                <a:gd name="T29" fmla="*/ 275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0" h="3187">
                  <a:moveTo>
                    <a:pt x="1678" y="0"/>
                  </a:moveTo>
                  <a:cubicBezTo>
                    <a:pt x="1678" y="1237"/>
                    <a:pt x="1678" y="1237"/>
                    <a:pt x="1678" y="1237"/>
                  </a:cubicBezTo>
                  <a:cubicBezTo>
                    <a:pt x="1514" y="1072"/>
                    <a:pt x="1284" y="986"/>
                    <a:pt x="1030" y="986"/>
                  </a:cubicBezTo>
                  <a:cubicBezTo>
                    <a:pt x="443" y="986"/>
                    <a:pt x="0" y="1460"/>
                    <a:pt x="0" y="2089"/>
                  </a:cubicBezTo>
                  <a:cubicBezTo>
                    <a:pt x="0" y="2715"/>
                    <a:pt x="443" y="3187"/>
                    <a:pt x="1030" y="3187"/>
                  </a:cubicBezTo>
                  <a:cubicBezTo>
                    <a:pt x="1297" y="3187"/>
                    <a:pt x="1536" y="3093"/>
                    <a:pt x="1703" y="2910"/>
                  </a:cubicBezTo>
                  <a:cubicBezTo>
                    <a:pt x="1743" y="3142"/>
                    <a:pt x="1743" y="3142"/>
                    <a:pt x="1743" y="3142"/>
                  </a:cubicBezTo>
                  <a:cubicBezTo>
                    <a:pt x="2160" y="3142"/>
                    <a:pt x="2160" y="3142"/>
                    <a:pt x="2160" y="3142"/>
                  </a:cubicBezTo>
                  <a:cubicBezTo>
                    <a:pt x="2160" y="0"/>
                    <a:pt x="2160" y="0"/>
                    <a:pt x="2160" y="0"/>
                  </a:cubicBezTo>
                  <a:lnTo>
                    <a:pt x="1678" y="0"/>
                  </a:lnTo>
                  <a:close/>
                  <a:moveTo>
                    <a:pt x="1093" y="2751"/>
                  </a:moveTo>
                  <a:cubicBezTo>
                    <a:pt x="745" y="2751"/>
                    <a:pt x="482" y="2466"/>
                    <a:pt x="482" y="2089"/>
                  </a:cubicBezTo>
                  <a:cubicBezTo>
                    <a:pt x="482" y="1709"/>
                    <a:pt x="745" y="1422"/>
                    <a:pt x="1093" y="1422"/>
                  </a:cubicBezTo>
                  <a:cubicBezTo>
                    <a:pt x="1445" y="1422"/>
                    <a:pt x="1710" y="1709"/>
                    <a:pt x="1710" y="2089"/>
                  </a:cubicBezTo>
                  <a:cubicBezTo>
                    <a:pt x="1710" y="2466"/>
                    <a:pt x="1445" y="2751"/>
                    <a:pt x="1093" y="27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noEditPoints="1"/>
            </p:cNvSpPr>
            <p:nvPr userDrawn="1"/>
          </p:nvSpPr>
          <p:spPr bwMode="auto">
            <a:xfrm>
              <a:off x="3769" y="3832"/>
              <a:ext cx="128" cy="182"/>
            </a:xfrm>
            <a:custGeom>
              <a:avLst/>
              <a:gdLst>
                <a:gd name="T0" fmla="*/ 482 w 2161"/>
                <a:gd name="T1" fmla="*/ 1949 h 3066"/>
                <a:gd name="T2" fmla="*/ 1131 w 2161"/>
                <a:gd name="T3" fmla="*/ 2202 h 3066"/>
                <a:gd name="T4" fmla="*/ 2161 w 2161"/>
                <a:gd name="T5" fmla="*/ 1099 h 3066"/>
                <a:gd name="T6" fmla="*/ 1131 w 2161"/>
                <a:gd name="T7" fmla="*/ 0 h 3066"/>
                <a:gd name="T8" fmla="*/ 457 w 2161"/>
                <a:gd name="T9" fmla="*/ 280 h 3066"/>
                <a:gd name="T10" fmla="*/ 418 w 2161"/>
                <a:gd name="T11" fmla="*/ 46 h 3066"/>
                <a:gd name="T12" fmla="*/ 0 w 2161"/>
                <a:gd name="T13" fmla="*/ 46 h 3066"/>
                <a:gd name="T14" fmla="*/ 0 w 2161"/>
                <a:gd name="T15" fmla="*/ 3066 h 3066"/>
                <a:gd name="T16" fmla="*/ 482 w 2161"/>
                <a:gd name="T17" fmla="*/ 3066 h 3066"/>
                <a:gd name="T18" fmla="*/ 482 w 2161"/>
                <a:gd name="T19" fmla="*/ 1949 h 3066"/>
                <a:gd name="T20" fmla="*/ 450 w 2161"/>
                <a:gd name="T21" fmla="*/ 1099 h 3066"/>
                <a:gd name="T22" fmla="*/ 1067 w 2161"/>
                <a:gd name="T23" fmla="*/ 437 h 3066"/>
                <a:gd name="T24" fmla="*/ 1679 w 2161"/>
                <a:gd name="T25" fmla="*/ 1099 h 3066"/>
                <a:gd name="T26" fmla="*/ 1067 w 2161"/>
                <a:gd name="T27" fmla="*/ 1765 h 3066"/>
                <a:gd name="T28" fmla="*/ 450 w 2161"/>
                <a:gd name="T29" fmla="*/ 1099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1" h="3066">
                  <a:moveTo>
                    <a:pt x="482" y="1949"/>
                  </a:moveTo>
                  <a:cubicBezTo>
                    <a:pt x="648" y="2119"/>
                    <a:pt x="880" y="2202"/>
                    <a:pt x="1131" y="2202"/>
                  </a:cubicBezTo>
                  <a:cubicBezTo>
                    <a:pt x="1718" y="2202"/>
                    <a:pt x="2161" y="1728"/>
                    <a:pt x="2161" y="1099"/>
                  </a:cubicBezTo>
                  <a:cubicBezTo>
                    <a:pt x="2161" y="473"/>
                    <a:pt x="1718" y="0"/>
                    <a:pt x="1131" y="0"/>
                  </a:cubicBezTo>
                  <a:cubicBezTo>
                    <a:pt x="870" y="0"/>
                    <a:pt x="626" y="90"/>
                    <a:pt x="457" y="280"/>
                  </a:cubicBezTo>
                  <a:cubicBezTo>
                    <a:pt x="418" y="46"/>
                    <a:pt x="418" y="46"/>
                    <a:pt x="418" y="46"/>
                  </a:cubicBezTo>
                  <a:cubicBezTo>
                    <a:pt x="0" y="46"/>
                    <a:pt x="0" y="46"/>
                    <a:pt x="0" y="46"/>
                  </a:cubicBezTo>
                  <a:cubicBezTo>
                    <a:pt x="0" y="3066"/>
                    <a:pt x="0" y="3066"/>
                    <a:pt x="0" y="3066"/>
                  </a:cubicBezTo>
                  <a:cubicBezTo>
                    <a:pt x="482" y="3066"/>
                    <a:pt x="482" y="3066"/>
                    <a:pt x="482" y="3066"/>
                  </a:cubicBezTo>
                  <a:lnTo>
                    <a:pt x="482" y="1949"/>
                  </a:lnTo>
                  <a:close/>
                  <a:moveTo>
                    <a:pt x="450" y="1099"/>
                  </a:moveTo>
                  <a:cubicBezTo>
                    <a:pt x="450" y="722"/>
                    <a:pt x="715" y="437"/>
                    <a:pt x="1067" y="437"/>
                  </a:cubicBezTo>
                  <a:cubicBezTo>
                    <a:pt x="1416" y="437"/>
                    <a:pt x="1679" y="722"/>
                    <a:pt x="1679" y="1099"/>
                  </a:cubicBezTo>
                  <a:cubicBezTo>
                    <a:pt x="1679" y="1479"/>
                    <a:pt x="1416" y="1765"/>
                    <a:pt x="1067" y="1765"/>
                  </a:cubicBezTo>
                  <a:cubicBezTo>
                    <a:pt x="715" y="1765"/>
                    <a:pt x="450" y="1479"/>
                    <a:pt x="450" y="10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3587" y="3774"/>
              <a:ext cx="153" cy="189"/>
            </a:xfrm>
            <a:custGeom>
              <a:avLst/>
              <a:gdLst>
                <a:gd name="T0" fmla="*/ 2585 w 2585"/>
                <a:gd name="T1" fmla="*/ 0 h 3187"/>
                <a:gd name="T2" fmla="*/ 2085 w 2585"/>
                <a:gd name="T3" fmla="*/ 0 h 3187"/>
                <a:gd name="T4" fmla="*/ 2085 w 2585"/>
                <a:gd name="T5" fmla="*/ 1889 h 3187"/>
                <a:gd name="T6" fmla="*/ 1290 w 2585"/>
                <a:gd name="T7" fmla="*/ 2724 h 3187"/>
                <a:gd name="T8" fmla="*/ 500 w 2585"/>
                <a:gd name="T9" fmla="*/ 1889 h 3187"/>
                <a:gd name="T10" fmla="*/ 500 w 2585"/>
                <a:gd name="T11" fmla="*/ 0 h 3187"/>
                <a:gd name="T12" fmla="*/ 0 w 2585"/>
                <a:gd name="T13" fmla="*/ 0 h 3187"/>
                <a:gd name="T14" fmla="*/ 0 w 2585"/>
                <a:gd name="T15" fmla="*/ 1898 h 3187"/>
                <a:gd name="T16" fmla="*/ 1290 w 2585"/>
                <a:gd name="T17" fmla="*/ 3187 h 3187"/>
                <a:gd name="T18" fmla="*/ 2585 w 2585"/>
                <a:gd name="T19" fmla="*/ 1898 h 3187"/>
                <a:gd name="T20" fmla="*/ 2585 w 2585"/>
                <a:gd name="T21" fmla="*/ 0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5" h="3187">
                  <a:moveTo>
                    <a:pt x="2585" y="0"/>
                  </a:moveTo>
                  <a:cubicBezTo>
                    <a:pt x="2085" y="0"/>
                    <a:pt x="2085" y="0"/>
                    <a:pt x="2085" y="0"/>
                  </a:cubicBezTo>
                  <a:cubicBezTo>
                    <a:pt x="2085" y="1889"/>
                    <a:pt x="2085" y="1889"/>
                    <a:pt x="2085" y="1889"/>
                  </a:cubicBezTo>
                  <a:cubicBezTo>
                    <a:pt x="2085" y="2420"/>
                    <a:pt x="1740" y="2724"/>
                    <a:pt x="1290" y="2724"/>
                  </a:cubicBezTo>
                  <a:cubicBezTo>
                    <a:pt x="841" y="2724"/>
                    <a:pt x="500" y="2420"/>
                    <a:pt x="500" y="1889"/>
                  </a:cubicBezTo>
                  <a:cubicBezTo>
                    <a:pt x="500" y="0"/>
                    <a:pt x="500" y="0"/>
                    <a:pt x="500" y="0"/>
                  </a:cubicBezTo>
                  <a:cubicBezTo>
                    <a:pt x="0" y="0"/>
                    <a:pt x="0" y="0"/>
                    <a:pt x="0" y="0"/>
                  </a:cubicBezTo>
                  <a:cubicBezTo>
                    <a:pt x="0" y="1898"/>
                    <a:pt x="0" y="1898"/>
                    <a:pt x="0" y="1898"/>
                  </a:cubicBezTo>
                  <a:cubicBezTo>
                    <a:pt x="0" y="2693"/>
                    <a:pt x="545" y="3187"/>
                    <a:pt x="1290" y="3187"/>
                  </a:cubicBezTo>
                  <a:cubicBezTo>
                    <a:pt x="2024" y="3187"/>
                    <a:pt x="2585" y="2681"/>
                    <a:pt x="2585" y="1898"/>
                  </a:cubicBezTo>
                  <a:lnTo>
                    <a:pt x="25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2"/>
            <p:cNvSpPr>
              <a:spLocks noChangeArrowheads="1"/>
            </p:cNvSpPr>
            <p:nvPr userDrawn="1"/>
          </p:nvSpPr>
          <p:spPr bwMode="auto">
            <a:xfrm>
              <a:off x="4205" y="3774"/>
              <a:ext cx="29" cy="18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noEditPoints="1"/>
            </p:cNvSpPr>
            <p:nvPr userDrawn="1"/>
          </p:nvSpPr>
          <p:spPr bwMode="auto">
            <a:xfrm>
              <a:off x="4063" y="3832"/>
              <a:ext cx="117" cy="131"/>
            </a:xfrm>
            <a:custGeom>
              <a:avLst/>
              <a:gdLst>
                <a:gd name="T0" fmla="*/ 1724 w 1970"/>
                <a:gd name="T1" fmla="*/ 208 h 2200"/>
                <a:gd name="T2" fmla="*/ 1068 w 1970"/>
                <a:gd name="T3" fmla="*/ 0 h 2200"/>
                <a:gd name="T4" fmla="*/ 0 w 1970"/>
                <a:gd name="T5" fmla="*/ 1111 h 2200"/>
                <a:gd name="T6" fmla="*/ 1098 w 1970"/>
                <a:gd name="T7" fmla="*/ 2200 h 2200"/>
                <a:gd name="T8" fmla="*/ 1970 w 1970"/>
                <a:gd name="T9" fmla="*/ 1850 h 2200"/>
                <a:gd name="T10" fmla="*/ 1679 w 1970"/>
                <a:gd name="T11" fmla="*/ 1530 h 2200"/>
                <a:gd name="T12" fmla="*/ 1099 w 1970"/>
                <a:gd name="T13" fmla="*/ 1776 h 2200"/>
                <a:gd name="T14" fmla="*/ 480 w 1970"/>
                <a:gd name="T15" fmla="*/ 1290 h 2200"/>
                <a:gd name="T16" fmla="*/ 1038 w 1970"/>
                <a:gd name="T17" fmla="*/ 1382 h 2200"/>
                <a:gd name="T18" fmla="*/ 1965 w 1970"/>
                <a:gd name="T19" fmla="*/ 728 h 2200"/>
                <a:gd name="T20" fmla="*/ 1724 w 1970"/>
                <a:gd name="T21" fmla="*/ 208 h 2200"/>
                <a:gd name="T22" fmla="*/ 1000 w 1970"/>
                <a:gd name="T23" fmla="*/ 987 h 2200"/>
                <a:gd name="T24" fmla="*/ 983 w 1970"/>
                <a:gd name="T25" fmla="*/ 987 h 2200"/>
                <a:gd name="T26" fmla="*/ 488 w 1970"/>
                <a:gd name="T27" fmla="*/ 915 h 2200"/>
                <a:gd name="T28" fmla="*/ 1055 w 1970"/>
                <a:gd name="T29" fmla="*/ 427 h 2200"/>
                <a:gd name="T30" fmla="*/ 1057 w 1970"/>
                <a:gd name="T31" fmla="*/ 427 h 2200"/>
                <a:gd name="T32" fmla="*/ 1482 w 1970"/>
                <a:gd name="T33" fmla="*/ 713 h 2200"/>
                <a:gd name="T34" fmla="*/ 1000 w 1970"/>
                <a:gd name="T35" fmla="*/ 98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0" h="2200">
                  <a:moveTo>
                    <a:pt x="1724" y="208"/>
                  </a:moveTo>
                  <a:cubicBezTo>
                    <a:pt x="1561" y="72"/>
                    <a:pt x="1334" y="0"/>
                    <a:pt x="1068" y="0"/>
                  </a:cubicBezTo>
                  <a:cubicBezTo>
                    <a:pt x="550" y="0"/>
                    <a:pt x="0" y="389"/>
                    <a:pt x="0" y="1111"/>
                  </a:cubicBezTo>
                  <a:cubicBezTo>
                    <a:pt x="0" y="1773"/>
                    <a:pt x="431" y="2200"/>
                    <a:pt x="1098" y="2200"/>
                  </a:cubicBezTo>
                  <a:cubicBezTo>
                    <a:pt x="1452" y="2200"/>
                    <a:pt x="1721" y="2092"/>
                    <a:pt x="1970" y="1850"/>
                  </a:cubicBezTo>
                  <a:cubicBezTo>
                    <a:pt x="1679" y="1530"/>
                    <a:pt x="1679" y="1530"/>
                    <a:pt x="1679" y="1530"/>
                  </a:cubicBezTo>
                  <a:cubicBezTo>
                    <a:pt x="1510" y="1695"/>
                    <a:pt x="1320" y="1776"/>
                    <a:pt x="1099" y="1776"/>
                  </a:cubicBezTo>
                  <a:cubicBezTo>
                    <a:pt x="767" y="1776"/>
                    <a:pt x="524" y="1578"/>
                    <a:pt x="480" y="1290"/>
                  </a:cubicBezTo>
                  <a:cubicBezTo>
                    <a:pt x="658" y="1356"/>
                    <a:pt x="854" y="1382"/>
                    <a:pt x="1038" y="1382"/>
                  </a:cubicBezTo>
                  <a:cubicBezTo>
                    <a:pt x="1619" y="1382"/>
                    <a:pt x="1965" y="1138"/>
                    <a:pt x="1965" y="728"/>
                  </a:cubicBezTo>
                  <a:cubicBezTo>
                    <a:pt x="1965" y="523"/>
                    <a:pt x="1879" y="339"/>
                    <a:pt x="1724" y="208"/>
                  </a:cubicBezTo>
                  <a:close/>
                  <a:moveTo>
                    <a:pt x="1000" y="987"/>
                  </a:moveTo>
                  <a:cubicBezTo>
                    <a:pt x="994" y="987"/>
                    <a:pt x="989" y="987"/>
                    <a:pt x="983" y="987"/>
                  </a:cubicBezTo>
                  <a:cubicBezTo>
                    <a:pt x="809" y="987"/>
                    <a:pt x="620" y="961"/>
                    <a:pt x="488" y="915"/>
                  </a:cubicBezTo>
                  <a:cubicBezTo>
                    <a:pt x="536" y="633"/>
                    <a:pt x="768" y="427"/>
                    <a:pt x="1055" y="427"/>
                  </a:cubicBezTo>
                  <a:cubicBezTo>
                    <a:pt x="1057" y="427"/>
                    <a:pt x="1057" y="427"/>
                    <a:pt x="1057" y="427"/>
                  </a:cubicBezTo>
                  <a:cubicBezTo>
                    <a:pt x="1311" y="427"/>
                    <a:pt x="1482" y="542"/>
                    <a:pt x="1482" y="713"/>
                  </a:cubicBezTo>
                  <a:cubicBezTo>
                    <a:pt x="1482" y="892"/>
                    <a:pt x="1320" y="984"/>
                    <a:pt x="1000" y="9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14"/>
            <p:cNvSpPr>
              <a:spLocks noChangeArrowheads="1"/>
            </p:cNvSpPr>
            <p:nvPr userDrawn="1"/>
          </p:nvSpPr>
          <p:spPr bwMode="auto">
            <a:xfrm>
              <a:off x="4009" y="3835"/>
              <a:ext cx="29" cy="1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3905" y="3763"/>
              <a:ext cx="132" cy="197"/>
            </a:xfrm>
            <a:custGeom>
              <a:avLst/>
              <a:gdLst>
                <a:gd name="T0" fmla="*/ 1979 w 2223"/>
                <a:gd name="T1" fmla="*/ 261 h 3316"/>
                <a:gd name="T2" fmla="*/ 1320 w 2223"/>
                <a:gd name="T3" fmla="*/ 0 h 3316"/>
                <a:gd name="T4" fmla="*/ 685 w 2223"/>
                <a:gd name="T5" fmla="*/ 256 h 3316"/>
                <a:gd name="T6" fmla="*/ 424 w 2223"/>
                <a:gd name="T7" fmla="*/ 1056 h 3316"/>
                <a:gd name="T8" fmla="*/ 424 w 2223"/>
                <a:gd name="T9" fmla="*/ 1205 h 3316"/>
                <a:gd name="T10" fmla="*/ 0 w 2223"/>
                <a:gd name="T11" fmla="*/ 1205 h 3316"/>
                <a:gd name="T12" fmla="*/ 0 w 2223"/>
                <a:gd name="T13" fmla="*/ 1630 h 3316"/>
                <a:gd name="T14" fmla="*/ 424 w 2223"/>
                <a:gd name="T15" fmla="*/ 1630 h 3316"/>
                <a:gd name="T16" fmla="*/ 424 w 2223"/>
                <a:gd name="T17" fmla="*/ 3316 h 3316"/>
                <a:gd name="T18" fmla="*/ 906 w 2223"/>
                <a:gd name="T19" fmla="*/ 3316 h 3316"/>
                <a:gd name="T20" fmla="*/ 906 w 2223"/>
                <a:gd name="T21" fmla="*/ 1630 h 3316"/>
                <a:gd name="T22" fmla="*/ 1359 w 2223"/>
                <a:gd name="T23" fmla="*/ 1630 h 3316"/>
                <a:gd name="T24" fmla="*/ 1359 w 2223"/>
                <a:gd name="T25" fmla="*/ 1205 h 3316"/>
                <a:gd name="T26" fmla="*/ 906 w 2223"/>
                <a:gd name="T27" fmla="*/ 1205 h 3316"/>
                <a:gd name="T28" fmla="*/ 906 w 2223"/>
                <a:gd name="T29" fmla="*/ 981 h 3316"/>
                <a:gd name="T30" fmla="*/ 1032 w 2223"/>
                <a:gd name="T31" fmla="*/ 553 h 3316"/>
                <a:gd name="T32" fmla="*/ 1329 w 2223"/>
                <a:gd name="T33" fmla="*/ 436 h 3316"/>
                <a:gd name="T34" fmla="*/ 1616 w 2223"/>
                <a:gd name="T35" fmla="*/ 543 h 3316"/>
                <a:gd name="T36" fmla="*/ 1745 w 2223"/>
                <a:gd name="T37" fmla="*/ 821 h 3316"/>
                <a:gd name="T38" fmla="*/ 2223 w 2223"/>
                <a:gd name="T39" fmla="*/ 821 h 3316"/>
                <a:gd name="T40" fmla="*/ 1979 w 2223"/>
                <a:gd name="T41" fmla="*/ 261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23" h="3316">
                  <a:moveTo>
                    <a:pt x="1979" y="261"/>
                  </a:moveTo>
                  <a:cubicBezTo>
                    <a:pt x="1819" y="93"/>
                    <a:pt x="1604" y="0"/>
                    <a:pt x="1320" y="0"/>
                  </a:cubicBezTo>
                  <a:cubicBezTo>
                    <a:pt x="1060" y="0"/>
                    <a:pt x="838" y="94"/>
                    <a:pt x="685" y="256"/>
                  </a:cubicBezTo>
                  <a:cubicBezTo>
                    <a:pt x="498" y="453"/>
                    <a:pt x="424" y="680"/>
                    <a:pt x="424" y="1056"/>
                  </a:cubicBezTo>
                  <a:cubicBezTo>
                    <a:pt x="424" y="1157"/>
                    <a:pt x="424" y="1200"/>
                    <a:pt x="424" y="1205"/>
                  </a:cubicBezTo>
                  <a:cubicBezTo>
                    <a:pt x="0" y="1205"/>
                    <a:pt x="0" y="1205"/>
                    <a:pt x="0" y="1205"/>
                  </a:cubicBezTo>
                  <a:cubicBezTo>
                    <a:pt x="0" y="1630"/>
                    <a:pt x="0" y="1630"/>
                    <a:pt x="0" y="1630"/>
                  </a:cubicBezTo>
                  <a:cubicBezTo>
                    <a:pt x="424" y="1630"/>
                    <a:pt x="424" y="1630"/>
                    <a:pt x="424" y="1630"/>
                  </a:cubicBezTo>
                  <a:cubicBezTo>
                    <a:pt x="424" y="3316"/>
                    <a:pt x="424" y="3316"/>
                    <a:pt x="424" y="3316"/>
                  </a:cubicBezTo>
                  <a:cubicBezTo>
                    <a:pt x="906" y="3316"/>
                    <a:pt x="906" y="3316"/>
                    <a:pt x="906" y="3316"/>
                  </a:cubicBezTo>
                  <a:cubicBezTo>
                    <a:pt x="906" y="1630"/>
                    <a:pt x="906" y="1630"/>
                    <a:pt x="906" y="1630"/>
                  </a:cubicBezTo>
                  <a:cubicBezTo>
                    <a:pt x="1359" y="1630"/>
                    <a:pt x="1359" y="1630"/>
                    <a:pt x="1359" y="1630"/>
                  </a:cubicBezTo>
                  <a:cubicBezTo>
                    <a:pt x="1359" y="1205"/>
                    <a:pt x="1359" y="1205"/>
                    <a:pt x="1359" y="1205"/>
                  </a:cubicBezTo>
                  <a:cubicBezTo>
                    <a:pt x="906" y="1205"/>
                    <a:pt x="906" y="1205"/>
                    <a:pt x="906" y="1205"/>
                  </a:cubicBezTo>
                  <a:cubicBezTo>
                    <a:pt x="906" y="1200"/>
                    <a:pt x="906" y="1014"/>
                    <a:pt x="906" y="981"/>
                  </a:cubicBezTo>
                  <a:cubicBezTo>
                    <a:pt x="906" y="783"/>
                    <a:pt x="930" y="658"/>
                    <a:pt x="1032" y="553"/>
                  </a:cubicBezTo>
                  <a:cubicBezTo>
                    <a:pt x="1100" y="484"/>
                    <a:pt x="1204" y="436"/>
                    <a:pt x="1329" y="436"/>
                  </a:cubicBezTo>
                  <a:cubicBezTo>
                    <a:pt x="1442" y="436"/>
                    <a:pt x="1546" y="475"/>
                    <a:pt x="1616" y="543"/>
                  </a:cubicBezTo>
                  <a:cubicBezTo>
                    <a:pt x="1693" y="618"/>
                    <a:pt x="1732" y="703"/>
                    <a:pt x="1745" y="821"/>
                  </a:cubicBezTo>
                  <a:cubicBezTo>
                    <a:pt x="2223" y="821"/>
                    <a:pt x="2223" y="821"/>
                    <a:pt x="2223" y="821"/>
                  </a:cubicBezTo>
                  <a:cubicBezTo>
                    <a:pt x="2199" y="606"/>
                    <a:pt x="2128" y="418"/>
                    <a:pt x="1979" y="2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
            <p:cNvSpPr>
              <a:spLocks noEditPoints="1"/>
            </p:cNvSpPr>
            <p:nvPr userDrawn="1"/>
          </p:nvSpPr>
          <p:spPr bwMode="auto">
            <a:xfrm>
              <a:off x="4402" y="3774"/>
              <a:ext cx="44" cy="21"/>
            </a:xfrm>
            <a:custGeom>
              <a:avLst/>
              <a:gdLst>
                <a:gd name="T0" fmla="*/ 0 w 44"/>
                <a:gd name="T1" fmla="*/ 3 h 21"/>
                <a:gd name="T2" fmla="*/ 0 w 44"/>
                <a:gd name="T3" fmla="*/ 0 h 21"/>
                <a:gd name="T4" fmla="*/ 18 w 44"/>
                <a:gd name="T5" fmla="*/ 0 h 21"/>
                <a:gd name="T6" fmla="*/ 18 w 44"/>
                <a:gd name="T7" fmla="*/ 3 h 21"/>
                <a:gd name="T8" fmla="*/ 11 w 44"/>
                <a:gd name="T9" fmla="*/ 3 h 21"/>
                <a:gd name="T10" fmla="*/ 11 w 44"/>
                <a:gd name="T11" fmla="*/ 21 h 21"/>
                <a:gd name="T12" fmla="*/ 7 w 44"/>
                <a:gd name="T13" fmla="*/ 21 h 21"/>
                <a:gd name="T14" fmla="*/ 7 w 44"/>
                <a:gd name="T15" fmla="*/ 3 h 21"/>
                <a:gd name="T16" fmla="*/ 0 w 44"/>
                <a:gd name="T17" fmla="*/ 3 h 21"/>
                <a:gd name="T18" fmla="*/ 28 w 44"/>
                <a:gd name="T19" fmla="*/ 0 h 21"/>
                <a:gd name="T20" fmla="*/ 33 w 44"/>
                <a:gd name="T21" fmla="*/ 15 h 21"/>
                <a:gd name="T22" fmla="*/ 38 w 44"/>
                <a:gd name="T23" fmla="*/ 0 h 21"/>
                <a:gd name="T24" fmla="*/ 44 w 44"/>
                <a:gd name="T25" fmla="*/ 0 h 21"/>
                <a:gd name="T26" fmla="*/ 44 w 44"/>
                <a:gd name="T27" fmla="*/ 21 h 21"/>
                <a:gd name="T28" fmla="*/ 40 w 44"/>
                <a:gd name="T29" fmla="*/ 21 h 21"/>
                <a:gd name="T30" fmla="*/ 40 w 44"/>
                <a:gd name="T31" fmla="*/ 4 h 21"/>
                <a:gd name="T32" fmla="*/ 34 w 44"/>
                <a:gd name="T33" fmla="*/ 21 h 21"/>
                <a:gd name="T34" fmla="*/ 31 w 44"/>
                <a:gd name="T35" fmla="*/ 21 h 21"/>
                <a:gd name="T36" fmla="*/ 25 w 44"/>
                <a:gd name="T37" fmla="*/ 4 h 21"/>
                <a:gd name="T38" fmla="*/ 25 w 44"/>
                <a:gd name="T39" fmla="*/ 21 h 21"/>
                <a:gd name="T40" fmla="*/ 22 w 44"/>
                <a:gd name="T41" fmla="*/ 21 h 21"/>
                <a:gd name="T42" fmla="*/ 22 w 44"/>
                <a:gd name="T43" fmla="*/ 0 h 21"/>
                <a:gd name="T44" fmla="*/ 28 w 44"/>
                <a:gd name="T4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21">
                  <a:moveTo>
                    <a:pt x="0" y="3"/>
                  </a:moveTo>
                  <a:lnTo>
                    <a:pt x="0" y="0"/>
                  </a:lnTo>
                  <a:lnTo>
                    <a:pt x="18" y="0"/>
                  </a:lnTo>
                  <a:lnTo>
                    <a:pt x="18" y="3"/>
                  </a:lnTo>
                  <a:lnTo>
                    <a:pt x="11" y="3"/>
                  </a:lnTo>
                  <a:lnTo>
                    <a:pt x="11" y="21"/>
                  </a:lnTo>
                  <a:lnTo>
                    <a:pt x="7" y="21"/>
                  </a:lnTo>
                  <a:lnTo>
                    <a:pt x="7" y="3"/>
                  </a:lnTo>
                  <a:lnTo>
                    <a:pt x="0" y="3"/>
                  </a:lnTo>
                  <a:close/>
                  <a:moveTo>
                    <a:pt x="28" y="0"/>
                  </a:moveTo>
                  <a:lnTo>
                    <a:pt x="33" y="15"/>
                  </a:lnTo>
                  <a:lnTo>
                    <a:pt x="38" y="0"/>
                  </a:lnTo>
                  <a:lnTo>
                    <a:pt x="44" y="0"/>
                  </a:lnTo>
                  <a:lnTo>
                    <a:pt x="44" y="21"/>
                  </a:lnTo>
                  <a:lnTo>
                    <a:pt x="40" y="21"/>
                  </a:lnTo>
                  <a:lnTo>
                    <a:pt x="40" y="4"/>
                  </a:lnTo>
                  <a:lnTo>
                    <a:pt x="34" y="21"/>
                  </a:lnTo>
                  <a:lnTo>
                    <a:pt x="31" y="21"/>
                  </a:lnTo>
                  <a:lnTo>
                    <a:pt x="25" y="4"/>
                  </a:lnTo>
                  <a:lnTo>
                    <a:pt x="25" y="21"/>
                  </a:lnTo>
                  <a:lnTo>
                    <a:pt x="22" y="21"/>
                  </a:lnTo>
                  <a:lnTo>
                    <a:pt x="22" y="0"/>
                  </a:lnTo>
                  <a:lnTo>
                    <a:pt x="2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669603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big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00400" y="2289336"/>
            <a:ext cx="8548688" cy="3690465"/>
          </a:xfrm>
        </p:spPr>
        <p:txBody>
          <a:bodyPr/>
          <a:lstStyle>
            <a:lvl1pPr>
              <a:defRPr sz="3000"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A1FFBAE-2F40-43B2-B1A4-AB0C4AC67F3D}" type="datetime1">
              <a:rPr lang="en-GB" smtClean="0"/>
              <a:t>21/10/2024</a:t>
            </a:fld>
            <a:endParaRPr lang="en-GB"/>
          </a:p>
        </p:txBody>
      </p:sp>
      <p:sp>
        <p:nvSpPr>
          <p:cNvPr id="5" name="Footer Placeholder 4"/>
          <p:cNvSpPr>
            <a:spLocks noGrp="1"/>
          </p:cNvSpPr>
          <p:nvPr>
            <p:ph type="ftr" sz="quarter" idx="11"/>
          </p:nvPr>
        </p:nvSpPr>
        <p:spPr/>
        <p:txBody>
          <a:bodyPr/>
          <a:lstStyle/>
          <a:p>
            <a:r>
              <a:rPr lang="en-GB"/>
              <a:t>Presentation title</a:t>
            </a:r>
          </a:p>
        </p:txBody>
      </p:sp>
      <p:sp>
        <p:nvSpPr>
          <p:cNvPr id="6" name="Slide Number Placeholder 5"/>
          <p:cNvSpPr>
            <a:spLocks noGrp="1"/>
          </p:cNvSpPr>
          <p:nvPr>
            <p:ph type="sldNum" sz="quarter" idx="12"/>
          </p:nvPr>
        </p:nvSpPr>
        <p:spPr/>
        <p:txBody>
          <a:bodyPr/>
          <a:lstStyle/>
          <a:p>
            <a:fld id="{8470F1AB-319E-48AE-9489-D88EBE16142A}" type="slidenum">
              <a:rPr lang="en-GB" smtClean="0"/>
              <a:t>‹#›</a:t>
            </a:fld>
            <a:endParaRPr lang="en-GB"/>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938989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200400" y="2320289"/>
            <a:ext cx="8548688" cy="36904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E2924BD-53BA-424E-92A5-44F4951E3FF0}" type="datetime1">
              <a:rPr lang="en-GB" smtClean="0"/>
              <a:t>21/10/2024</a:t>
            </a:fld>
            <a:endParaRPr lang="en-GB"/>
          </a:p>
        </p:txBody>
      </p:sp>
      <p:sp>
        <p:nvSpPr>
          <p:cNvPr id="5" name="Footer Placeholder 4"/>
          <p:cNvSpPr>
            <a:spLocks noGrp="1"/>
          </p:cNvSpPr>
          <p:nvPr>
            <p:ph type="ftr" sz="quarter" idx="11"/>
          </p:nvPr>
        </p:nvSpPr>
        <p:spPr/>
        <p:txBody>
          <a:bodyPr/>
          <a:lstStyle/>
          <a:p>
            <a:r>
              <a:rPr lang="en-GB"/>
              <a:t>Presentation title</a:t>
            </a:r>
          </a:p>
        </p:txBody>
      </p:sp>
      <p:sp>
        <p:nvSpPr>
          <p:cNvPr id="6" name="Slide Number Placeholder 5"/>
          <p:cNvSpPr>
            <a:spLocks noGrp="1"/>
          </p:cNvSpPr>
          <p:nvPr>
            <p:ph type="sldNum" sz="quarter" idx="12"/>
          </p:nvPr>
        </p:nvSpPr>
        <p:spPr/>
        <p:txBody>
          <a:bodyPr/>
          <a:lstStyle/>
          <a:p>
            <a:fld id="{8470F1AB-319E-48AE-9489-D88EBE16142A}" type="slidenum">
              <a:rPr lang="en-GB" smtClean="0"/>
              <a:t>‹#›</a:t>
            </a:fld>
            <a:endParaRPr lang="en-GB"/>
          </a:p>
        </p:txBody>
      </p:sp>
    </p:spTree>
    <p:extLst>
      <p:ext uri="{BB962C8B-B14F-4D97-AF65-F5344CB8AC3E}">
        <p14:creationId xmlns:p14="http://schemas.microsoft.com/office/powerpoint/2010/main" val="352936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image and caption">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B4702E-8133-4EC8-B5C4-32BB823BE68C}" type="datetime1">
              <a:rPr lang="en-GB" smtClean="0"/>
              <a:t>21/10/2024</a:t>
            </a:fld>
            <a:endParaRPr lang="en-GB"/>
          </a:p>
        </p:txBody>
      </p:sp>
      <p:sp>
        <p:nvSpPr>
          <p:cNvPr id="3" name="Footer Placeholder 2"/>
          <p:cNvSpPr>
            <a:spLocks noGrp="1"/>
          </p:cNvSpPr>
          <p:nvPr>
            <p:ph type="ftr" sz="quarter" idx="11"/>
          </p:nvPr>
        </p:nvSpPr>
        <p:spPr/>
        <p:txBody>
          <a:bodyPr/>
          <a:lstStyle/>
          <a:p>
            <a:r>
              <a:rPr lang="en-GB"/>
              <a:t>Presentation title</a:t>
            </a:r>
          </a:p>
        </p:txBody>
      </p:sp>
      <p:sp>
        <p:nvSpPr>
          <p:cNvPr id="4" name="Slide Number Placeholder 3"/>
          <p:cNvSpPr>
            <a:spLocks noGrp="1"/>
          </p:cNvSpPr>
          <p:nvPr>
            <p:ph type="sldNum" sz="quarter" idx="12"/>
          </p:nvPr>
        </p:nvSpPr>
        <p:spPr/>
        <p:txBody>
          <a:bodyPr/>
          <a:lstStyle/>
          <a:p>
            <a:fld id="{8470F1AB-319E-48AE-9489-D88EBE16142A}" type="slidenum">
              <a:rPr lang="en-GB" smtClean="0"/>
              <a:t>‹#›</a:t>
            </a:fld>
            <a:endParaRPr lang="en-GB"/>
          </a:p>
        </p:txBody>
      </p:sp>
      <p:sp>
        <p:nvSpPr>
          <p:cNvPr id="7" name="Text Placeholder 6"/>
          <p:cNvSpPr>
            <a:spLocks noGrp="1"/>
          </p:cNvSpPr>
          <p:nvPr>
            <p:ph type="body" sz="quarter" idx="13"/>
          </p:nvPr>
        </p:nvSpPr>
        <p:spPr>
          <a:xfrm>
            <a:off x="442913" y="765810"/>
            <a:ext cx="3478212" cy="520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p:cNvSpPr>
            <a:spLocks noGrp="1"/>
          </p:cNvSpPr>
          <p:nvPr>
            <p:ph type="pic" sz="quarter" idx="14" hasCustomPrompt="1"/>
          </p:nvPr>
        </p:nvSpPr>
        <p:spPr>
          <a:xfrm>
            <a:off x="4172108" y="833438"/>
            <a:ext cx="7576979" cy="4665600"/>
          </a:xfrm>
          <a:solidFill>
            <a:schemeClr val="bg1">
              <a:lumMod val="85000"/>
            </a:schemeClr>
          </a:solidFill>
        </p:spPr>
        <p:txBody>
          <a:bodyPr anchor="ctr" anchorCtr="0">
            <a:normAutofit/>
          </a:bodyPr>
          <a:lstStyle>
            <a:lvl1pPr algn="ctr">
              <a:defRPr sz="3600" b="0"/>
            </a:lvl1pPr>
          </a:lstStyle>
          <a:p>
            <a:r>
              <a:rPr lang="en-GB"/>
              <a:t>Photo</a:t>
            </a:r>
          </a:p>
        </p:txBody>
      </p:sp>
      <p:sp>
        <p:nvSpPr>
          <p:cNvPr id="10" name="Text Placeholder 6"/>
          <p:cNvSpPr>
            <a:spLocks noGrp="1"/>
          </p:cNvSpPr>
          <p:nvPr>
            <p:ph type="body" sz="quarter" idx="15"/>
          </p:nvPr>
        </p:nvSpPr>
        <p:spPr>
          <a:xfrm>
            <a:off x="4172108" y="5575229"/>
            <a:ext cx="7576980" cy="540000"/>
          </a:xfrm>
        </p:spPr>
        <p:txBody>
          <a:bodyPr>
            <a:normAutofit/>
          </a:bodyPr>
          <a:lstStyle>
            <a:lvl1pPr>
              <a:defRPr sz="1600" b="0"/>
            </a:lvl1pPr>
            <a:lvl2pPr>
              <a:defRPr sz="1800"/>
            </a:lvl2pPr>
            <a:lvl3pPr>
              <a:defRPr sz="18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10029420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head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200400" y="2320289"/>
            <a:ext cx="8548688" cy="845821"/>
          </a:xfrm>
        </p:spPr>
        <p:txBody>
          <a:body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92232045-B999-4F5A-AB97-69E26FE114CA}" type="datetime1">
              <a:rPr lang="en-GB" smtClean="0"/>
              <a:t>21/10/2024</a:t>
            </a:fld>
            <a:endParaRPr lang="en-GB"/>
          </a:p>
        </p:txBody>
      </p:sp>
      <p:sp>
        <p:nvSpPr>
          <p:cNvPr id="5" name="Footer Placeholder 4"/>
          <p:cNvSpPr>
            <a:spLocks noGrp="1"/>
          </p:cNvSpPr>
          <p:nvPr>
            <p:ph type="ftr" sz="quarter" idx="11"/>
          </p:nvPr>
        </p:nvSpPr>
        <p:spPr/>
        <p:txBody>
          <a:bodyPr/>
          <a:lstStyle/>
          <a:p>
            <a:r>
              <a:rPr lang="en-GB"/>
              <a:t>Presentation title</a:t>
            </a:r>
          </a:p>
        </p:txBody>
      </p:sp>
      <p:sp>
        <p:nvSpPr>
          <p:cNvPr id="6" name="Slide Number Placeholder 5"/>
          <p:cNvSpPr>
            <a:spLocks noGrp="1"/>
          </p:cNvSpPr>
          <p:nvPr>
            <p:ph type="sldNum" sz="quarter" idx="12"/>
          </p:nvPr>
        </p:nvSpPr>
        <p:spPr/>
        <p:txBody>
          <a:bodyPr/>
          <a:lstStyle/>
          <a:p>
            <a:fld id="{8470F1AB-319E-48AE-9489-D88EBE16142A}" type="slidenum">
              <a:rPr lang="en-GB" smtClean="0"/>
              <a:t>‹#›</a:t>
            </a:fld>
            <a:endParaRPr lang="en-GB"/>
          </a:p>
        </p:txBody>
      </p:sp>
    </p:spTree>
    <p:extLst>
      <p:ext uri="{BB962C8B-B14F-4D97-AF65-F5344CB8AC3E}">
        <p14:creationId xmlns:p14="http://schemas.microsoft.com/office/powerpoint/2010/main" val="22526259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ext image and caption">
    <p:spTree>
      <p:nvGrpSpPr>
        <p:cNvPr id="1" name=""/>
        <p:cNvGrpSpPr/>
        <p:nvPr/>
      </p:nvGrpSpPr>
      <p:grpSpPr>
        <a:xfrm>
          <a:off x="0" y="0"/>
          <a:ext cx="0" cy="0"/>
          <a:chOff x="0" y="0"/>
          <a:chExt cx="0" cy="0"/>
        </a:xfrm>
      </p:grpSpPr>
      <p:sp>
        <p:nvSpPr>
          <p:cNvPr id="9" name="Picture Placeholder 8"/>
          <p:cNvSpPr>
            <a:spLocks noGrp="1"/>
          </p:cNvSpPr>
          <p:nvPr>
            <p:ph type="pic" sz="quarter" idx="14" hasCustomPrompt="1"/>
          </p:nvPr>
        </p:nvSpPr>
        <p:spPr>
          <a:xfrm>
            <a:off x="0" y="0"/>
            <a:ext cx="12192000" cy="6858000"/>
          </a:xfrm>
          <a:solidFill>
            <a:schemeClr val="bg1">
              <a:lumMod val="85000"/>
            </a:schemeClr>
          </a:solidFill>
        </p:spPr>
        <p:txBody>
          <a:bodyPr anchor="ctr" anchorCtr="0">
            <a:normAutofit/>
          </a:bodyPr>
          <a:lstStyle>
            <a:lvl1pPr algn="ctr">
              <a:defRPr sz="3600" b="0"/>
            </a:lvl1pPr>
          </a:lstStyle>
          <a:p>
            <a:r>
              <a:rPr lang="en-GB"/>
              <a:t>Full bleed Photo</a:t>
            </a:r>
          </a:p>
        </p:txBody>
      </p:sp>
      <p:sp>
        <p:nvSpPr>
          <p:cNvPr id="2" name="Date Placeholder 1"/>
          <p:cNvSpPr>
            <a:spLocks noGrp="1"/>
          </p:cNvSpPr>
          <p:nvPr>
            <p:ph type="dt" sz="half" idx="10"/>
          </p:nvPr>
        </p:nvSpPr>
        <p:spPr/>
        <p:txBody>
          <a:bodyPr/>
          <a:lstStyle/>
          <a:p>
            <a:fld id="{73DFA9EA-14AE-4B01-BCF1-D9372CC31C7D}" type="datetime1">
              <a:rPr lang="en-GB" smtClean="0"/>
              <a:t>21/10/2024</a:t>
            </a:fld>
            <a:endParaRPr lang="en-GB"/>
          </a:p>
        </p:txBody>
      </p:sp>
      <p:sp>
        <p:nvSpPr>
          <p:cNvPr id="3" name="Footer Placeholder 2"/>
          <p:cNvSpPr>
            <a:spLocks noGrp="1"/>
          </p:cNvSpPr>
          <p:nvPr>
            <p:ph type="ftr" sz="quarter" idx="11"/>
          </p:nvPr>
        </p:nvSpPr>
        <p:spPr/>
        <p:txBody>
          <a:bodyPr/>
          <a:lstStyle/>
          <a:p>
            <a:r>
              <a:rPr lang="en-GB"/>
              <a:t>Presentation title</a:t>
            </a:r>
          </a:p>
        </p:txBody>
      </p:sp>
      <p:sp>
        <p:nvSpPr>
          <p:cNvPr id="4" name="Slide Number Placeholder 3"/>
          <p:cNvSpPr>
            <a:spLocks noGrp="1"/>
          </p:cNvSpPr>
          <p:nvPr>
            <p:ph type="sldNum" sz="quarter" idx="12"/>
          </p:nvPr>
        </p:nvSpPr>
        <p:spPr/>
        <p:txBody>
          <a:bodyPr/>
          <a:lstStyle/>
          <a:p>
            <a:fld id="{8470F1AB-319E-48AE-9489-D88EBE16142A}" type="slidenum">
              <a:rPr lang="en-GB" smtClean="0"/>
              <a:t>‹#›</a:t>
            </a:fld>
            <a:endParaRPr lang="en-GB"/>
          </a:p>
        </p:txBody>
      </p:sp>
    </p:spTree>
    <p:extLst>
      <p:ext uri="{BB962C8B-B14F-4D97-AF65-F5344CB8AC3E}">
        <p14:creationId xmlns:p14="http://schemas.microsoft.com/office/powerpoint/2010/main" val="25744449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25438" y="317500"/>
            <a:ext cx="11541125" cy="6220800"/>
          </a:xfrm>
          <a:prstGeom prst="rect">
            <a:avLst/>
          </a:prstGeom>
        </p:spPr>
      </p:pic>
      <p:sp>
        <p:nvSpPr>
          <p:cNvPr id="2" name="Title 1"/>
          <p:cNvSpPr>
            <a:spLocks noGrp="1"/>
          </p:cNvSpPr>
          <p:nvPr>
            <p:ph type="title"/>
          </p:nvPr>
        </p:nvSpPr>
        <p:spPr>
          <a:xfrm>
            <a:off x="831850" y="1768793"/>
            <a:ext cx="8460000" cy="2472646"/>
          </a:xfrm>
        </p:spPr>
        <p:txBody>
          <a:bodyPr anchor="ctr" anchorCtr="0">
            <a:normAutofit/>
          </a:bodyPr>
          <a:lstStyle>
            <a:lvl1pPr>
              <a:lnSpc>
                <a:spcPct val="85000"/>
              </a:lnSpc>
              <a:defRPr sz="5000">
                <a:solidFill>
                  <a:schemeClr val="bg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bg2"/>
                </a:solidFill>
              </a:defRPr>
            </a:lvl1pPr>
          </a:lstStyle>
          <a:p>
            <a:fld id="{0E5A5CAB-CC29-45C4-B758-44F0DE18F9EE}"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bg2"/>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bg2"/>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bg2"/>
                </a:solidFill>
              </a:rPr>
              <a:t>Slide  </a:t>
            </a:r>
          </a:p>
        </p:txBody>
      </p:sp>
    </p:spTree>
    <p:extLst>
      <p:ext uri="{BB962C8B-B14F-4D97-AF65-F5344CB8AC3E}">
        <p14:creationId xmlns:p14="http://schemas.microsoft.com/office/powerpoint/2010/main" val="5960958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oil">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25438" y="317500"/>
            <a:ext cx="11541125" cy="6220800"/>
          </a:xfrm>
          <a:prstGeom prst="rect">
            <a:avLst/>
          </a:prstGeom>
        </p:spPr>
      </p:pic>
      <p:sp>
        <p:nvSpPr>
          <p:cNvPr id="2" name="Title 1"/>
          <p:cNvSpPr>
            <a:spLocks noGrp="1"/>
          </p:cNvSpPr>
          <p:nvPr>
            <p:ph type="title"/>
          </p:nvPr>
        </p:nvSpPr>
        <p:spPr>
          <a:xfrm>
            <a:off x="831850" y="1768793"/>
            <a:ext cx="8460000" cy="2472646"/>
          </a:xfrm>
        </p:spPr>
        <p:txBody>
          <a:bodyPr anchor="ctr" anchorCtr="0">
            <a:normAutofit/>
          </a:bodyPr>
          <a:lstStyle>
            <a:lvl1pPr>
              <a:lnSpc>
                <a:spcPct val="85000"/>
              </a:lnSpc>
              <a:defRPr sz="5000">
                <a:solidFill>
                  <a:schemeClr val="bg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bg2"/>
                </a:solidFill>
              </a:defRPr>
            </a:lvl1pPr>
          </a:lstStyle>
          <a:p>
            <a:fld id="{5C3C3BF9-AD8A-40E0-9CC4-5276D2CF901D}"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bg2"/>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bg2"/>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bg2"/>
                </a:solidFill>
              </a:rPr>
              <a:t>Slide  </a:t>
            </a:r>
          </a:p>
        </p:txBody>
      </p:sp>
    </p:spTree>
    <p:extLst>
      <p:ext uri="{BB962C8B-B14F-4D97-AF65-F5344CB8AC3E}">
        <p14:creationId xmlns:p14="http://schemas.microsoft.com/office/powerpoint/2010/main" val="3727402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seed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25438" y="316800"/>
            <a:ext cx="11541125" cy="6220800"/>
          </a:xfrm>
          <a:prstGeom prst="rect">
            <a:avLst/>
          </a:prstGeom>
        </p:spPr>
      </p:pic>
      <p:sp>
        <p:nvSpPr>
          <p:cNvPr id="2" name="Title 1"/>
          <p:cNvSpPr>
            <a:spLocks noGrp="1"/>
          </p:cNvSpPr>
          <p:nvPr>
            <p:ph type="title"/>
          </p:nvPr>
        </p:nvSpPr>
        <p:spPr>
          <a:xfrm>
            <a:off x="831850" y="1768793"/>
            <a:ext cx="8460000" cy="2472646"/>
          </a:xfrm>
        </p:spPr>
        <p:txBody>
          <a:bodyPr anchor="ctr" anchorCtr="0">
            <a:normAutofit/>
          </a:bodyPr>
          <a:lstStyle>
            <a:lvl1pPr>
              <a:lnSpc>
                <a:spcPct val="85000"/>
              </a:lnSpc>
              <a:defRPr sz="5000">
                <a:solidFill>
                  <a:schemeClr val="bg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bg2"/>
                </a:solidFill>
              </a:defRPr>
            </a:lvl1pPr>
          </a:lstStyle>
          <a:p>
            <a:fld id="{53F48E19-58CE-41C6-874F-7FC25E88ED0F}"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bg2"/>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bg2"/>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bg2"/>
                </a:solidFill>
              </a:rPr>
              <a:t>Slide  </a:t>
            </a:r>
          </a:p>
        </p:txBody>
      </p:sp>
    </p:spTree>
    <p:extLst>
      <p:ext uri="{BB962C8B-B14F-4D97-AF65-F5344CB8AC3E}">
        <p14:creationId xmlns:p14="http://schemas.microsoft.com/office/powerpoint/2010/main" val="29899818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image 1">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831850" y="1768793"/>
            <a:ext cx="8460000" cy="2472646"/>
          </a:xfrm>
        </p:spPr>
        <p:txBody>
          <a:bodyPr anchor="ctr" anchorCtr="0">
            <a:normAutofit/>
          </a:bodyPr>
          <a:lstStyle>
            <a:lvl1pPr>
              <a:lnSpc>
                <a:spcPct val="85000"/>
              </a:lnSpc>
              <a:defRPr sz="5000">
                <a:solidFill>
                  <a:schemeClr val="tx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tx2"/>
                </a:solidFill>
              </a:defRPr>
            </a:lvl1pPr>
          </a:lstStyle>
          <a:p>
            <a:fld id="{096351FF-B3D3-44AF-9E8A-5F7C4EB883FD}"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tx2"/>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tx2"/>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tx2"/>
                </a:solidFill>
              </a:rPr>
              <a:t>Slide  </a:t>
            </a:r>
          </a:p>
        </p:txBody>
      </p:sp>
    </p:spTree>
    <p:extLst>
      <p:ext uri="{BB962C8B-B14F-4D97-AF65-F5344CB8AC3E}">
        <p14:creationId xmlns:p14="http://schemas.microsoft.com/office/powerpoint/2010/main" val="8250106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image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831850" y="1768793"/>
            <a:ext cx="8460000" cy="2472646"/>
          </a:xfrm>
        </p:spPr>
        <p:txBody>
          <a:bodyPr anchor="ctr" anchorCtr="0">
            <a:normAutofit/>
          </a:bodyPr>
          <a:lstStyle>
            <a:lvl1pPr>
              <a:lnSpc>
                <a:spcPct val="85000"/>
              </a:lnSpc>
              <a:defRPr sz="5000">
                <a:solidFill>
                  <a:schemeClr val="bg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bg2"/>
                </a:solidFill>
              </a:defRPr>
            </a:lvl1pPr>
          </a:lstStyle>
          <a:p>
            <a:fld id="{6F11F35A-F312-4BE3-AB4E-C5D4B797F78A}"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bg2"/>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bg2"/>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bg2"/>
                </a:solidFill>
              </a:rPr>
              <a:t>Slide  </a:t>
            </a:r>
          </a:p>
        </p:txBody>
      </p:sp>
    </p:spTree>
    <p:extLst>
      <p:ext uri="{BB962C8B-B14F-4D97-AF65-F5344CB8AC3E}">
        <p14:creationId xmlns:p14="http://schemas.microsoft.com/office/powerpoint/2010/main" val="38853320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oil">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Rectangle 7"/>
          <p:cNvSpPr/>
          <p:nvPr userDrawn="1"/>
        </p:nvSpPr>
        <p:spPr>
          <a:xfrm>
            <a:off x="2722244" y="1870712"/>
            <a:ext cx="9469756" cy="4987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3189288" y="2931042"/>
            <a:ext cx="8559800" cy="2387600"/>
          </a:xfrm>
        </p:spPr>
        <p:txBody>
          <a:bodyPr anchor="t" anchorCtr="0">
            <a:normAutofit/>
          </a:bodyPr>
          <a:lstStyle>
            <a:lvl1pPr algn="l">
              <a:lnSpc>
                <a:spcPct val="87000"/>
              </a:lnSpc>
              <a:defRPr sz="5000"/>
            </a:lvl1pPr>
          </a:lstStyle>
          <a:p>
            <a:r>
              <a:rPr lang="en-US"/>
              <a:t>Click to edit Master title style</a:t>
            </a:r>
            <a:endParaRPr lang="en-GB"/>
          </a:p>
        </p:txBody>
      </p:sp>
      <p:sp>
        <p:nvSpPr>
          <p:cNvPr id="3" name="Subtitle 2"/>
          <p:cNvSpPr>
            <a:spLocks noGrp="1"/>
          </p:cNvSpPr>
          <p:nvPr>
            <p:ph type="subTitle" idx="1" hasCustomPrompt="1"/>
          </p:nvPr>
        </p:nvSpPr>
        <p:spPr>
          <a:xfrm>
            <a:off x="3189288" y="1977390"/>
            <a:ext cx="8559800" cy="710328"/>
          </a:xfrm>
        </p:spPr>
        <p:txBody>
          <a:bodyPr anchor="b" anchorCtr="0"/>
          <a:lstStyle>
            <a:lvl1pPr marL="0" indent="0" algn="l">
              <a:buNone/>
              <a:defRPr sz="24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GB"/>
          </a:p>
        </p:txBody>
      </p:sp>
      <p:grpSp>
        <p:nvGrpSpPr>
          <p:cNvPr id="10" name="Group 4"/>
          <p:cNvGrpSpPr>
            <a:grpSpLocks noChangeAspect="1"/>
          </p:cNvGrpSpPr>
          <p:nvPr userDrawn="1"/>
        </p:nvGrpSpPr>
        <p:grpSpPr bwMode="auto">
          <a:xfrm>
            <a:off x="5111749" y="5922963"/>
            <a:ext cx="1946274" cy="452437"/>
            <a:chOff x="3220" y="3731"/>
            <a:chExt cx="1226" cy="285"/>
          </a:xfrm>
          <a:solidFill>
            <a:schemeClr val="tx2"/>
          </a:solidFill>
        </p:grpSpPr>
        <p:sp>
          <p:nvSpPr>
            <p:cNvPr id="12" name="Freeform 5"/>
            <p:cNvSpPr>
              <a:spLocks/>
            </p:cNvSpPr>
            <p:nvPr userDrawn="1"/>
          </p:nvSpPr>
          <p:spPr bwMode="auto">
            <a:xfrm>
              <a:off x="3373" y="3731"/>
              <a:ext cx="139" cy="168"/>
            </a:xfrm>
            <a:custGeom>
              <a:avLst/>
              <a:gdLst>
                <a:gd name="T0" fmla="*/ 1877 w 2346"/>
                <a:gd name="T1" fmla="*/ 256 h 2836"/>
                <a:gd name="T2" fmla="*/ 347 w 2346"/>
                <a:gd name="T3" fmla="*/ 732 h 2836"/>
                <a:gd name="T4" fmla="*/ 198 w 2346"/>
                <a:gd name="T5" fmla="*/ 2836 h 2836"/>
                <a:gd name="T6" fmla="*/ 1952 w 2346"/>
                <a:gd name="T7" fmla="*/ 1423 h 2836"/>
                <a:gd name="T8" fmla="*/ 1877 w 2346"/>
                <a:gd name="T9" fmla="*/ 256 h 2836"/>
              </a:gdLst>
              <a:ahLst/>
              <a:cxnLst>
                <a:cxn ang="0">
                  <a:pos x="T0" y="T1"/>
                </a:cxn>
                <a:cxn ang="0">
                  <a:pos x="T2" y="T3"/>
                </a:cxn>
                <a:cxn ang="0">
                  <a:pos x="T4" y="T5"/>
                </a:cxn>
                <a:cxn ang="0">
                  <a:pos x="T6" y="T7"/>
                </a:cxn>
                <a:cxn ang="0">
                  <a:pos x="T8" y="T9"/>
                </a:cxn>
              </a:cxnLst>
              <a:rect l="0" t="0" r="r" b="b"/>
              <a:pathLst>
                <a:path w="2346" h="2836">
                  <a:moveTo>
                    <a:pt x="1877" y="256"/>
                  </a:moveTo>
                  <a:cubicBezTo>
                    <a:pt x="1440" y="0"/>
                    <a:pt x="754" y="116"/>
                    <a:pt x="347" y="732"/>
                  </a:cubicBezTo>
                  <a:cubicBezTo>
                    <a:pt x="0" y="1257"/>
                    <a:pt x="25" y="2110"/>
                    <a:pt x="198" y="2836"/>
                  </a:cubicBezTo>
                  <a:cubicBezTo>
                    <a:pt x="553" y="1921"/>
                    <a:pt x="1522" y="1777"/>
                    <a:pt x="1952" y="1423"/>
                  </a:cubicBezTo>
                  <a:cubicBezTo>
                    <a:pt x="2346" y="1097"/>
                    <a:pt x="2320" y="515"/>
                    <a:pt x="1877"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3391" y="3857"/>
              <a:ext cx="97" cy="74"/>
            </a:xfrm>
            <a:custGeom>
              <a:avLst/>
              <a:gdLst>
                <a:gd name="T0" fmla="*/ 399 w 1646"/>
                <a:gd name="T1" fmla="*/ 1221 h 1246"/>
                <a:gd name="T2" fmla="*/ 1232 w 1646"/>
                <a:gd name="T3" fmla="*/ 946 h 1246"/>
                <a:gd name="T4" fmla="*/ 1558 w 1646"/>
                <a:gd name="T5" fmla="*/ 281 h 1246"/>
                <a:gd name="T6" fmla="*/ 866 w 1646"/>
                <a:gd name="T7" fmla="*/ 167 h 1246"/>
                <a:gd name="T8" fmla="*/ 135 w 1646"/>
                <a:gd name="T9" fmla="*/ 812 h 1246"/>
                <a:gd name="T10" fmla="*/ 45 w 1646"/>
                <a:gd name="T11" fmla="*/ 1146 h 1246"/>
                <a:gd name="T12" fmla="*/ 399 w 1646"/>
                <a:gd name="T13" fmla="*/ 1221 h 1246"/>
              </a:gdLst>
              <a:ahLst/>
              <a:cxnLst>
                <a:cxn ang="0">
                  <a:pos x="T0" y="T1"/>
                </a:cxn>
                <a:cxn ang="0">
                  <a:pos x="T2" y="T3"/>
                </a:cxn>
                <a:cxn ang="0">
                  <a:pos x="T4" y="T5"/>
                </a:cxn>
                <a:cxn ang="0">
                  <a:pos x="T6" y="T7"/>
                </a:cxn>
                <a:cxn ang="0">
                  <a:pos x="T8" y="T9"/>
                </a:cxn>
                <a:cxn ang="0">
                  <a:pos x="T10" y="T11"/>
                </a:cxn>
                <a:cxn ang="0">
                  <a:pos x="T12" y="T13"/>
                </a:cxn>
              </a:cxnLst>
              <a:rect l="0" t="0" r="r" b="b"/>
              <a:pathLst>
                <a:path w="1646" h="1246">
                  <a:moveTo>
                    <a:pt x="399" y="1221"/>
                  </a:moveTo>
                  <a:cubicBezTo>
                    <a:pt x="630" y="1195"/>
                    <a:pt x="954" y="1100"/>
                    <a:pt x="1232" y="946"/>
                  </a:cubicBezTo>
                  <a:cubicBezTo>
                    <a:pt x="1630" y="726"/>
                    <a:pt x="1646" y="459"/>
                    <a:pt x="1558" y="281"/>
                  </a:cubicBezTo>
                  <a:cubicBezTo>
                    <a:pt x="1459" y="81"/>
                    <a:pt x="1189" y="0"/>
                    <a:pt x="866" y="167"/>
                  </a:cubicBezTo>
                  <a:cubicBezTo>
                    <a:pt x="551" y="330"/>
                    <a:pt x="287" y="584"/>
                    <a:pt x="135" y="812"/>
                  </a:cubicBezTo>
                  <a:cubicBezTo>
                    <a:pt x="35" y="964"/>
                    <a:pt x="0" y="1069"/>
                    <a:pt x="45" y="1146"/>
                  </a:cubicBezTo>
                  <a:cubicBezTo>
                    <a:pt x="87" y="1219"/>
                    <a:pt x="183" y="1246"/>
                    <a:pt x="399" y="1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3235" y="3900"/>
              <a:ext cx="262" cy="116"/>
            </a:xfrm>
            <a:custGeom>
              <a:avLst/>
              <a:gdLst>
                <a:gd name="T0" fmla="*/ 647 w 4416"/>
                <a:gd name="T1" fmla="*/ 324 h 1943"/>
                <a:gd name="T2" fmla="*/ 169 w 4416"/>
                <a:gd name="T3" fmla="*/ 777 h 1943"/>
                <a:gd name="T4" fmla="*/ 1941 w 4416"/>
                <a:gd name="T5" fmla="*/ 1906 h 1943"/>
                <a:gd name="T6" fmla="*/ 4416 w 4416"/>
                <a:gd name="T7" fmla="*/ 193 h 1943"/>
                <a:gd name="T8" fmla="*/ 2422 w 4416"/>
                <a:gd name="T9" fmla="*/ 890 h 1943"/>
                <a:gd name="T10" fmla="*/ 647 w 4416"/>
                <a:gd name="T11" fmla="*/ 324 h 1943"/>
              </a:gdLst>
              <a:ahLst/>
              <a:cxnLst>
                <a:cxn ang="0">
                  <a:pos x="T0" y="T1"/>
                </a:cxn>
                <a:cxn ang="0">
                  <a:pos x="T2" y="T3"/>
                </a:cxn>
                <a:cxn ang="0">
                  <a:pos x="T4" y="T5"/>
                </a:cxn>
                <a:cxn ang="0">
                  <a:pos x="T6" y="T7"/>
                </a:cxn>
                <a:cxn ang="0">
                  <a:pos x="T8" y="T9"/>
                </a:cxn>
                <a:cxn ang="0">
                  <a:pos x="T10" y="T11"/>
                </a:cxn>
              </a:cxnLst>
              <a:rect l="0" t="0" r="r" b="b"/>
              <a:pathLst>
                <a:path w="4416" h="1943">
                  <a:moveTo>
                    <a:pt x="647" y="324"/>
                  </a:moveTo>
                  <a:cubicBezTo>
                    <a:pt x="160" y="0"/>
                    <a:pt x="0" y="335"/>
                    <a:pt x="169" y="777"/>
                  </a:cubicBezTo>
                  <a:cubicBezTo>
                    <a:pt x="423" y="1444"/>
                    <a:pt x="1102" y="1881"/>
                    <a:pt x="1941" y="1906"/>
                  </a:cubicBezTo>
                  <a:cubicBezTo>
                    <a:pt x="3194" y="1943"/>
                    <a:pt x="4101" y="1092"/>
                    <a:pt x="4416" y="193"/>
                  </a:cubicBezTo>
                  <a:cubicBezTo>
                    <a:pt x="4014" y="567"/>
                    <a:pt x="3326" y="913"/>
                    <a:pt x="2422" y="890"/>
                  </a:cubicBezTo>
                  <a:cubicBezTo>
                    <a:pt x="1832" y="875"/>
                    <a:pt x="1221" y="707"/>
                    <a:pt x="647"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3220" y="3747"/>
              <a:ext cx="147" cy="178"/>
            </a:xfrm>
            <a:custGeom>
              <a:avLst/>
              <a:gdLst>
                <a:gd name="T0" fmla="*/ 1220 w 2480"/>
                <a:gd name="T1" fmla="*/ 1524 h 3000"/>
                <a:gd name="T2" fmla="*/ 2475 w 2480"/>
                <a:gd name="T3" fmla="*/ 2898 h 3000"/>
                <a:gd name="T4" fmla="*/ 2085 w 2480"/>
                <a:gd name="T5" fmla="*/ 1226 h 3000"/>
                <a:gd name="T6" fmla="*/ 429 w 2480"/>
                <a:gd name="T7" fmla="*/ 314 h 3000"/>
                <a:gd name="T8" fmla="*/ 824 w 2480"/>
                <a:gd name="T9" fmla="*/ 2169 h 3000"/>
                <a:gd name="T10" fmla="*/ 2161 w 2480"/>
                <a:gd name="T11" fmla="*/ 3000 h 3000"/>
                <a:gd name="T12" fmla="*/ 1176 w 2480"/>
                <a:gd name="T13" fmla="*/ 1537 h 3000"/>
                <a:gd name="T14" fmla="*/ 1220 w 2480"/>
                <a:gd name="T15" fmla="*/ 1524 h 3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0" h="3000">
                  <a:moveTo>
                    <a:pt x="1220" y="1524"/>
                  </a:moveTo>
                  <a:cubicBezTo>
                    <a:pt x="1665" y="2130"/>
                    <a:pt x="2113" y="2617"/>
                    <a:pt x="2475" y="2898"/>
                  </a:cubicBezTo>
                  <a:cubicBezTo>
                    <a:pt x="2480" y="2419"/>
                    <a:pt x="2337" y="1683"/>
                    <a:pt x="2085" y="1226"/>
                  </a:cubicBezTo>
                  <a:cubicBezTo>
                    <a:pt x="1579" y="311"/>
                    <a:pt x="828" y="0"/>
                    <a:pt x="429" y="314"/>
                  </a:cubicBezTo>
                  <a:cubicBezTo>
                    <a:pt x="0" y="652"/>
                    <a:pt x="256" y="1559"/>
                    <a:pt x="824" y="2169"/>
                  </a:cubicBezTo>
                  <a:cubicBezTo>
                    <a:pt x="1260" y="2638"/>
                    <a:pt x="1766" y="2907"/>
                    <a:pt x="2161" y="3000"/>
                  </a:cubicBezTo>
                  <a:cubicBezTo>
                    <a:pt x="1749" y="2664"/>
                    <a:pt x="1295" y="1923"/>
                    <a:pt x="1176" y="1537"/>
                  </a:cubicBezTo>
                  <a:cubicBezTo>
                    <a:pt x="1156" y="1470"/>
                    <a:pt x="1182" y="1471"/>
                    <a:pt x="1220" y="15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4259" y="3774"/>
              <a:ext cx="128" cy="189"/>
            </a:xfrm>
            <a:custGeom>
              <a:avLst/>
              <a:gdLst>
                <a:gd name="T0" fmla="*/ 1678 w 2160"/>
                <a:gd name="T1" fmla="*/ 0 h 3187"/>
                <a:gd name="T2" fmla="*/ 1678 w 2160"/>
                <a:gd name="T3" fmla="*/ 1237 h 3187"/>
                <a:gd name="T4" fmla="*/ 1030 w 2160"/>
                <a:gd name="T5" fmla="*/ 986 h 3187"/>
                <a:gd name="T6" fmla="*/ 0 w 2160"/>
                <a:gd name="T7" fmla="*/ 2089 h 3187"/>
                <a:gd name="T8" fmla="*/ 1030 w 2160"/>
                <a:gd name="T9" fmla="*/ 3187 h 3187"/>
                <a:gd name="T10" fmla="*/ 1703 w 2160"/>
                <a:gd name="T11" fmla="*/ 2910 h 3187"/>
                <a:gd name="T12" fmla="*/ 1743 w 2160"/>
                <a:gd name="T13" fmla="*/ 3142 h 3187"/>
                <a:gd name="T14" fmla="*/ 2160 w 2160"/>
                <a:gd name="T15" fmla="*/ 3142 h 3187"/>
                <a:gd name="T16" fmla="*/ 2160 w 2160"/>
                <a:gd name="T17" fmla="*/ 0 h 3187"/>
                <a:gd name="T18" fmla="*/ 1678 w 2160"/>
                <a:gd name="T19" fmla="*/ 0 h 3187"/>
                <a:gd name="T20" fmla="*/ 1093 w 2160"/>
                <a:gd name="T21" fmla="*/ 2751 h 3187"/>
                <a:gd name="T22" fmla="*/ 482 w 2160"/>
                <a:gd name="T23" fmla="*/ 2089 h 3187"/>
                <a:gd name="T24" fmla="*/ 1093 w 2160"/>
                <a:gd name="T25" fmla="*/ 1422 h 3187"/>
                <a:gd name="T26" fmla="*/ 1710 w 2160"/>
                <a:gd name="T27" fmla="*/ 2089 h 3187"/>
                <a:gd name="T28" fmla="*/ 1093 w 2160"/>
                <a:gd name="T29" fmla="*/ 275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0" h="3187">
                  <a:moveTo>
                    <a:pt x="1678" y="0"/>
                  </a:moveTo>
                  <a:cubicBezTo>
                    <a:pt x="1678" y="1237"/>
                    <a:pt x="1678" y="1237"/>
                    <a:pt x="1678" y="1237"/>
                  </a:cubicBezTo>
                  <a:cubicBezTo>
                    <a:pt x="1514" y="1072"/>
                    <a:pt x="1284" y="986"/>
                    <a:pt x="1030" y="986"/>
                  </a:cubicBezTo>
                  <a:cubicBezTo>
                    <a:pt x="443" y="986"/>
                    <a:pt x="0" y="1460"/>
                    <a:pt x="0" y="2089"/>
                  </a:cubicBezTo>
                  <a:cubicBezTo>
                    <a:pt x="0" y="2715"/>
                    <a:pt x="443" y="3187"/>
                    <a:pt x="1030" y="3187"/>
                  </a:cubicBezTo>
                  <a:cubicBezTo>
                    <a:pt x="1297" y="3187"/>
                    <a:pt x="1536" y="3093"/>
                    <a:pt x="1703" y="2910"/>
                  </a:cubicBezTo>
                  <a:cubicBezTo>
                    <a:pt x="1743" y="3142"/>
                    <a:pt x="1743" y="3142"/>
                    <a:pt x="1743" y="3142"/>
                  </a:cubicBezTo>
                  <a:cubicBezTo>
                    <a:pt x="2160" y="3142"/>
                    <a:pt x="2160" y="3142"/>
                    <a:pt x="2160" y="3142"/>
                  </a:cubicBezTo>
                  <a:cubicBezTo>
                    <a:pt x="2160" y="0"/>
                    <a:pt x="2160" y="0"/>
                    <a:pt x="2160" y="0"/>
                  </a:cubicBezTo>
                  <a:lnTo>
                    <a:pt x="1678" y="0"/>
                  </a:lnTo>
                  <a:close/>
                  <a:moveTo>
                    <a:pt x="1093" y="2751"/>
                  </a:moveTo>
                  <a:cubicBezTo>
                    <a:pt x="745" y="2751"/>
                    <a:pt x="482" y="2466"/>
                    <a:pt x="482" y="2089"/>
                  </a:cubicBezTo>
                  <a:cubicBezTo>
                    <a:pt x="482" y="1709"/>
                    <a:pt x="745" y="1422"/>
                    <a:pt x="1093" y="1422"/>
                  </a:cubicBezTo>
                  <a:cubicBezTo>
                    <a:pt x="1445" y="1422"/>
                    <a:pt x="1710" y="1709"/>
                    <a:pt x="1710" y="2089"/>
                  </a:cubicBezTo>
                  <a:cubicBezTo>
                    <a:pt x="1710" y="2466"/>
                    <a:pt x="1445" y="2751"/>
                    <a:pt x="1093" y="27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noEditPoints="1"/>
            </p:cNvSpPr>
            <p:nvPr userDrawn="1"/>
          </p:nvSpPr>
          <p:spPr bwMode="auto">
            <a:xfrm>
              <a:off x="3769" y="3832"/>
              <a:ext cx="128" cy="182"/>
            </a:xfrm>
            <a:custGeom>
              <a:avLst/>
              <a:gdLst>
                <a:gd name="T0" fmla="*/ 482 w 2161"/>
                <a:gd name="T1" fmla="*/ 1949 h 3066"/>
                <a:gd name="T2" fmla="*/ 1131 w 2161"/>
                <a:gd name="T3" fmla="*/ 2202 h 3066"/>
                <a:gd name="T4" fmla="*/ 2161 w 2161"/>
                <a:gd name="T5" fmla="*/ 1099 h 3066"/>
                <a:gd name="T6" fmla="*/ 1131 w 2161"/>
                <a:gd name="T7" fmla="*/ 0 h 3066"/>
                <a:gd name="T8" fmla="*/ 457 w 2161"/>
                <a:gd name="T9" fmla="*/ 280 h 3066"/>
                <a:gd name="T10" fmla="*/ 418 w 2161"/>
                <a:gd name="T11" fmla="*/ 46 h 3066"/>
                <a:gd name="T12" fmla="*/ 0 w 2161"/>
                <a:gd name="T13" fmla="*/ 46 h 3066"/>
                <a:gd name="T14" fmla="*/ 0 w 2161"/>
                <a:gd name="T15" fmla="*/ 3066 h 3066"/>
                <a:gd name="T16" fmla="*/ 482 w 2161"/>
                <a:gd name="T17" fmla="*/ 3066 h 3066"/>
                <a:gd name="T18" fmla="*/ 482 w 2161"/>
                <a:gd name="T19" fmla="*/ 1949 h 3066"/>
                <a:gd name="T20" fmla="*/ 450 w 2161"/>
                <a:gd name="T21" fmla="*/ 1099 h 3066"/>
                <a:gd name="T22" fmla="*/ 1067 w 2161"/>
                <a:gd name="T23" fmla="*/ 437 h 3066"/>
                <a:gd name="T24" fmla="*/ 1679 w 2161"/>
                <a:gd name="T25" fmla="*/ 1099 h 3066"/>
                <a:gd name="T26" fmla="*/ 1067 w 2161"/>
                <a:gd name="T27" fmla="*/ 1765 h 3066"/>
                <a:gd name="T28" fmla="*/ 450 w 2161"/>
                <a:gd name="T29" fmla="*/ 1099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1" h="3066">
                  <a:moveTo>
                    <a:pt x="482" y="1949"/>
                  </a:moveTo>
                  <a:cubicBezTo>
                    <a:pt x="648" y="2119"/>
                    <a:pt x="880" y="2202"/>
                    <a:pt x="1131" y="2202"/>
                  </a:cubicBezTo>
                  <a:cubicBezTo>
                    <a:pt x="1718" y="2202"/>
                    <a:pt x="2161" y="1728"/>
                    <a:pt x="2161" y="1099"/>
                  </a:cubicBezTo>
                  <a:cubicBezTo>
                    <a:pt x="2161" y="473"/>
                    <a:pt x="1718" y="0"/>
                    <a:pt x="1131" y="0"/>
                  </a:cubicBezTo>
                  <a:cubicBezTo>
                    <a:pt x="870" y="0"/>
                    <a:pt x="626" y="90"/>
                    <a:pt x="457" y="280"/>
                  </a:cubicBezTo>
                  <a:cubicBezTo>
                    <a:pt x="418" y="46"/>
                    <a:pt x="418" y="46"/>
                    <a:pt x="418" y="46"/>
                  </a:cubicBezTo>
                  <a:cubicBezTo>
                    <a:pt x="0" y="46"/>
                    <a:pt x="0" y="46"/>
                    <a:pt x="0" y="46"/>
                  </a:cubicBezTo>
                  <a:cubicBezTo>
                    <a:pt x="0" y="3066"/>
                    <a:pt x="0" y="3066"/>
                    <a:pt x="0" y="3066"/>
                  </a:cubicBezTo>
                  <a:cubicBezTo>
                    <a:pt x="482" y="3066"/>
                    <a:pt x="482" y="3066"/>
                    <a:pt x="482" y="3066"/>
                  </a:cubicBezTo>
                  <a:lnTo>
                    <a:pt x="482" y="1949"/>
                  </a:lnTo>
                  <a:close/>
                  <a:moveTo>
                    <a:pt x="450" y="1099"/>
                  </a:moveTo>
                  <a:cubicBezTo>
                    <a:pt x="450" y="722"/>
                    <a:pt x="715" y="437"/>
                    <a:pt x="1067" y="437"/>
                  </a:cubicBezTo>
                  <a:cubicBezTo>
                    <a:pt x="1416" y="437"/>
                    <a:pt x="1679" y="722"/>
                    <a:pt x="1679" y="1099"/>
                  </a:cubicBezTo>
                  <a:cubicBezTo>
                    <a:pt x="1679" y="1479"/>
                    <a:pt x="1416" y="1765"/>
                    <a:pt x="1067" y="1765"/>
                  </a:cubicBezTo>
                  <a:cubicBezTo>
                    <a:pt x="715" y="1765"/>
                    <a:pt x="450" y="1479"/>
                    <a:pt x="450" y="10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3587" y="3774"/>
              <a:ext cx="153" cy="189"/>
            </a:xfrm>
            <a:custGeom>
              <a:avLst/>
              <a:gdLst>
                <a:gd name="T0" fmla="*/ 2585 w 2585"/>
                <a:gd name="T1" fmla="*/ 0 h 3187"/>
                <a:gd name="T2" fmla="*/ 2085 w 2585"/>
                <a:gd name="T3" fmla="*/ 0 h 3187"/>
                <a:gd name="T4" fmla="*/ 2085 w 2585"/>
                <a:gd name="T5" fmla="*/ 1889 h 3187"/>
                <a:gd name="T6" fmla="*/ 1290 w 2585"/>
                <a:gd name="T7" fmla="*/ 2724 h 3187"/>
                <a:gd name="T8" fmla="*/ 500 w 2585"/>
                <a:gd name="T9" fmla="*/ 1889 h 3187"/>
                <a:gd name="T10" fmla="*/ 500 w 2585"/>
                <a:gd name="T11" fmla="*/ 0 h 3187"/>
                <a:gd name="T12" fmla="*/ 0 w 2585"/>
                <a:gd name="T13" fmla="*/ 0 h 3187"/>
                <a:gd name="T14" fmla="*/ 0 w 2585"/>
                <a:gd name="T15" fmla="*/ 1898 h 3187"/>
                <a:gd name="T16" fmla="*/ 1290 w 2585"/>
                <a:gd name="T17" fmla="*/ 3187 h 3187"/>
                <a:gd name="T18" fmla="*/ 2585 w 2585"/>
                <a:gd name="T19" fmla="*/ 1898 h 3187"/>
                <a:gd name="T20" fmla="*/ 2585 w 2585"/>
                <a:gd name="T21" fmla="*/ 0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5" h="3187">
                  <a:moveTo>
                    <a:pt x="2585" y="0"/>
                  </a:moveTo>
                  <a:cubicBezTo>
                    <a:pt x="2085" y="0"/>
                    <a:pt x="2085" y="0"/>
                    <a:pt x="2085" y="0"/>
                  </a:cubicBezTo>
                  <a:cubicBezTo>
                    <a:pt x="2085" y="1889"/>
                    <a:pt x="2085" y="1889"/>
                    <a:pt x="2085" y="1889"/>
                  </a:cubicBezTo>
                  <a:cubicBezTo>
                    <a:pt x="2085" y="2420"/>
                    <a:pt x="1740" y="2724"/>
                    <a:pt x="1290" y="2724"/>
                  </a:cubicBezTo>
                  <a:cubicBezTo>
                    <a:pt x="841" y="2724"/>
                    <a:pt x="500" y="2420"/>
                    <a:pt x="500" y="1889"/>
                  </a:cubicBezTo>
                  <a:cubicBezTo>
                    <a:pt x="500" y="0"/>
                    <a:pt x="500" y="0"/>
                    <a:pt x="500" y="0"/>
                  </a:cubicBezTo>
                  <a:cubicBezTo>
                    <a:pt x="0" y="0"/>
                    <a:pt x="0" y="0"/>
                    <a:pt x="0" y="0"/>
                  </a:cubicBezTo>
                  <a:cubicBezTo>
                    <a:pt x="0" y="1898"/>
                    <a:pt x="0" y="1898"/>
                    <a:pt x="0" y="1898"/>
                  </a:cubicBezTo>
                  <a:cubicBezTo>
                    <a:pt x="0" y="2693"/>
                    <a:pt x="545" y="3187"/>
                    <a:pt x="1290" y="3187"/>
                  </a:cubicBezTo>
                  <a:cubicBezTo>
                    <a:pt x="2024" y="3187"/>
                    <a:pt x="2585" y="2681"/>
                    <a:pt x="2585" y="1898"/>
                  </a:cubicBezTo>
                  <a:lnTo>
                    <a:pt x="25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2"/>
            <p:cNvSpPr>
              <a:spLocks noChangeArrowheads="1"/>
            </p:cNvSpPr>
            <p:nvPr userDrawn="1"/>
          </p:nvSpPr>
          <p:spPr bwMode="auto">
            <a:xfrm>
              <a:off x="4205" y="3774"/>
              <a:ext cx="29" cy="18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noEditPoints="1"/>
            </p:cNvSpPr>
            <p:nvPr userDrawn="1"/>
          </p:nvSpPr>
          <p:spPr bwMode="auto">
            <a:xfrm>
              <a:off x="4063" y="3832"/>
              <a:ext cx="117" cy="131"/>
            </a:xfrm>
            <a:custGeom>
              <a:avLst/>
              <a:gdLst>
                <a:gd name="T0" fmla="*/ 1724 w 1970"/>
                <a:gd name="T1" fmla="*/ 208 h 2200"/>
                <a:gd name="T2" fmla="*/ 1068 w 1970"/>
                <a:gd name="T3" fmla="*/ 0 h 2200"/>
                <a:gd name="T4" fmla="*/ 0 w 1970"/>
                <a:gd name="T5" fmla="*/ 1111 h 2200"/>
                <a:gd name="T6" fmla="*/ 1098 w 1970"/>
                <a:gd name="T7" fmla="*/ 2200 h 2200"/>
                <a:gd name="T8" fmla="*/ 1970 w 1970"/>
                <a:gd name="T9" fmla="*/ 1850 h 2200"/>
                <a:gd name="T10" fmla="*/ 1679 w 1970"/>
                <a:gd name="T11" fmla="*/ 1530 h 2200"/>
                <a:gd name="T12" fmla="*/ 1099 w 1970"/>
                <a:gd name="T13" fmla="*/ 1776 h 2200"/>
                <a:gd name="T14" fmla="*/ 480 w 1970"/>
                <a:gd name="T15" fmla="*/ 1290 h 2200"/>
                <a:gd name="T16" fmla="*/ 1038 w 1970"/>
                <a:gd name="T17" fmla="*/ 1382 h 2200"/>
                <a:gd name="T18" fmla="*/ 1965 w 1970"/>
                <a:gd name="T19" fmla="*/ 728 h 2200"/>
                <a:gd name="T20" fmla="*/ 1724 w 1970"/>
                <a:gd name="T21" fmla="*/ 208 h 2200"/>
                <a:gd name="T22" fmla="*/ 1000 w 1970"/>
                <a:gd name="T23" fmla="*/ 987 h 2200"/>
                <a:gd name="T24" fmla="*/ 983 w 1970"/>
                <a:gd name="T25" fmla="*/ 987 h 2200"/>
                <a:gd name="T26" fmla="*/ 488 w 1970"/>
                <a:gd name="T27" fmla="*/ 915 h 2200"/>
                <a:gd name="T28" fmla="*/ 1055 w 1970"/>
                <a:gd name="T29" fmla="*/ 427 h 2200"/>
                <a:gd name="T30" fmla="*/ 1057 w 1970"/>
                <a:gd name="T31" fmla="*/ 427 h 2200"/>
                <a:gd name="T32" fmla="*/ 1482 w 1970"/>
                <a:gd name="T33" fmla="*/ 713 h 2200"/>
                <a:gd name="T34" fmla="*/ 1000 w 1970"/>
                <a:gd name="T35" fmla="*/ 98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0" h="2200">
                  <a:moveTo>
                    <a:pt x="1724" y="208"/>
                  </a:moveTo>
                  <a:cubicBezTo>
                    <a:pt x="1561" y="72"/>
                    <a:pt x="1334" y="0"/>
                    <a:pt x="1068" y="0"/>
                  </a:cubicBezTo>
                  <a:cubicBezTo>
                    <a:pt x="550" y="0"/>
                    <a:pt x="0" y="389"/>
                    <a:pt x="0" y="1111"/>
                  </a:cubicBezTo>
                  <a:cubicBezTo>
                    <a:pt x="0" y="1773"/>
                    <a:pt x="431" y="2200"/>
                    <a:pt x="1098" y="2200"/>
                  </a:cubicBezTo>
                  <a:cubicBezTo>
                    <a:pt x="1452" y="2200"/>
                    <a:pt x="1721" y="2092"/>
                    <a:pt x="1970" y="1850"/>
                  </a:cubicBezTo>
                  <a:cubicBezTo>
                    <a:pt x="1679" y="1530"/>
                    <a:pt x="1679" y="1530"/>
                    <a:pt x="1679" y="1530"/>
                  </a:cubicBezTo>
                  <a:cubicBezTo>
                    <a:pt x="1510" y="1695"/>
                    <a:pt x="1320" y="1776"/>
                    <a:pt x="1099" y="1776"/>
                  </a:cubicBezTo>
                  <a:cubicBezTo>
                    <a:pt x="767" y="1776"/>
                    <a:pt x="524" y="1578"/>
                    <a:pt x="480" y="1290"/>
                  </a:cubicBezTo>
                  <a:cubicBezTo>
                    <a:pt x="658" y="1356"/>
                    <a:pt x="854" y="1382"/>
                    <a:pt x="1038" y="1382"/>
                  </a:cubicBezTo>
                  <a:cubicBezTo>
                    <a:pt x="1619" y="1382"/>
                    <a:pt x="1965" y="1138"/>
                    <a:pt x="1965" y="728"/>
                  </a:cubicBezTo>
                  <a:cubicBezTo>
                    <a:pt x="1965" y="523"/>
                    <a:pt x="1879" y="339"/>
                    <a:pt x="1724" y="208"/>
                  </a:cubicBezTo>
                  <a:close/>
                  <a:moveTo>
                    <a:pt x="1000" y="987"/>
                  </a:moveTo>
                  <a:cubicBezTo>
                    <a:pt x="994" y="987"/>
                    <a:pt x="989" y="987"/>
                    <a:pt x="983" y="987"/>
                  </a:cubicBezTo>
                  <a:cubicBezTo>
                    <a:pt x="809" y="987"/>
                    <a:pt x="620" y="961"/>
                    <a:pt x="488" y="915"/>
                  </a:cubicBezTo>
                  <a:cubicBezTo>
                    <a:pt x="536" y="633"/>
                    <a:pt x="768" y="427"/>
                    <a:pt x="1055" y="427"/>
                  </a:cubicBezTo>
                  <a:cubicBezTo>
                    <a:pt x="1057" y="427"/>
                    <a:pt x="1057" y="427"/>
                    <a:pt x="1057" y="427"/>
                  </a:cubicBezTo>
                  <a:cubicBezTo>
                    <a:pt x="1311" y="427"/>
                    <a:pt x="1482" y="542"/>
                    <a:pt x="1482" y="713"/>
                  </a:cubicBezTo>
                  <a:cubicBezTo>
                    <a:pt x="1482" y="892"/>
                    <a:pt x="1320" y="984"/>
                    <a:pt x="1000" y="9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14"/>
            <p:cNvSpPr>
              <a:spLocks noChangeArrowheads="1"/>
            </p:cNvSpPr>
            <p:nvPr userDrawn="1"/>
          </p:nvSpPr>
          <p:spPr bwMode="auto">
            <a:xfrm>
              <a:off x="4009" y="3835"/>
              <a:ext cx="29" cy="1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3905" y="3763"/>
              <a:ext cx="132" cy="197"/>
            </a:xfrm>
            <a:custGeom>
              <a:avLst/>
              <a:gdLst>
                <a:gd name="T0" fmla="*/ 1979 w 2223"/>
                <a:gd name="T1" fmla="*/ 261 h 3316"/>
                <a:gd name="T2" fmla="*/ 1320 w 2223"/>
                <a:gd name="T3" fmla="*/ 0 h 3316"/>
                <a:gd name="T4" fmla="*/ 685 w 2223"/>
                <a:gd name="T5" fmla="*/ 256 h 3316"/>
                <a:gd name="T6" fmla="*/ 424 w 2223"/>
                <a:gd name="T7" fmla="*/ 1056 h 3316"/>
                <a:gd name="T8" fmla="*/ 424 w 2223"/>
                <a:gd name="T9" fmla="*/ 1205 h 3316"/>
                <a:gd name="T10" fmla="*/ 0 w 2223"/>
                <a:gd name="T11" fmla="*/ 1205 h 3316"/>
                <a:gd name="T12" fmla="*/ 0 w 2223"/>
                <a:gd name="T13" fmla="*/ 1630 h 3316"/>
                <a:gd name="T14" fmla="*/ 424 w 2223"/>
                <a:gd name="T15" fmla="*/ 1630 h 3316"/>
                <a:gd name="T16" fmla="*/ 424 w 2223"/>
                <a:gd name="T17" fmla="*/ 3316 h 3316"/>
                <a:gd name="T18" fmla="*/ 906 w 2223"/>
                <a:gd name="T19" fmla="*/ 3316 h 3316"/>
                <a:gd name="T20" fmla="*/ 906 w 2223"/>
                <a:gd name="T21" fmla="*/ 1630 h 3316"/>
                <a:gd name="T22" fmla="*/ 1359 w 2223"/>
                <a:gd name="T23" fmla="*/ 1630 h 3316"/>
                <a:gd name="T24" fmla="*/ 1359 w 2223"/>
                <a:gd name="T25" fmla="*/ 1205 h 3316"/>
                <a:gd name="T26" fmla="*/ 906 w 2223"/>
                <a:gd name="T27" fmla="*/ 1205 h 3316"/>
                <a:gd name="T28" fmla="*/ 906 w 2223"/>
                <a:gd name="T29" fmla="*/ 981 h 3316"/>
                <a:gd name="T30" fmla="*/ 1032 w 2223"/>
                <a:gd name="T31" fmla="*/ 553 h 3316"/>
                <a:gd name="T32" fmla="*/ 1329 w 2223"/>
                <a:gd name="T33" fmla="*/ 436 h 3316"/>
                <a:gd name="T34" fmla="*/ 1616 w 2223"/>
                <a:gd name="T35" fmla="*/ 543 h 3316"/>
                <a:gd name="T36" fmla="*/ 1745 w 2223"/>
                <a:gd name="T37" fmla="*/ 821 h 3316"/>
                <a:gd name="T38" fmla="*/ 2223 w 2223"/>
                <a:gd name="T39" fmla="*/ 821 h 3316"/>
                <a:gd name="T40" fmla="*/ 1979 w 2223"/>
                <a:gd name="T41" fmla="*/ 261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23" h="3316">
                  <a:moveTo>
                    <a:pt x="1979" y="261"/>
                  </a:moveTo>
                  <a:cubicBezTo>
                    <a:pt x="1819" y="93"/>
                    <a:pt x="1604" y="0"/>
                    <a:pt x="1320" y="0"/>
                  </a:cubicBezTo>
                  <a:cubicBezTo>
                    <a:pt x="1060" y="0"/>
                    <a:pt x="838" y="94"/>
                    <a:pt x="685" y="256"/>
                  </a:cubicBezTo>
                  <a:cubicBezTo>
                    <a:pt x="498" y="453"/>
                    <a:pt x="424" y="680"/>
                    <a:pt x="424" y="1056"/>
                  </a:cubicBezTo>
                  <a:cubicBezTo>
                    <a:pt x="424" y="1157"/>
                    <a:pt x="424" y="1200"/>
                    <a:pt x="424" y="1205"/>
                  </a:cubicBezTo>
                  <a:cubicBezTo>
                    <a:pt x="0" y="1205"/>
                    <a:pt x="0" y="1205"/>
                    <a:pt x="0" y="1205"/>
                  </a:cubicBezTo>
                  <a:cubicBezTo>
                    <a:pt x="0" y="1630"/>
                    <a:pt x="0" y="1630"/>
                    <a:pt x="0" y="1630"/>
                  </a:cubicBezTo>
                  <a:cubicBezTo>
                    <a:pt x="424" y="1630"/>
                    <a:pt x="424" y="1630"/>
                    <a:pt x="424" y="1630"/>
                  </a:cubicBezTo>
                  <a:cubicBezTo>
                    <a:pt x="424" y="3316"/>
                    <a:pt x="424" y="3316"/>
                    <a:pt x="424" y="3316"/>
                  </a:cubicBezTo>
                  <a:cubicBezTo>
                    <a:pt x="906" y="3316"/>
                    <a:pt x="906" y="3316"/>
                    <a:pt x="906" y="3316"/>
                  </a:cubicBezTo>
                  <a:cubicBezTo>
                    <a:pt x="906" y="1630"/>
                    <a:pt x="906" y="1630"/>
                    <a:pt x="906" y="1630"/>
                  </a:cubicBezTo>
                  <a:cubicBezTo>
                    <a:pt x="1359" y="1630"/>
                    <a:pt x="1359" y="1630"/>
                    <a:pt x="1359" y="1630"/>
                  </a:cubicBezTo>
                  <a:cubicBezTo>
                    <a:pt x="1359" y="1205"/>
                    <a:pt x="1359" y="1205"/>
                    <a:pt x="1359" y="1205"/>
                  </a:cubicBezTo>
                  <a:cubicBezTo>
                    <a:pt x="906" y="1205"/>
                    <a:pt x="906" y="1205"/>
                    <a:pt x="906" y="1205"/>
                  </a:cubicBezTo>
                  <a:cubicBezTo>
                    <a:pt x="906" y="1200"/>
                    <a:pt x="906" y="1014"/>
                    <a:pt x="906" y="981"/>
                  </a:cubicBezTo>
                  <a:cubicBezTo>
                    <a:pt x="906" y="783"/>
                    <a:pt x="930" y="658"/>
                    <a:pt x="1032" y="553"/>
                  </a:cubicBezTo>
                  <a:cubicBezTo>
                    <a:pt x="1100" y="484"/>
                    <a:pt x="1204" y="436"/>
                    <a:pt x="1329" y="436"/>
                  </a:cubicBezTo>
                  <a:cubicBezTo>
                    <a:pt x="1442" y="436"/>
                    <a:pt x="1546" y="475"/>
                    <a:pt x="1616" y="543"/>
                  </a:cubicBezTo>
                  <a:cubicBezTo>
                    <a:pt x="1693" y="618"/>
                    <a:pt x="1732" y="703"/>
                    <a:pt x="1745" y="821"/>
                  </a:cubicBezTo>
                  <a:cubicBezTo>
                    <a:pt x="2223" y="821"/>
                    <a:pt x="2223" y="821"/>
                    <a:pt x="2223" y="821"/>
                  </a:cubicBezTo>
                  <a:cubicBezTo>
                    <a:pt x="2199" y="606"/>
                    <a:pt x="2128" y="418"/>
                    <a:pt x="1979" y="2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
            <p:cNvSpPr>
              <a:spLocks noEditPoints="1"/>
            </p:cNvSpPr>
            <p:nvPr userDrawn="1"/>
          </p:nvSpPr>
          <p:spPr bwMode="auto">
            <a:xfrm>
              <a:off x="4402" y="3774"/>
              <a:ext cx="44" cy="21"/>
            </a:xfrm>
            <a:custGeom>
              <a:avLst/>
              <a:gdLst>
                <a:gd name="T0" fmla="*/ 0 w 44"/>
                <a:gd name="T1" fmla="*/ 3 h 21"/>
                <a:gd name="T2" fmla="*/ 0 w 44"/>
                <a:gd name="T3" fmla="*/ 0 h 21"/>
                <a:gd name="T4" fmla="*/ 18 w 44"/>
                <a:gd name="T5" fmla="*/ 0 h 21"/>
                <a:gd name="T6" fmla="*/ 18 w 44"/>
                <a:gd name="T7" fmla="*/ 3 h 21"/>
                <a:gd name="T8" fmla="*/ 11 w 44"/>
                <a:gd name="T9" fmla="*/ 3 h 21"/>
                <a:gd name="T10" fmla="*/ 11 w 44"/>
                <a:gd name="T11" fmla="*/ 21 h 21"/>
                <a:gd name="T12" fmla="*/ 7 w 44"/>
                <a:gd name="T13" fmla="*/ 21 h 21"/>
                <a:gd name="T14" fmla="*/ 7 w 44"/>
                <a:gd name="T15" fmla="*/ 3 h 21"/>
                <a:gd name="T16" fmla="*/ 0 w 44"/>
                <a:gd name="T17" fmla="*/ 3 h 21"/>
                <a:gd name="T18" fmla="*/ 28 w 44"/>
                <a:gd name="T19" fmla="*/ 0 h 21"/>
                <a:gd name="T20" fmla="*/ 33 w 44"/>
                <a:gd name="T21" fmla="*/ 15 h 21"/>
                <a:gd name="T22" fmla="*/ 38 w 44"/>
                <a:gd name="T23" fmla="*/ 0 h 21"/>
                <a:gd name="T24" fmla="*/ 44 w 44"/>
                <a:gd name="T25" fmla="*/ 0 h 21"/>
                <a:gd name="T26" fmla="*/ 44 w 44"/>
                <a:gd name="T27" fmla="*/ 21 h 21"/>
                <a:gd name="T28" fmla="*/ 40 w 44"/>
                <a:gd name="T29" fmla="*/ 21 h 21"/>
                <a:gd name="T30" fmla="*/ 40 w 44"/>
                <a:gd name="T31" fmla="*/ 4 h 21"/>
                <a:gd name="T32" fmla="*/ 34 w 44"/>
                <a:gd name="T33" fmla="*/ 21 h 21"/>
                <a:gd name="T34" fmla="*/ 31 w 44"/>
                <a:gd name="T35" fmla="*/ 21 h 21"/>
                <a:gd name="T36" fmla="*/ 25 w 44"/>
                <a:gd name="T37" fmla="*/ 4 h 21"/>
                <a:gd name="T38" fmla="*/ 25 w 44"/>
                <a:gd name="T39" fmla="*/ 21 h 21"/>
                <a:gd name="T40" fmla="*/ 22 w 44"/>
                <a:gd name="T41" fmla="*/ 21 h 21"/>
                <a:gd name="T42" fmla="*/ 22 w 44"/>
                <a:gd name="T43" fmla="*/ 0 h 21"/>
                <a:gd name="T44" fmla="*/ 28 w 44"/>
                <a:gd name="T4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21">
                  <a:moveTo>
                    <a:pt x="0" y="3"/>
                  </a:moveTo>
                  <a:lnTo>
                    <a:pt x="0" y="0"/>
                  </a:lnTo>
                  <a:lnTo>
                    <a:pt x="18" y="0"/>
                  </a:lnTo>
                  <a:lnTo>
                    <a:pt x="18" y="3"/>
                  </a:lnTo>
                  <a:lnTo>
                    <a:pt x="11" y="3"/>
                  </a:lnTo>
                  <a:lnTo>
                    <a:pt x="11" y="21"/>
                  </a:lnTo>
                  <a:lnTo>
                    <a:pt x="7" y="21"/>
                  </a:lnTo>
                  <a:lnTo>
                    <a:pt x="7" y="3"/>
                  </a:lnTo>
                  <a:lnTo>
                    <a:pt x="0" y="3"/>
                  </a:lnTo>
                  <a:close/>
                  <a:moveTo>
                    <a:pt x="28" y="0"/>
                  </a:moveTo>
                  <a:lnTo>
                    <a:pt x="33" y="15"/>
                  </a:lnTo>
                  <a:lnTo>
                    <a:pt x="38" y="0"/>
                  </a:lnTo>
                  <a:lnTo>
                    <a:pt x="44" y="0"/>
                  </a:lnTo>
                  <a:lnTo>
                    <a:pt x="44" y="21"/>
                  </a:lnTo>
                  <a:lnTo>
                    <a:pt x="40" y="21"/>
                  </a:lnTo>
                  <a:lnTo>
                    <a:pt x="40" y="4"/>
                  </a:lnTo>
                  <a:lnTo>
                    <a:pt x="34" y="21"/>
                  </a:lnTo>
                  <a:lnTo>
                    <a:pt x="31" y="21"/>
                  </a:lnTo>
                  <a:lnTo>
                    <a:pt x="25" y="4"/>
                  </a:lnTo>
                  <a:lnTo>
                    <a:pt x="25" y="21"/>
                  </a:lnTo>
                  <a:lnTo>
                    <a:pt x="22" y="21"/>
                  </a:lnTo>
                  <a:lnTo>
                    <a:pt x="22" y="0"/>
                  </a:lnTo>
                  <a:lnTo>
                    <a:pt x="2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194416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Image 3">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30707" b="4928"/>
          <a:stretch/>
        </p:blipFill>
        <p:spPr>
          <a:xfrm>
            <a:off x="0" y="0"/>
            <a:ext cx="12191999" cy="6858000"/>
          </a:xfrm>
          <a:prstGeom prst="rect">
            <a:avLst/>
          </a:prstGeom>
        </p:spPr>
      </p:pic>
      <p:sp>
        <p:nvSpPr>
          <p:cNvPr id="2" name="Title 1"/>
          <p:cNvSpPr>
            <a:spLocks noGrp="1"/>
          </p:cNvSpPr>
          <p:nvPr>
            <p:ph type="title"/>
          </p:nvPr>
        </p:nvSpPr>
        <p:spPr>
          <a:xfrm>
            <a:off x="831850" y="1768793"/>
            <a:ext cx="8460000" cy="2472646"/>
          </a:xfrm>
        </p:spPr>
        <p:txBody>
          <a:bodyPr anchor="ctr" anchorCtr="0">
            <a:normAutofit/>
          </a:bodyPr>
          <a:lstStyle>
            <a:lvl1pPr>
              <a:lnSpc>
                <a:spcPct val="85000"/>
              </a:lnSpc>
              <a:defRPr sz="5000">
                <a:solidFill>
                  <a:schemeClr val="bg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bg2"/>
                </a:solidFill>
              </a:defRPr>
            </a:lvl1pPr>
          </a:lstStyle>
          <a:p>
            <a:fld id="{CABD23B6-C226-40E6-8C86-F3A34BBE3A73}"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bg2"/>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bg2"/>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bg2"/>
                </a:solidFill>
              </a:rPr>
              <a:t>Slide  </a:t>
            </a:r>
          </a:p>
        </p:txBody>
      </p:sp>
    </p:spTree>
    <p:extLst>
      <p:ext uri="{BB962C8B-B14F-4D97-AF65-F5344CB8AC3E}">
        <p14:creationId xmlns:p14="http://schemas.microsoft.com/office/powerpoint/2010/main" val="32490993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image placeholder">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0" y="0"/>
            <a:ext cx="12192000" cy="6858000"/>
          </a:xfrm>
        </p:spPr>
        <p:txBody>
          <a:bodyPr/>
          <a:lstStyle/>
          <a:p>
            <a:endParaRPr lang="en-GB"/>
          </a:p>
        </p:txBody>
      </p:sp>
      <p:sp>
        <p:nvSpPr>
          <p:cNvPr id="2" name="Title 1"/>
          <p:cNvSpPr>
            <a:spLocks noGrp="1"/>
          </p:cNvSpPr>
          <p:nvPr>
            <p:ph type="title"/>
          </p:nvPr>
        </p:nvSpPr>
        <p:spPr>
          <a:xfrm>
            <a:off x="831850" y="1768793"/>
            <a:ext cx="8460000" cy="2472646"/>
          </a:xfrm>
        </p:spPr>
        <p:txBody>
          <a:bodyPr anchor="ctr" anchorCtr="0">
            <a:normAutofit/>
          </a:bodyPr>
          <a:lstStyle>
            <a:lvl1pPr>
              <a:lnSpc>
                <a:spcPct val="85000"/>
              </a:lnSpc>
              <a:defRPr sz="5000">
                <a:solidFill>
                  <a:schemeClr val="tx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tx2"/>
                </a:solidFill>
              </a:defRPr>
            </a:lvl1pPr>
          </a:lstStyle>
          <a:p>
            <a:fld id="{B78EDCBF-F72A-4B79-AFCD-CA5ED0A24CD4}"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tx2"/>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tx2"/>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tx2"/>
                </a:solidFill>
              </a:rPr>
              <a:t>Slide  </a:t>
            </a:r>
          </a:p>
        </p:txBody>
      </p:sp>
    </p:spTree>
    <p:extLst>
      <p:ext uri="{BB962C8B-B14F-4D97-AF65-F5344CB8AC3E}">
        <p14:creationId xmlns:p14="http://schemas.microsoft.com/office/powerpoint/2010/main" val="6770464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clusion leave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25438" y="317500"/>
            <a:ext cx="11541125" cy="6220800"/>
          </a:xfrm>
          <a:prstGeom prst="rect">
            <a:avLst/>
          </a:prstGeom>
        </p:spPr>
      </p:pic>
      <p:sp>
        <p:nvSpPr>
          <p:cNvPr id="2" name="Title 1"/>
          <p:cNvSpPr>
            <a:spLocks noGrp="1"/>
          </p:cNvSpPr>
          <p:nvPr>
            <p:ph type="title"/>
          </p:nvPr>
        </p:nvSpPr>
        <p:spPr>
          <a:xfrm>
            <a:off x="831850" y="1325880"/>
            <a:ext cx="7043420" cy="2915559"/>
          </a:xfrm>
        </p:spPr>
        <p:txBody>
          <a:bodyPr anchor="t" anchorCtr="0">
            <a:normAutofit/>
          </a:bodyPr>
          <a:lstStyle>
            <a:lvl1pPr>
              <a:lnSpc>
                <a:spcPct val="85000"/>
              </a:lnSpc>
              <a:defRPr sz="4000">
                <a:solidFill>
                  <a:schemeClr val="bg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bg2"/>
                </a:solidFill>
              </a:defRPr>
            </a:lvl1pPr>
          </a:lstStyle>
          <a:p>
            <a:fld id="{22CFDD3C-E6F0-497C-9D91-CA431D8ACBC7}"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bg2"/>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bg2"/>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bg2"/>
                </a:solidFill>
              </a:rPr>
              <a:t>Slide  </a:t>
            </a:r>
          </a:p>
        </p:txBody>
      </p:sp>
    </p:spTree>
    <p:extLst>
      <p:ext uri="{BB962C8B-B14F-4D97-AF65-F5344CB8AC3E}">
        <p14:creationId xmlns:p14="http://schemas.microsoft.com/office/powerpoint/2010/main" val="2634541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clusion oil">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25438" y="317500"/>
            <a:ext cx="11541125" cy="6220800"/>
          </a:xfrm>
          <a:prstGeom prst="rect">
            <a:avLst/>
          </a:prstGeom>
        </p:spPr>
      </p:pic>
      <p:sp>
        <p:nvSpPr>
          <p:cNvPr id="2" name="Title 1"/>
          <p:cNvSpPr>
            <a:spLocks noGrp="1"/>
          </p:cNvSpPr>
          <p:nvPr>
            <p:ph type="title"/>
          </p:nvPr>
        </p:nvSpPr>
        <p:spPr>
          <a:xfrm>
            <a:off x="831850" y="1325880"/>
            <a:ext cx="7043420" cy="2915559"/>
          </a:xfrm>
        </p:spPr>
        <p:txBody>
          <a:bodyPr anchor="t" anchorCtr="0">
            <a:normAutofit/>
          </a:bodyPr>
          <a:lstStyle>
            <a:lvl1pPr>
              <a:lnSpc>
                <a:spcPct val="85000"/>
              </a:lnSpc>
              <a:defRPr sz="4000">
                <a:solidFill>
                  <a:schemeClr val="bg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bg2"/>
                </a:solidFill>
              </a:defRPr>
            </a:lvl1pPr>
          </a:lstStyle>
          <a:p>
            <a:fld id="{30D4DF4B-B00E-4824-868E-6FF8789CC5F2}"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bg2"/>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bg2"/>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bg2"/>
                </a:solidFill>
              </a:rPr>
              <a:t>Slide  </a:t>
            </a:r>
          </a:p>
        </p:txBody>
      </p:sp>
    </p:spTree>
    <p:extLst>
      <p:ext uri="{BB962C8B-B14F-4D97-AF65-F5344CB8AC3E}">
        <p14:creationId xmlns:p14="http://schemas.microsoft.com/office/powerpoint/2010/main" val="35927451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clusion seed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25438" y="316800"/>
            <a:ext cx="11541125" cy="6220800"/>
          </a:xfrm>
          <a:prstGeom prst="rect">
            <a:avLst/>
          </a:prstGeom>
        </p:spPr>
      </p:pic>
      <p:sp>
        <p:nvSpPr>
          <p:cNvPr id="2" name="Title 1"/>
          <p:cNvSpPr>
            <a:spLocks noGrp="1"/>
          </p:cNvSpPr>
          <p:nvPr>
            <p:ph type="title"/>
          </p:nvPr>
        </p:nvSpPr>
        <p:spPr>
          <a:xfrm>
            <a:off x="831850" y="1325880"/>
            <a:ext cx="7043420" cy="2915559"/>
          </a:xfrm>
        </p:spPr>
        <p:txBody>
          <a:bodyPr anchor="t" anchorCtr="0">
            <a:normAutofit/>
          </a:bodyPr>
          <a:lstStyle>
            <a:lvl1pPr>
              <a:lnSpc>
                <a:spcPct val="85000"/>
              </a:lnSpc>
              <a:defRPr sz="4000">
                <a:solidFill>
                  <a:schemeClr val="bg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bg2"/>
                </a:solidFill>
              </a:defRPr>
            </a:lvl1pPr>
          </a:lstStyle>
          <a:p>
            <a:fld id="{6C1D8DDC-DDB3-4793-8220-0C4629A2CFAE}"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bg2"/>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bg2"/>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bg2"/>
                </a:solidFill>
              </a:rPr>
              <a:t>Slide  </a:t>
            </a:r>
          </a:p>
        </p:txBody>
      </p:sp>
    </p:spTree>
    <p:extLst>
      <p:ext uri="{BB962C8B-B14F-4D97-AF65-F5344CB8AC3E}">
        <p14:creationId xmlns:p14="http://schemas.microsoft.com/office/powerpoint/2010/main" val="31808708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clusion leaves light">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65710"/>
          </a:xfrm>
          <a:prstGeom prst="rect">
            <a:avLst/>
          </a:prstGeom>
        </p:spPr>
      </p:pic>
      <p:sp>
        <p:nvSpPr>
          <p:cNvPr id="10" name="Rectangle 9"/>
          <p:cNvSpPr/>
          <p:nvPr userDrawn="1"/>
        </p:nvSpPr>
        <p:spPr>
          <a:xfrm>
            <a:off x="0" y="833438"/>
            <a:ext cx="9469756" cy="520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831850" y="1325880"/>
            <a:ext cx="7043420" cy="2915559"/>
          </a:xfrm>
        </p:spPr>
        <p:txBody>
          <a:bodyPr anchor="t" anchorCtr="0">
            <a:normAutofit/>
          </a:bodyPr>
          <a:lstStyle>
            <a:lvl1pPr>
              <a:lnSpc>
                <a:spcPct val="85000"/>
              </a:lnSpc>
              <a:defRPr sz="4000">
                <a:solidFill>
                  <a:schemeClr val="tx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tx1"/>
                </a:solidFill>
              </a:defRPr>
            </a:lvl1pPr>
          </a:lstStyle>
          <a:p>
            <a:fld id="{6BB0E99B-E2C8-405B-BF81-00A5B4FC60F3}"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tx1"/>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tx1"/>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tx1"/>
                </a:solidFill>
              </a:rPr>
              <a:t>Slide  </a:t>
            </a:r>
          </a:p>
        </p:txBody>
      </p:sp>
    </p:spTree>
    <p:extLst>
      <p:ext uri="{BB962C8B-B14F-4D97-AF65-F5344CB8AC3E}">
        <p14:creationId xmlns:p14="http://schemas.microsoft.com/office/powerpoint/2010/main" val="16634023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clusion oil light">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65710"/>
          </a:xfrm>
          <a:prstGeom prst="rect">
            <a:avLst/>
          </a:prstGeom>
        </p:spPr>
      </p:pic>
      <p:sp>
        <p:nvSpPr>
          <p:cNvPr id="10" name="Rectangle 9"/>
          <p:cNvSpPr/>
          <p:nvPr userDrawn="1"/>
        </p:nvSpPr>
        <p:spPr>
          <a:xfrm>
            <a:off x="0" y="833438"/>
            <a:ext cx="9469756" cy="520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831850" y="1325880"/>
            <a:ext cx="7043420" cy="2915559"/>
          </a:xfrm>
        </p:spPr>
        <p:txBody>
          <a:bodyPr anchor="t" anchorCtr="0">
            <a:normAutofit/>
          </a:bodyPr>
          <a:lstStyle>
            <a:lvl1pPr>
              <a:lnSpc>
                <a:spcPct val="85000"/>
              </a:lnSpc>
              <a:defRPr sz="4000">
                <a:solidFill>
                  <a:schemeClr val="tx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tx1"/>
                </a:solidFill>
              </a:defRPr>
            </a:lvl1pPr>
          </a:lstStyle>
          <a:p>
            <a:fld id="{C589E1E5-216F-43AB-B2E9-3FF27DDA4359}"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tx1"/>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tx1"/>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tx1"/>
                </a:solidFill>
              </a:rPr>
              <a:t>Slide  </a:t>
            </a:r>
          </a:p>
        </p:txBody>
      </p:sp>
    </p:spTree>
    <p:extLst>
      <p:ext uri="{BB962C8B-B14F-4D97-AF65-F5344CB8AC3E}">
        <p14:creationId xmlns:p14="http://schemas.microsoft.com/office/powerpoint/2010/main" val="22639085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clusion seeds ligh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67"/>
            <a:ext cx="12192000" cy="6858000"/>
          </a:xfrm>
          <a:prstGeom prst="rect">
            <a:avLst/>
          </a:prstGeom>
        </p:spPr>
      </p:pic>
      <p:sp>
        <p:nvSpPr>
          <p:cNvPr id="10" name="Rectangle 9"/>
          <p:cNvSpPr/>
          <p:nvPr userDrawn="1"/>
        </p:nvSpPr>
        <p:spPr>
          <a:xfrm>
            <a:off x="0" y="833438"/>
            <a:ext cx="9469756" cy="520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831850" y="1325880"/>
            <a:ext cx="7043420" cy="2915559"/>
          </a:xfrm>
        </p:spPr>
        <p:txBody>
          <a:bodyPr anchor="t" anchorCtr="0">
            <a:normAutofit/>
          </a:bodyPr>
          <a:lstStyle>
            <a:lvl1pPr>
              <a:lnSpc>
                <a:spcPct val="85000"/>
              </a:lnSpc>
              <a:defRPr sz="4000">
                <a:solidFill>
                  <a:schemeClr val="tx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tx1"/>
                </a:solidFill>
              </a:defRPr>
            </a:lvl1pPr>
          </a:lstStyle>
          <a:p>
            <a:fld id="{486D087B-D3FB-43DF-9A41-E6A50FCA2A97}"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tx1"/>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tx1"/>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tx1"/>
                </a:solidFill>
              </a:rPr>
              <a:t>Slide  </a:t>
            </a:r>
          </a:p>
        </p:txBody>
      </p:sp>
    </p:spTree>
    <p:extLst>
      <p:ext uri="{BB962C8B-B14F-4D97-AF65-F5344CB8AC3E}">
        <p14:creationId xmlns:p14="http://schemas.microsoft.com/office/powerpoint/2010/main" val="24324100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0533" y="2319338"/>
            <a:ext cx="5181600" cy="369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2319338"/>
            <a:ext cx="5181600" cy="3694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0AC813CF-8AEB-430F-B260-28E8297DE51D}" type="datetime1">
              <a:rPr lang="en-GB" smtClean="0"/>
              <a:t>21/10/2024</a:t>
            </a:fld>
            <a:endParaRPr lang="en-GB"/>
          </a:p>
        </p:txBody>
      </p:sp>
      <p:sp>
        <p:nvSpPr>
          <p:cNvPr id="6" name="Footer Placeholder 5"/>
          <p:cNvSpPr>
            <a:spLocks noGrp="1"/>
          </p:cNvSpPr>
          <p:nvPr>
            <p:ph type="ftr" sz="quarter" idx="11"/>
          </p:nvPr>
        </p:nvSpPr>
        <p:spPr/>
        <p:txBody>
          <a:bodyPr/>
          <a:lstStyle/>
          <a:p>
            <a:r>
              <a:rPr lang="en-GB"/>
              <a:t>Presentation title</a:t>
            </a:r>
          </a:p>
        </p:txBody>
      </p:sp>
      <p:sp>
        <p:nvSpPr>
          <p:cNvPr id="7" name="Slide Number Placeholder 6"/>
          <p:cNvSpPr>
            <a:spLocks noGrp="1"/>
          </p:cNvSpPr>
          <p:nvPr>
            <p:ph type="sldNum" sz="quarter" idx="12"/>
          </p:nvPr>
        </p:nvSpPr>
        <p:spPr/>
        <p:txBody>
          <a:bodyPr/>
          <a:lstStyle/>
          <a:p>
            <a:fld id="{8470F1AB-319E-48AE-9489-D88EBE16142A}" type="slidenum">
              <a:rPr lang="en-GB" smtClean="0"/>
              <a:t>‹#›</a:t>
            </a:fld>
            <a:endParaRPr lang="en-GB"/>
          </a:p>
        </p:txBody>
      </p:sp>
    </p:spTree>
    <p:extLst>
      <p:ext uri="{BB962C8B-B14F-4D97-AF65-F5344CB8AC3E}">
        <p14:creationId xmlns:p14="http://schemas.microsoft.com/office/powerpoint/2010/main" val="7626541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0533" y="2308542"/>
            <a:ext cx="5157787" cy="571818"/>
          </a:xfrm>
        </p:spPr>
        <p:txBody>
          <a:bodyPr anchor="t" anchorCtr="0">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72200" y="2308542"/>
            <a:ext cx="5183188" cy="571818"/>
          </a:xfrm>
        </p:spPr>
        <p:txBody>
          <a:bodyPr anchor="t" anchorCtr="0">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BDCBB180-CD52-431A-886D-F2CD9206618A}" type="datetime1">
              <a:rPr lang="en-GB" smtClean="0"/>
              <a:t>21/10/2024</a:t>
            </a:fld>
            <a:endParaRPr lang="en-GB"/>
          </a:p>
        </p:txBody>
      </p:sp>
      <p:sp>
        <p:nvSpPr>
          <p:cNvPr id="8" name="Footer Placeholder 7"/>
          <p:cNvSpPr>
            <a:spLocks noGrp="1"/>
          </p:cNvSpPr>
          <p:nvPr>
            <p:ph type="ftr" sz="quarter" idx="11"/>
          </p:nvPr>
        </p:nvSpPr>
        <p:spPr/>
        <p:txBody>
          <a:bodyPr/>
          <a:lstStyle/>
          <a:p>
            <a:r>
              <a:rPr lang="en-GB"/>
              <a:t>Presentation title</a:t>
            </a:r>
          </a:p>
        </p:txBody>
      </p:sp>
      <p:sp>
        <p:nvSpPr>
          <p:cNvPr id="9" name="Slide Number Placeholder 8"/>
          <p:cNvSpPr>
            <a:spLocks noGrp="1"/>
          </p:cNvSpPr>
          <p:nvPr>
            <p:ph type="sldNum" sz="quarter" idx="12"/>
          </p:nvPr>
        </p:nvSpPr>
        <p:spPr/>
        <p:txBody>
          <a:bodyPr/>
          <a:lstStyle/>
          <a:p>
            <a:fld id="{8470F1AB-319E-48AE-9489-D88EBE16142A}" type="slidenum">
              <a:rPr lang="en-GB" smtClean="0"/>
              <a:t>‹#›</a:t>
            </a:fld>
            <a:endParaRPr lang="en-GB"/>
          </a:p>
        </p:txBody>
      </p:sp>
      <p:sp>
        <p:nvSpPr>
          <p:cNvPr id="10" name="Title 9"/>
          <p:cNvSpPr>
            <a:spLocks noGrp="1"/>
          </p:cNvSpPr>
          <p:nvPr>
            <p:ph type="title"/>
          </p:nvPr>
        </p:nvSpPr>
        <p:spPr/>
        <p:txBody>
          <a:bodyPr/>
          <a:lstStyle/>
          <a:p>
            <a:r>
              <a:rPr lang="en-US"/>
              <a:t>Click to edit Master title style</a:t>
            </a:r>
            <a:endParaRPr lang="en-GB"/>
          </a:p>
        </p:txBody>
      </p:sp>
      <p:sp>
        <p:nvSpPr>
          <p:cNvPr id="11" name="Content Placeholder 2"/>
          <p:cNvSpPr>
            <a:spLocks noGrp="1"/>
          </p:cNvSpPr>
          <p:nvPr>
            <p:ph sz="half" idx="13"/>
          </p:nvPr>
        </p:nvSpPr>
        <p:spPr>
          <a:xfrm>
            <a:off x="450533" y="2960370"/>
            <a:ext cx="5181600" cy="3053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p:cNvSpPr>
            <a:spLocks noGrp="1"/>
          </p:cNvSpPr>
          <p:nvPr>
            <p:ph sz="half" idx="2"/>
          </p:nvPr>
        </p:nvSpPr>
        <p:spPr>
          <a:xfrm>
            <a:off x="6172200" y="2960370"/>
            <a:ext cx="5181600" cy="3053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359809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seeds">
    <p:spTree>
      <p:nvGrpSpPr>
        <p:cNvPr id="1" name=""/>
        <p:cNvGrpSpPr/>
        <p:nvPr/>
      </p:nvGrpSpPr>
      <p:grpSpPr>
        <a:xfrm>
          <a:off x="0" y="0"/>
          <a:ext cx="0" cy="0"/>
          <a:chOff x="0" y="0"/>
          <a:chExt cx="0" cy="0"/>
        </a:xfrm>
      </p:grpSpPr>
      <p:pic>
        <p:nvPicPr>
          <p:cNvPr id="7" name="Picture 6" descr="Upfield-identity-r2-textures-wip10_seeds-main.pn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Rectangle 7"/>
          <p:cNvSpPr/>
          <p:nvPr userDrawn="1"/>
        </p:nvSpPr>
        <p:spPr>
          <a:xfrm>
            <a:off x="2722244" y="1870712"/>
            <a:ext cx="9469756" cy="4987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3189288" y="2931042"/>
            <a:ext cx="8559800" cy="2387600"/>
          </a:xfrm>
        </p:spPr>
        <p:txBody>
          <a:bodyPr anchor="t" anchorCtr="0">
            <a:normAutofit/>
          </a:bodyPr>
          <a:lstStyle>
            <a:lvl1pPr algn="l">
              <a:lnSpc>
                <a:spcPct val="87000"/>
              </a:lnSpc>
              <a:defRPr sz="5000"/>
            </a:lvl1pPr>
          </a:lstStyle>
          <a:p>
            <a:r>
              <a:rPr lang="en-US"/>
              <a:t>Click to edit Master title style</a:t>
            </a:r>
            <a:endParaRPr lang="en-GB"/>
          </a:p>
        </p:txBody>
      </p:sp>
      <p:sp>
        <p:nvSpPr>
          <p:cNvPr id="3" name="Subtitle 2"/>
          <p:cNvSpPr>
            <a:spLocks noGrp="1"/>
          </p:cNvSpPr>
          <p:nvPr>
            <p:ph type="subTitle" idx="1" hasCustomPrompt="1"/>
          </p:nvPr>
        </p:nvSpPr>
        <p:spPr>
          <a:xfrm>
            <a:off x="3189288" y="1977390"/>
            <a:ext cx="8559800" cy="710328"/>
          </a:xfrm>
        </p:spPr>
        <p:txBody>
          <a:bodyPr anchor="b" anchorCtr="0"/>
          <a:lstStyle>
            <a:lvl1pPr marL="0" indent="0" algn="l">
              <a:buNone/>
              <a:defRPr sz="24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endParaRPr lang="en-GB"/>
          </a:p>
        </p:txBody>
      </p:sp>
      <p:grpSp>
        <p:nvGrpSpPr>
          <p:cNvPr id="10" name="Group 4"/>
          <p:cNvGrpSpPr>
            <a:grpSpLocks noChangeAspect="1"/>
          </p:cNvGrpSpPr>
          <p:nvPr userDrawn="1"/>
        </p:nvGrpSpPr>
        <p:grpSpPr bwMode="auto">
          <a:xfrm>
            <a:off x="5111749" y="5922963"/>
            <a:ext cx="1946274" cy="452437"/>
            <a:chOff x="3220" y="3731"/>
            <a:chExt cx="1226" cy="285"/>
          </a:xfrm>
          <a:solidFill>
            <a:schemeClr val="tx2"/>
          </a:solidFill>
        </p:grpSpPr>
        <p:sp>
          <p:nvSpPr>
            <p:cNvPr id="12" name="Freeform 5"/>
            <p:cNvSpPr>
              <a:spLocks/>
            </p:cNvSpPr>
            <p:nvPr userDrawn="1"/>
          </p:nvSpPr>
          <p:spPr bwMode="auto">
            <a:xfrm>
              <a:off x="3373" y="3731"/>
              <a:ext cx="139" cy="168"/>
            </a:xfrm>
            <a:custGeom>
              <a:avLst/>
              <a:gdLst>
                <a:gd name="T0" fmla="*/ 1877 w 2346"/>
                <a:gd name="T1" fmla="*/ 256 h 2836"/>
                <a:gd name="T2" fmla="*/ 347 w 2346"/>
                <a:gd name="T3" fmla="*/ 732 h 2836"/>
                <a:gd name="T4" fmla="*/ 198 w 2346"/>
                <a:gd name="T5" fmla="*/ 2836 h 2836"/>
                <a:gd name="T6" fmla="*/ 1952 w 2346"/>
                <a:gd name="T7" fmla="*/ 1423 h 2836"/>
                <a:gd name="T8" fmla="*/ 1877 w 2346"/>
                <a:gd name="T9" fmla="*/ 256 h 2836"/>
              </a:gdLst>
              <a:ahLst/>
              <a:cxnLst>
                <a:cxn ang="0">
                  <a:pos x="T0" y="T1"/>
                </a:cxn>
                <a:cxn ang="0">
                  <a:pos x="T2" y="T3"/>
                </a:cxn>
                <a:cxn ang="0">
                  <a:pos x="T4" y="T5"/>
                </a:cxn>
                <a:cxn ang="0">
                  <a:pos x="T6" y="T7"/>
                </a:cxn>
                <a:cxn ang="0">
                  <a:pos x="T8" y="T9"/>
                </a:cxn>
              </a:cxnLst>
              <a:rect l="0" t="0" r="r" b="b"/>
              <a:pathLst>
                <a:path w="2346" h="2836">
                  <a:moveTo>
                    <a:pt x="1877" y="256"/>
                  </a:moveTo>
                  <a:cubicBezTo>
                    <a:pt x="1440" y="0"/>
                    <a:pt x="754" y="116"/>
                    <a:pt x="347" y="732"/>
                  </a:cubicBezTo>
                  <a:cubicBezTo>
                    <a:pt x="0" y="1257"/>
                    <a:pt x="25" y="2110"/>
                    <a:pt x="198" y="2836"/>
                  </a:cubicBezTo>
                  <a:cubicBezTo>
                    <a:pt x="553" y="1921"/>
                    <a:pt x="1522" y="1777"/>
                    <a:pt x="1952" y="1423"/>
                  </a:cubicBezTo>
                  <a:cubicBezTo>
                    <a:pt x="2346" y="1097"/>
                    <a:pt x="2320" y="515"/>
                    <a:pt x="1877"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3391" y="3857"/>
              <a:ext cx="97" cy="74"/>
            </a:xfrm>
            <a:custGeom>
              <a:avLst/>
              <a:gdLst>
                <a:gd name="T0" fmla="*/ 399 w 1646"/>
                <a:gd name="T1" fmla="*/ 1221 h 1246"/>
                <a:gd name="T2" fmla="*/ 1232 w 1646"/>
                <a:gd name="T3" fmla="*/ 946 h 1246"/>
                <a:gd name="T4" fmla="*/ 1558 w 1646"/>
                <a:gd name="T5" fmla="*/ 281 h 1246"/>
                <a:gd name="T6" fmla="*/ 866 w 1646"/>
                <a:gd name="T7" fmla="*/ 167 h 1246"/>
                <a:gd name="T8" fmla="*/ 135 w 1646"/>
                <a:gd name="T9" fmla="*/ 812 h 1246"/>
                <a:gd name="T10" fmla="*/ 45 w 1646"/>
                <a:gd name="T11" fmla="*/ 1146 h 1246"/>
                <a:gd name="T12" fmla="*/ 399 w 1646"/>
                <a:gd name="T13" fmla="*/ 1221 h 1246"/>
              </a:gdLst>
              <a:ahLst/>
              <a:cxnLst>
                <a:cxn ang="0">
                  <a:pos x="T0" y="T1"/>
                </a:cxn>
                <a:cxn ang="0">
                  <a:pos x="T2" y="T3"/>
                </a:cxn>
                <a:cxn ang="0">
                  <a:pos x="T4" y="T5"/>
                </a:cxn>
                <a:cxn ang="0">
                  <a:pos x="T6" y="T7"/>
                </a:cxn>
                <a:cxn ang="0">
                  <a:pos x="T8" y="T9"/>
                </a:cxn>
                <a:cxn ang="0">
                  <a:pos x="T10" y="T11"/>
                </a:cxn>
                <a:cxn ang="0">
                  <a:pos x="T12" y="T13"/>
                </a:cxn>
              </a:cxnLst>
              <a:rect l="0" t="0" r="r" b="b"/>
              <a:pathLst>
                <a:path w="1646" h="1246">
                  <a:moveTo>
                    <a:pt x="399" y="1221"/>
                  </a:moveTo>
                  <a:cubicBezTo>
                    <a:pt x="630" y="1195"/>
                    <a:pt x="954" y="1100"/>
                    <a:pt x="1232" y="946"/>
                  </a:cubicBezTo>
                  <a:cubicBezTo>
                    <a:pt x="1630" y="726"/>
                    <a:pt x="1646" y="459"/>
                    <a:pt x="1558" y="281"/>
                  </a:cubicBezTo>
                  <a:cubicBezTo>
                    <a:pt x="1459" y="81"/>
                    <a:pt x="1189" y="0"/>
                    <a:pt x="866" y="167"/>
                  </a:cubicBezTo>
                  <a:cubicBezTo>
                    <a:pt x="551" y="330"/>
                    <a:pt x="287" y="584"/>
                    <a:pt x="135" y="812"/>
                  </a:cubicBezTo>
                  <a:cubicBezTo>
                    <a:pt x="35" y="964"/>
                    <a:pt x="0" y="1069"/>
                    <a:pt x="45" y="1146"/>
                  </a:cubicBezTo>
                  <a:cubicBezTo>
                    <a:pt x="87" y="1219"/>
                    <a:pt x="183" y="1246"/>
                    <a:pt x="399" y="1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3235" y="3900"/>
              <a:ext cx="262" cy="116"/>
            </a:xfrm>
            <a:custGeom>
              <a:avLst/>
              <a:gdLst>
                <a:gd name="T0" fmla="*/ 647 w 4416"/>
                <a:gd name="T1" fmla="*/ 324 h 1943"/>
                <a:gd name="T2" fmla="*/ 169 w 4416"/>
                <a:gd name="T3" fmla="*/ 777 h 1943"/>
                <a:gd name="T4" fmla="*/ 1941 w 4416"/>
                <a:gd name="T5" fmla="*/ 1906 h 1943"/>
                <a:gd name="T6" fmla="*/ 4416 w 4416"/>
                <a:gd name="T7" fmla="*/ 193 h 1943"/>
                <a:gd name="T8" fmla="*/ 2422 w 4416"/>
                <a:gd name="T9" fmla="*/ 890 h 1943"/>
                <a:gd name="T10" fmla="*/ 647 w 4416"/>
                <a:gd name="T11" fmla="*/ 324 h 1943"/>
              </a:gdLst>
              <a:ahLst/>
              <a:cxnLst>
                <a:cxn ang="0">
                  <a:pos x="T0" y="T1"/>
                </a:cxn>
                <a:cxn ang="0">
                  <a:pos x="T2" y="T3"/>
                </a:cxn>
                <a:cxn ang="0">
                  <a:pos x="T4" y="T5"/>
                </a:cxn>
                <a:cxn ang="0">
                  <a:pos x="T6" y="T7"/>
                </a:cxn>
                <a:cxn ang="0">
                  <a:pos x="T8" y="T9"/>
                </a:cxn>
                <a:cxn ang="0">
                  <a:pos x="T10" y="T11"/>
                </a:cxn>
              </a:cxnLst>
              <a:rect l="0" t="0" r="r" b="b"/>
              <a:pathLst>
                <a:path w="4416" h="1943">
                  <a:moveTo>
                    <a:pt x="647" y="324"/>
                  </a:moveTo>
                  <a:cubicBezTo>
                    <a:pt x="160" y="0"/>
                    <a:pt x="0" y="335"/>
                    <a:pt x="169" y="777"/>
                  </a:cubicBezTo>
                  <a:cubicBezTo>
                    <a:pt x="423" y="1444"/>
                    <a:pt x="1102" y="1881"/>
                    <a:pt x="1941" y="1906"/>
                  </a:cubicBezTo>
                  <a:cubicBezTo>
                    <a:pt x="3194" y="1943"/>
                    <a:pt x="4101" y="1092"/>
                    <a:pt x="4416" y="193"/>
                  </a:cubicBezTo>
                  <a:cubicBezTo>
                    <a:pt x="4014" y="567"/>
                    <a:pt x="3326" y="913"/>
                    <a:pt x="2422" y="890"/>
                  </a:cubicBezTo>
                  <a:cubicBezTo>
                    <a:pt x="1832" y="875"/>
                    <a:pt x="1221" y="707"/>
                    <a:pt x="647"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3220" y="3747"/>
              <a:ext cx="147" cy="178"/>
            </a:xfrm>
            <a:custGeom>
              <a:avLst/>
              <a:gdLst>
                <a:gd name="T0" fmla="*/ 1220 w 2480"/>
                <a:gd name="T1" fmla="*/ 1524 h 3000"/>
                <a:gd name="T2" fmla="*/ 2475 w 2480"/>
                <a:gd name="T3" fmla="*/ 2898 h 3000"/>
                <a:gd name="T4" fmla="*/ 2085 w 2480"/>
                <a:gd name="T5" fmla="*/ 1226 h 3000"/>
                <a:gd name="T6" fmla="*/ 429 w 2480"/>
                <a:gd name="T7" fmla="*/ 314 h 3000"/>
                <a:gd name="T8" fmla="*/ 824 w 2480"/>
                <a:gd name="T9" fmla="*/ 2169 h 3000"/>
                <a:gd name="T10" fmla="*/ 2161 w 2480"/>
                <a:gd name="T11" fmla="*/ 3000 h 3000"/>
                <a:gd name="T12" fmla="*/ 1176 w 2480"/>
                <a:gd name="T13" fmla="*/ 1537 h 3000"/>
                <a:gd name="T14" fmla="*/ 1220 w 2480"/>
                <a:gd name="T15" fmla="*/ 1524 h 3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0" h="3000">
                  <a:moveTo>
                    <a:pt x="1220" y="1524"/>
                  </a:moveTo>
                  <a:cubicBezTo>
                    <a:pt x="1665" y="2130"/>
                    <a:pt x="2113" y="2617"/>
                    <a:pt x="2475" y="2898"/>
                  </a:cubicBezTo>
                  <a:cubicBezTo>
                    <a:pt x="2480" y="2419"/>
                    <a:pt x="2337" y="1683"/>
                    <a:pt x="2085" y="1226"/>
                  </a:cubicBezTo>
                  <a:cubicBezTo>
                    <a:pt x="1579" y="311"/>
                    <a:pt x="828" y="0"/>
                    <a:pt x="429" y="314"/>
                  </a:cubicBezTo>
                  <a:cubicBezTo>
                    <a:pt x="0" y="652"/>
                    <a:pt x="256" y="1559"/>
                    <a:pt x="824" y="2169"/>
                  </a:cubicBezTo>
                  <a:cubicBezTo>
                    <a:pt x="1260" y="2638"/>
                    <a:pt x="1766" y="2907"/>
                    <a:pt x="2161" y="3000"/>
                  </a:cubicBezTo>
                  <a:cubicBezTo>
                    <a:pt x="1749" y="2664"/>
                    <a:pt x="1295" y="1923"/>
                    <a:pt x="1176" y="1537"/>
                  </a:cubicBezTo>
                  <a:cubicBezTo>
                    <a:pt x="1156" y="1470"/>
                    <a:pt x="1182" y="1471"/>
                    <a:pt x="1220" y="15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4259" y="3774"/>
              <a:ext cx="128" cy="189"/>
            </a:xfrm>
            <a:custGeom>
              <a:avLst/>
              <a:gdLst>
                <a:gd name="T0" fmla="*/ 1678 w 2160"/>
                <a:gd name="T1" fmla="*/ 0 h 3187"/>
                <a:gd name="T2" fmla="*/ 1678 w 2160"/>
                <a:gd name="T3" fmla="*/ 1237 h 3187"/>
                <a:gd name="T4" fmla="*/ 1030 w 2160"/>
                <a:gd name="T5" fmla="*/ 986 h 3187"/>
                <a:gd name="T6" fmla="*/ 0 w 2160"/>
                <a:gd name="T7" fmla="*/ 2089 h 3187"/>
                <a:gd name="T8" fmla="*/ 1030 w 2160"/>
                <a:gd name="T9" fmla="*/ 3187 h 3187"/>
                <a:gd name="T10" fmla="*/ 1703 w 2160"/>
                <a:gd name="T11" fmla="*/ 2910 h 3187"/>
                <a:gd name="T12" fmla="*/ 1743 w 2160"/>
                <a:gd name="T13" fmla="*/ 3142 h 3187"/>
                <a:gd name="T14" fmla="*/ 2160 w 2160"/>
                <a:gd name="T15" fmla="*/ 3142 h 3187"/>
                <a:gd name="T16" fmla="*/ 2160 w 2160"/>
                <a:gd name="T17" fmla="*/ 0 h 3187"/>
                <a:gd name="T18" fmla="*/ 1678 w 2160"/>
                <a:gd name="T19" fmla="*/ 0 h 3187"/>
                <a:gd name="T20" fmla="*/ 1093 w 2160"/>
                <a:gd name="T21" fmla="*/ 2751 h 3187"/>
                <a:gd name="T22" fmla="*/ 482 w 2160"/>
                <a:gd name="T23" fmla="*/ 2089 h 3187"/>
                <a:gd name="T24" fmla="*/ 1093 w 2160"/>
                <a:gd name="T25" fmla="*/ 1422 h 3187"/>
                <a:gd name="T26" fmla="*/ 1710 w 2160"/>
                <a:gd name="T27" fmla="*/ 2089 h 3187"/>
                <a:gd name="T28" fmla="*/ 1093 w 2160"/>
                <a:gd name="T29" fmla="*/ 275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0" h="3187">
                  <a:moveTo>
                    <a:pt x="1678" y="0"/>
                  </a:moveTo>
                  <a:cubicBezTo>
                    <a:pt x="1678" y="1237"/>
                    <a:pt x="1678" y="1237"/>
                    <a:pt x="1678" y="1237"/>
                  </a:cubicBezTo>
                  <a:cubicBezTo>
                    <a:pt x="1514" y="1072"/>
                    <a:pt x="1284" y="986"/>
                    <a:pt x="1030" y="986"/>
                  </a:cubicBezTo>
                  <a:cubicBezTo>
                    <a:pt x="443" y="986"/>
                    <a:pt x="0" y="1460"/>
                    <a:pt x="0" y="2089"/>
                  </a:cubicBezTo>
                  <a:cubicBezTo>
                    <a:pt x="0" y="2715"/>
                    <a:pt x="443" y="3187"/>
                    <a:pt x="1030" y="3187"/>
                  </a:cubicBezTo>
                  <a:cubicBezTo>
                    <a:pt x="1297" y="3187"/>
                    <a:pt x="1536" y="3093"/>
                    <a:pt x="1703" y="2910"/>
                  </a:cubicBezTo>
                  <a:cubicBezTo>
                    <a:pt x="1743" y="3142"/>
                    <a:pt x="1743" y="3142"/>
                    <a:pt x="1743" y="3142"/>
                  </a:cubicBezTo>
                  <a:cubicBezTo>
                    <a:pt x="2160" y="3142"/>
                    <a:pt x="2160" y="3142"/>
                    <a:pt x="2160" y="3142"/>
                  </a:cubicBezTo>
                  <a:cubicBezTo>
                    <a:pt x="2160" y="0"/>
                    <a:pt x="2160" y="0"/>
                    <a:pt x="2160" y="0"/>
                  </a:cubicBezTo>
                  <a:lnTo>
                    <a:pt x="1678" y="0"/>
                  </a:lnTo>
                  <a:close/>
                  <a:moveTo>
                    <a:pt x="1093" y="2751"/>
                  </a:moveTo>
                  <a:cubicBezTo>
                    <a:pt x="745" y="2751"/>
                    <a:pt x="482" y="2466"/>
                    <a:pt x="482" y="2089"/>
                  </a:cubicBezTo>
                  <a:cubicBezTo>
                    <a:pt x="482" y="1709"/>
                    <a:pt x="745" y="1422"/>
                    <a:pt x="1093" y="1422"/>
                  </a:cubicBezTo>
                  <a:cubicBezTo>
                    <a:pt x="1445" y="1422"/>
                    <a:pt x="1710" y="1709"/>
                    <a:pt x="1710" y="2089"/>
                  </a:cubicBezTo>
                  <a:cubicBezTo>
                    <a:pt x="1710" y="2466"/>
                    <a:pt x="1445" y="2751"/>
                    <a:pt x="1093" y="27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noEditPoints="1"/>
            </p:cNvSpPr>
            <p:nvPr userDrawn="1"/>
          </p:nvSpPr>
          <p:spPr bwMode="auto">
            <a:xfrm>
              <a:off x="3769" y="3832"/>
              <a:ext cx="128" cy="182"/>
            </a:xfrm>
            <a:custGeom>
              <a:avLst/>
              <a:gdLst>
                <a:gd name="T0" fmla="*/ 482 w 2161"/>
                <a:gd name="T1" fmla="*/ 1949 h 3066"/>
                <a:gd name="T2" fmla="*/ 1131 w 2161"/>
                <a:gd name="T3" fmla="*/ 2202 h 3066"/>
                <a:gd name="T4" fmla="*/ 2161 w 2161"/>
                <a:gd name="T5" fmla="*/ 1099 h 3066"/>
                <a:gd name="T6" fmla="*/ 1131 w 2161"/>
                <a:gd name="T7" fmla="*/ 0 h 3066"/>
                <a:gd name="T8" fmla="*/ 457 w 2161"/>
                <a:gd name="T9" fmla="*/ 280 h 3066"/>
                <a:gd name="T10" fmla="*/ 418 w 2161"/>
                <a:gd name="T11" fmla="*/ 46 h 3066"/>
                <a:gd name="T12" fmla="*/ 0 w 2161"/>
                <a:gd name="T13" fmla="*/ 46 h 3066"/>
                <a:gd name="T14" fmla="*/ 0 w 2161"/>
                <a:gd name="T15" fmla="*/ 3066 h 3066"/>
                <a:gd name="T16" fmla="*/ 482 w 2161"/>
                <a:gd name="T17" fmla="*/ 3066 h 3066"/>
                <a:gd name="T18" fmla="*/ 482 w 2161"/>
                <a:gd name="T19" fmla="*/ 1949 h 3066"/>
                <a:gd name="T20" fmla="*/ 450 w 2161"/>
                <a:gd name="T21" fmla="*/ 1099 h 3066"/>
                <a:gd name="T22" fmla="*/ 1067 w 2161"/>
                <a:gd name="T23" fmla="*/ 437 h 3066"/>
                <a:gd name="T24" fmla="*/ 1679 w 2161"/>
                <a:gd name="T25" fmla="*/ 1099 h 3066"/>
                <a:gd name="T26" fmla="*/ 1067 w 2161"/>
                <a:gd name="T27" fmla="*/ 1765 h 3066"/>
                <a:gd name="T28" fmla="*/ 450 w 2161"/>
                <a:gd name="T29" fmla="*/ 1099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1" h="3066">
                  <a:moveTo>
                    <a:pt x="482" y="1949"/>
                  </a:moveTo>
                  <a:cubicBezTo>
                    <a:pt x="648" y="2119"/>
                    <a:pt x="880" y="2202"/>
                    <a:pt x="1131" y="2202"/>
                  </a:cubicBezTo>
                  <a:cubicBezTo>
                    <a:pt x="1718" y="2202"/>
                    <a:pt x="2161" y="1728"/>
                    <a:pt x="2161" y="1099"/>
                  </a:cubicBezTo>
                  <a:cubicBezTo>
                    <a:pt x="2161" y="473"/>
                    <a:pt x="1718" y="0"/>
                    <a:pt x="1131" y="0"/>
                  </a:cubicBezTo>
                  <a:cubicBezTo>
                    <a:pt x="870" y="0"/>
                    <a:pt x="626" y="90"/>
                    <a:pt x="457" y="280"/>
                  </a:cubicBezTo>
                  <a:cubicBezTo>
                    <a:pt x="418" y="46"/>
                    <a:pt x="418" y="46"/>
                    <a:pt x="418" y="46"/>
                  </a:cubicBezTo>
                  <a:cubicBezTo>
                    <a:pt x="0" y="46"/>
                    <a:pt x="0" y="46"/>
                    <a:pt x="0" y="46"/>
                  </a:cubicBezTo>
                  <a:cubicBezTo>
                    <a:pt x="0" y="3066"/>
                    <a:pt x="0" y="3066"/>
                    <a:pt x="0" y="3066"/>
                  </a:cubicBezTo>
                  <a:cubicBezTo>
                    <a:pt x="482" y="3066"/>
                    <a:pt x="482" y="3066"/>
                    <a:pt x="482" y="3066"/>
                  </a:cubicBezTo>
                  <a:lnTo>
                    <a:pt x="482" y="1949"/>
                  </a:lnTo>
                  <a:close/>
                  <a:moveTo>
                    <a:pt x="450" y="1099"/>
                  </a:moveTo>
                  <a:cubicBezTo>
                    <a:pt x="450" y="722"/>
                    <a:pt x="715" y="437"/>
                    <a:pt x="1067" y="437"/>
                  </a:cubicBezTo>
                  <a:cubicBezTo>
                    <a:pt x="1416" y="437"/>
                    <a:pt x="1679" y="722"/>
                    <a:pt x="1679" y="1099"/>
                  </a:cubicBezTo>
                  <a:cubicBezTo>
                    <a:pt x="1679" y="1479"/>
                    <a:pt x="1416" y="1765"/>
                    <a:pt x="1067" y="1765"/>
                  </a:cubicBezTo>
                  <a:cubicBezTo>
                    <a:pt x="715" y="1765"/>
                    <a:pt x="450" y="1479"/>
                    <a:pt x="450" y="10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3587" y="3774"/>
              <a:ext cx="153" cy="189"/>
            </a:xfrm>
            <a:custGeom>
              <a:avLst/>
              <a:gdLst>
                <a:gd name="T0" fmla="*/ 2585 w 2585"/>
                <a:gd name="T1" fmla="*/ 0 h 3187"/>
                <a:gd name="T2" fmla="*/ 2085 w 2585"/>
                <a:gd name="T3" fmla="*/ 0 h 3187"/>
                <a:gd name="T4" fmla="*/ 2085 w 2585"/>
                <a:gd name="T5" fmla="*/ 1889 h 3187"/>
                <a:gd name="T6" fmla="*/ 1290 w 2585"/>
                <a:gd name="T7" fmla="*/ 2724 h 3187"/>
                <a:gd name="T8" fmla="*/ 500 w 2585"/>
                <a:gd name="T9" fmla="*/ 1889 h 3187"/>
                <a:gd name="T10" fmla="*/ 500 w 2585"/>
                <a:gd name="T11" fmla="*/ 0 h 3187"/>
                <a:gd name="T12" fmla="*/ 0 w 2585"/>
                <a:gd name="T13" fmla="*/ 0 h 3187"/>
                <a:gd name="T14" fmla="*/ 0 w 2585"/>
                <a:gd name="T15" fmla="*/ 1898 h 3187"/>
                <a:gd name="T16" fmla="*/ 1290 w 2585"/>
                <a:gd name="T17" fmla="*/ 3187 h 3187"/>
                <a:gd name="T18" fmla="*/ 2585 w 2585"/>
                <a:gd name="T19" fmla="*/ 1898 h 3187"/>
                <a:gd name="T20" fmla="*/ 2585 w 2585"/>
                <a:gd name="T21" fmla="*/ 0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5" h="3187">
                  <a:moveTo>
                    <a:pt x="2585" y="0"/>
                  </a:moveTo>
                  <a:cubicBezTo>
                    <a:pt x="2085" y="0"/>
                    <a:pt x="2085" y="0"/>
                    <a:pt x="2085" y="0"/>
                  </a:cubicBezTo>
                  <a:cubicBezTo>
                    <a:pt x="2085" y="1889"/>
                    <a:pt x="2085" y="1889"/>
                    <a:pt x="2085" y="1889"/>
                  </a:cubicBezTo>
                  <a:cubicBezTo>
                    <a:pt x="2085" y="2420"/>
                    <a:pt x="1740" y="2724"/>
                    <a:pt x="1290" y="2724"/>
                  </a:cubicBezTo>
                  <a:cubicBezTo>
                    <a:pt x="841" y="2724"/>
                    <a:pt x="500" y="2420"/>
                    <a:pt x="500" y="1889"/>
                  </a:cubicBezTo>
                  <a:cubicBezTo>
                    <a:pt x="500" y="0"/>
                    <a:pt x="500" y="0"/>
                    <a:pt x="500" y="0"/>
                  </a:cubicBezTo>
                  <a:cubicBezTo>
                    <a:pt x="0" y="0"/>
                    <a:pt x="0" y="0"/>
                    <a:pt x="0" y="0"/>
                  </a:cubicBezTo>
                  <a:cubicBezTo>
                    <a:pt x="0" y="1898"/>
                    <a:pt x="0" y="1898"/>
                    <a:pt x="0" y="1898"/>
                  </a:cubicBezTo>
                  <a:cubicBezTo>
                    <a:pt x="0" y="2693"/>
                    <a:pt x="545" y="3187"/>
                    <a:pt x="1290" y="3187"/>
                  </a:cubicBezTo>
                  <a:cubicBezTo>
                    <a:pt x="2024" y="3187"/>
                    <a:pt x="2585" y="2681"/>
                    <a:pt x="2585" y="1898"/>
                  </a:cubicBezTo>
                  <a:lnTo>
                    <a:pt x="25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2"/>
            <p:cNvSpPr>
              <a:spLocks noChangeArrowheads="1"/>
            </p:cNvSpPr>
            <p:nvPr userDrawn="1"/>
          </p:nvSpPr>
          <p:spPr bwMode="auto">
            <a:xfrm>
              <a:off x="4205" y="3774"/>
              <a:ext cx="29" cy="18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noEditPoints="1"/>
            </p:cNvSpPr>
            <p:nvPr userDrawn="1"/>
          </p:nvSpPr>
          <p:spPr bwMode="auto">
            <a:xfrm>
              <a:off x="4063" y="3832"/>
              <a:ext cx="117" cy="131"/>
            </a:xfrm>
            <a:custGeom>
              <a:avLst/>
              <a:gdLst>
                <a:gd name="T0" fmla="*/ 1724 w 1970"/>
                <a:gd name="T1" fmla="*/ 208 h 2200"/>
                <a:gd name="T2" fmla="*/ 1068 w 1970"/>
                <a:gd name="T3" fmla="*/ 0 h 2200"/>
                <a:gd name="T4" fmla="*/ 0 w 1970"/>
                <a:gd name="T5" fmla="*/ 1111 h 2200"/>
                <a:gd name="T6" fmla="*/ 1098 w 1970"/>
                <a:gd name="T7" fmla="*/ 2200 h 2200"/>
                <a:gd name="T8" fmla="*/ 1970 w 1970"/>
                <a:gd name="T9" fmla="*/ 1850 h 2200"/>
                <a:gd name="T10" fmla="*/ 1679 w 1970"/>
                <a:gd name="T11" fmla="*/ 1530 h 2200"/>
                <a:gd name="T12" fmla="*/ 1099 w 1970"/>
                <a:gd name="T13" fmla="*/ 1776 h 2200"/>
                <a:gd name="T14" fmla="*/ 480 w 1970"/>
                <a:gd name="T15" fmla="*/ 1290 h 2200"/>
                <a:gd name="T16" fmla="*/ 1038 w 1970"/>
                <a:gd name="T17" fmla="*/ 1382 h 2200"/>
                <a:gd name="T18" fmla="*/ 1965 w 1970"/>
                <a:gd name="T19" fmla="*/ 728 h 2200"/>
                <a:gd name="T20" fmla="*/ 1724 w 1970"/>
                <a:gd name="T21" fmla="*/ 208 h 2200"/>
                <a:gd name="T22" fmla="*/ 1000 w 1970"/>
                <a:gd name="T23" fmla="*/ 987 h 2200"/>
                <a:gd name="T24" fmla="*/ 983 w 1970"/>
                <a:gd name="T25" fmla="*/ 987 h 2200"/>
                <a:gd name="T26" fmla="*/ 488 w 1970"/>
                <a:gd name="T27" fmla="*/ 915 h 2200"/>
                <a:gd name="T28" fmla="*/ 1055 w 1970"/>
                <a:gd name="T29" fmla="*/ 427 h 2200"/>
                <a:gd name="T30" fmla="*/ 1057 w 1970"/>
                <a:gd name="T31" fmla="*/ 427 h 2200"/>
                <a:gd name="T32" fmla="*/ 1482 w 1970"/>
                <a:gd name="T33" fmla="*/ 713 h 2200"/>
                <a:gd name="T34" fmla="*/ 1000 w 1970"/>
                <a:gd name="T35" fmla="*/ 98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0" h="2200">
                  <a:moveTo>
                    <a:pt x="1724" y="208"/>
                  </a:moveTo>
                  <a:cubicBezTo>
                    <a:pt x="1561" y="72"/>
                    <a:pt x="1334" y="0"/>
                    <a:pt x="1068" y="0"/>
                  </a:cubicBezTo>
                  <a:cubicBezTo>
                    <a:pt x="550" y="0"/>
                    <a:pt x="0" y="389"/>
                    <a:pt x="0" y="1111"/>
                  </a:cubicBezTo>
                  <a:cubicBezTo>
                    <a:pt x="0" y="1773"/>
                    <a:pt x="431" y="2200"/>
                    <a:pt x="1098" y="2200"/>
                  </a:cubicBezTo>
                  <a:cubicBezTo>
                    <a:pt x="1452" y="2200"/>
                    <a:pt x="1721" y="2092"/>
                    <a:pt x="1970" y="1850"/>
                  </a:cubicBezTo>
                  <a:cubicBezTo>
                    <a:pt x="1679" y="1530"/>
                    <a:pt x="1679" y="1530"/>
                    <a:pt x="1679" y="1530"/>
                  </a:cubicBezTo>
                  <a:cubicBezTo>
                    <a:pt x="1510" y="1695"/>
                    <a:pt x="1320" y="1776"/>
                    <a:pt x="1099" y="1776"/>
                  </a:cubicBezTo>
                  <a:cubicBezTo>
                    <a:pt x="767" y="1776"/>
                    <a:pt x="524" y="1578"/>
                    <a:pt x="480" y="1290"/>
                  </a:cubicBezTo>
                  <a:cubicBezTo>
                    <a:pt x="658" y="1356"/>
                    <a:pt x="854" y="1382"/>
                    <a:pt x="1038" y="1382"/>
                  </a:cubicBezTo>
                  <a:cubicBezTo>
                    <a:pt x="1619" y="1382"/>
                    <a:pt x="1965" y="1138"/>
                    <a:pt x="1965" y="728"/>
                  </a:cubicBezTo>
                  <a:cubicBezTo>
                    <a:pt x="1965" y="523"/>
                    <a:pt x="1879" y="339"/>
                    <a:pt x="1724" y="208"/>
                  </a:cubicBezTo>
                  <a:close/>
                  <a:moveTo>
                    <a:pt x="1000" y="987"/>
                  </a:moveTo>
                  <a:cubicBezTo>
                    <a:pt x="994" y="987"/>
                    <a:pt x="989" y="987"/>
                    <a:pt x="983" y="987"/>
                  </a:cubicBezTo>
                  <a:cubicBezTo>
                    <a:pt x="809" y="987"/>
                    <a:pt x="620" y="961"/>
                    <a:pt x="488" y="915"/>
                  </a:cubicBezTo>
                  <a:cubicBezTo>
                    <a:pt x="536" y="633"/>
                    <a:pt x="768" y="427"/>
                    <a:pt x="1055" y="427"/>
                  </a:cubicBezTo>
                  <a:cubicBezTo>
                    <a:pt x="1057" y="427"/>
                    <a:pt x="1057" y="427"/>
                    <a:pt x="1057" y="427"/>
                  </a:cubicBezTo>
                  <a:cubicBezTo>
                    <a:pt x="1311" y="427"/>
                    <a:pt x="1482" y="542"/>
                    <a:pt x="1482" y="713"/>
                  </a:cubicBezTo>
                  <a:cubicBezTo>
                    <a:pt x="1482" y="892"/>
                    <a:pt x="1320" y="984"/>
                    <a:pt x="1000" y="9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14"/>
            <p:cNvSpPr>
              <a:spLocks noChangeArrowheads="1"/>
            </p:cNvSpPr>
            <p:nvPr userDrawn="1"/>
          </p:nvSpPr>
          <p:spPr bwMode="auto">
            <a:xfrm>
              <a:off x="4009" y="3835"/>
              <a:ext cx="29" cy="1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3905" y="3763"/>
              <a:ext cx="132" cy="197"/>
            </a:xfrm>
            <a:custGeom>
              <a:avLst/>
              <a:gdLst>
                <a:gd name="T0" fmla="*/ 1979 w 2223"/>
                <a:gd name="T1" fmla="*/ 261 h 3316"/>
                <a:gd name="T2" fmla="*/ 1320 w 2223"/>
                <a:gd name="T3" fmla="*/ 0 h 3316"/>
                <a:gd name="T4" fmla="*/ 685 w 2223"/>
                <a:gd name="T5" fmla="*/ 256 h 3316"/>
                <a:gd name="T6" fmla="*/ 424 w 2223"/>
                <a:gd name="T7" fmla="*/ 1056 h 3316"/>
                <a:gd name="T8" fmla="*/ 424 w 2223"/>
                <a:gd name="T9" fmla="*/ 1205 h 3316"/>
                <a:gd name="T10" fmla="*/ 0 w 2223"/>
                <a:gd name="T11" fmla="*/ 1205 h 3316"/>
                <a:gd name="T12" fmla="*/ 0 w 2223"/>
                <a:gd name="T13" fmla="*/ 1630 h 3316"/>
                <a:gd name="T14" fmla="*/ 424 w 2223"/>
                <a:gd name="T15" fmla="*/ 1630 h 3316"/>
                <a:gd name="T16" fmla="*/ 424 w 2223"/>
                <a:gd name="T17" fmla="*/ 3316 h 3316"/>
                <a:gd name="T18" fmla="*/ 906 w 2223"/>
                <a:gd name="T19" fmla="*/ 3316 h 3316"/>
                <a:gd name="T20" fmla="*/ 906 w 2223"/>
                <a:gd name="T21" fmla="*/ 1630 h 3316"/>
                <a:gd name="T22" fmla="*/ 1359 w 2223"/>
                <a:gd name="T23" fmla="*/ 1630 h 3316"/>
                <a:gd name="T24" fmla="*/ 1359 w 2223"/>
                <a:gd name="T25" fmla="*/ 1205 h 3316"/>
                <a:gd name="T26" fmla="*/ 906 w 2223"/>
                <a:gd name="T27" fmla="*/ 1205 h 3316"/>
                <a:gd name="T28" fmla="*/ 906 w 2223"/>
                <a:gd name="T29" fmla="*/ 981 h 3316"/>
                <a:gd name="T30" fmla="*/ 1032 w 2223"/>
                <a:gd name="T31" fmla="*/ 553 h 3316"/>
                <a:gd name="T32" fmla="*/ 1329 w 2223"/>
                <a:gd name="T33" fmla="*/ 436 h 3316"/>
                <a:gd name="T34" fmla="*/ 1616 w 2223"/>
                <a:gd name="T35" fmla="*/ 543 h 3316"/>
                <a:gd name="T36" fmla="*/ 1745 w 2223"/>
                <a:gd name="T37" fmla="*/ 821 h 3316"/>
                <a:gd name="T38" fmla="*/ 2223 w 2223"/>
                <a:gd name="T39" fmla="*/ 821 h 3316"/>
                <a:gd name="T40" fmla="*/ 1979 w 2223"/>
                <a:gd name="T41" fmla="*/ 261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23" h="3316">
                  <a:moveTo>
                    <a:pt x="1979" y="261"/>
                  </a:moveTo>
                  <a:cubicBezTo>
                    <a:pt x="1819" y="93"/>
                    <a:pt x="1604" y="0"/>
                    <a:pt x="1320" y="0"/>
                  </a:cubicBezTo>
                  <a:cubicBezTo>
                    <a:pt x="1060" y="0"/>
                    <a:pt x="838" y="94"/>
                    <a:pt x="685" y="256"/>
                  </a:cubicBezTo>
                  <a:cubicBezTo>
                    <a:pt x="498" y="453"/>
                    <a:pt x="424" y="680"/>
                    <a:pt x="424" y="1056"/>
                  </a:cubicBezTo>
                  <a:cubicBezTo>
                    <a:pt x="424" y="1157"/>
                    <a:pt x="424" y="1200"/>
                    <a:pt x="424" y="1205"/>
                  </a:cubicBezTo>
                  <a:cubicBezTo>
                    <a:pt x="0" y="1205"/>
                    <a:pt x="0" y="1205"/>
                    <a:pt x="0" y="1205"/>
                  </a:cubicBezTo>
                  <a:cubicBezTo>
                    <a:pt x="0" y="1630"/>
                    <a:pt x="0" y="1630"/>
                    <a:pt x="0" y="1630"/>
                  </a:cubicBezTo>
                  <a:cubicBezTo>
                    <a:pt x="424" y="1630"/>
                    <a:pt x="424" y="1630"/>
                    <a:pt x="424" y="1630"/>
                  </a:cubicBezTo>
                  <a:cubicBezTo>
                    <a:pt x="424" y="3316"/>
                    <a:pt x="424" y="3316"/>
                    <a:pt x="424" y="3316"/>
                  </a:cubicBezTo>
                  <a:cubicBezTo>
                    <a:pt x="906" y="3316"/>
                    <a:pt x="906" y="3316"/>
                    <a:pt x="906" y="3316"/>
                  </a:cubicBezTo>
                  <a:cubicBezTo>
                    <a:pt x="906" y="1630"/>
                    <a:pt x="906" y="1630"/>
                    <a:pt x="906" y="1630"/>
                  </a:cubicBezTo>
                  <a:cubicBezTo>
                    <a:pt x="1359" y="1630"/>
                    <a:pt x="1359" y="1630"/>
                    <a:pt x="1359" y="1630"/>
                  </a:cubicBezTo>
                  <a:cubicBezTo>
                    <a:pt x="1359" y="1205"/>
                    <a:pt x="1359" y="1205"/>
                    <a:pt x="1359" y="1205"/>
                  </a:cubicBezTo>
                  <a:cubicBezTo>
                    <a:pt x="906" y="1205"/>
                    <a:pt x="906" y="1205"/>
                    <a:pt x="906" y="1205"/>
                  </a:cubicBezTo>
                  <a:cubicBezTo>
                    <a:pt x="906" y="1200"/>
                    <a:pt x="906" y="1014"/>
                    <a:pt x="906" y="981"/>
                  </a:cubicBezTo>
                  <a:cubicBezTo>
                    <a:pt x="906" y="783"/>
                    <a:pt x="930" y="658"/>
                    <a:pt x="1032" y="553"/>
                  </a:cubicBezTo>
                  <a:cubicBezTo>
                    <a:pt x="1100" y="484"/>
                    <a:pt x="1204" y="436"/>
                    <a:pt x="1329" y="436"/>
                  </a:cubicBezTo>
                  <a:cubicBezTo>
                    <a:pt x="1442" y="436"/>
                    <a:pt x="1546" y="475"/>
                    <a:pt x="1616" y="543"/>
                  </a:cubicBezTo>
                  <a:cubicBezTo>
                    <a:pt x="1693" y="618"/>
                    <a:pt x="1732" y="703"/>
                    <a:pt x="1745" y="821"/>
                  </a:cubicBezTo>
                  <a:cubicBezTo>
                    <a:pt x="2223" y="821"/>
                    <a:pt x="2223" y="821"/>
                    <a:pt x="2223" y="821"/>
                  </a:cubicBezTo>
                  <a:cubicBezTo>
                    <a:pt x="2199" y="606"/>
                    <a:pt x="2128" y="418"/>
                    <a:pt x="1979" y="2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
            <p:cNvSpPr>
              <a:spLocks noEditPoints="1"/>
            </p:cNvSpPr>
            <p:nvPr userDrawn="1"/>
          </p:nvSpPr>
          <p:spPr bwMode="auto">
            <a:xfrm>
              <a:off x="4402" y="3774"/>
              <a:ext cx="44" cy="21"/>
            </a:xfrm>
            <a:custGeom>
              <a:avLst/>
              <a:gdLst>
                <a:gd name="T0" fmla="*/ 0 w 44"/>
                <a:gd name="T1" fmla="*/ 3 h 21"/>
                <a:gd name="T2" fmla="*/ 0 w 44"/>
                <a:gd name="T3" fmla="*/ 0 h 21"/>
                <a:gd name="T4" fmla="*/ 18 w 44"/>
                <a:gd name="T5" fmla="*/ 0 h 21"/>
                <a:gd name="T6" fmla="*/ 18 w 44"/>
                <a:gd name="T7" fmla="*/ 3 h 21"/>
                <a:gd name="T8" fmla="*/ 11 w 44"/>
                <a:gd name="T9" fmla="*/ 3 h 21"/>
                <a:gd name="T10" fmla="*/ 11 w 44"/>
                <a:gd name="T11" fmla="*/ 21 h 21"/>
                <a:gd name="T12" fmla="*/ 7 w 44"/>
                <a:gd name="T13" fmla="*/ 21 h 21"/>
                <a:gd name="T14" fmla="*/ 7 w 44"/>
                <a:gd name="T15" fmla="*/ 3 h 21"/>
                <a:gd name="T16" fmla="*/ 0 w 44"/>
                <a:gd name="T17" fmla="*/ 3 h 21"/>
                <a:gd name="T18" fmla="*/ 28 w 44"/>
                <a:gd name="T19" fmla="*/ 0 h 21"/>
                <a:gd name="T20" fmla="*/ 33 w 44"/>
                <a:gd name="T21" fmla="*/ 15 h 21"/>
                <a:gd name="T22" fmla="*/ 38 w 44"/>
                <a:gd name="T23" fmla="*/ 0 h 21"/>
                <a:gd name="T24" fmla="*/ 44 w 44"/>
                <a:gd name="T25" fmla="*/ 0 h 21"/>
                <a:gd name="T26" fmla="*/ 44 w 44"/>
                <a:gd name="T27" fmla="*/ 21 h 21"/>
                <a:gd name="T28" fmla="*/ 40 w 44"/>
                <a:gd name="T29" fmla="*/ 21 h 21"/>
                <a:gd name="T30" fmla="*/ 40 w 44"/>
                <a:gd name="T31" fmla="*/ 4 h 21"/>
                <a:gd name="T32" fmla="*/ 34 w 44"/>
                <a:gd name="T33" fmla="*/ 21 h 21"/>
                <a:gd name="T34" fmla="*/ 31 w 44"/>
                <a:gd name="T35" fmla="*/ 21 h 21"/>
                <a:gd name="T36" fmla="*/ 25 w 44"/>
                <a:gd name="T37" fmla="*/ 4 h 21"/>
                <a:gd name="T38" fmla="*/ 25 w 44"/>
                <a:gd name="T39" fmla="*/ 21 h 21"/>
                <a:gd name="T40" fmla="*/ 22 w 44"/>
                <a:gd name="T41" fmla="*/ 21 h 21"/>
                <a:gd name="T42" fmla="*/ 22 w 44"/>
                <a:gd name="T43" fmla="*/ 0 h 21"/>
                <a:gd name="T44" fmla="*/ 28 w 44"/>
                <a:gd name="T4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21">
                  <a:moveTo>
                    <a:pt x="0" y="3"/>
                  </a:moveTo>
                  <a:lnTo>
                    <a:pt x="0" y="0"/>
                  </a:lnTo>
                  <a:lnTo>
                    <a:pt x="18" y="0"/>
                  </a:lnTo>
                  <a:lnTo>
                    <a:pt x="18" y="3"/>
                  </a:lnTo>
                  <a:lnTo>
                    <a:pt x="11" y="3"/>
                  </a:lnTo>
                  <a:lnTo>
                    <a:pt x="11" y="21"/>
                  </a:lnTo>
                  <a:lnTo>
                    <a:pt x="7" y="21"/>
                  </a:lnTo>
                  <a:lnTo>
                    <a:pt x="7" y="3"/>
                  </a:lnTo>
                  <a:lnTo>
                    <a:pt x="0" y="3"/>
                  </a:lnTo>
                  <a:close/>
                  <a:moveTo>
                    <a:pt x="28" y="0"/>
                  </a:moveTo>
                  <a:lnTo>
                    <a:pt x="33" y="15"/>
                  </a:lnTo>
                  <a:lnTo>
                    <a:pt x="38" y="0"/>
                  </a:lnTo>
                  <a:lnTo>
                    <a:pt x="44" y="0"/>
                  </a:lnTo>
                  <a:lnTo>
                    <a:pt x="44" y="21"/>
                  </a:lnTo>
                  <a:lnTo>
                    <a:pt x="40" y="21"/>
                  </a:lnTo>
                  <a:lnTo>
                    <a:pt x="40" y="4"/>
                  </a:lnTo>
                  <a:lnTo>
                    <a:pt x="34" y="21"/>
                  </a:lnTo>
                  <a:lnTo>
                    <a:pt x="31" y="21"/>
                  </a:lnTo>
                  <a:lnTo>
                    <a:pt x="25" y="4"/>
                  </a:lnTo>
                  <a:lnTo>
                    <a:pt x="25" y="21"/>
                  </a:lnTo>
                  <a:lnTo>
                    <a:pt x="22" y="21"/>
                  </a:lnTo>
                  <a:lnTo>
                    <a:pt x="22" y="0"/>
                  </a:lnTo>
                  <a:lnTo>
                    <a:pt x="2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697905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0270DA8B-270D-4D4A-A632-9E1B99C81CC5}" type="datetime1">
              <a:rPr lang="en-GB" smtClean="0"/>
              <a:t>21/10/2024</a:t>
            </a:fld>
            <a:endParaRPr lang="en-GB"/>
          </a:p>
        </p:txBody>
      </p:sp>
      <p:sp>
        <p:nvSpPr>
          <p:cNvPr id="4" name="Footer Placeholder 3"/>
          <p:cNvSpPr>
            <a:spLocks noGrp="1"/>
          </p:cNvSpPr>
          <p:nvPr>
            <p:ph type="ftr" sz="quarter" idx="11"/>
          </p:nvPr>
        </p:nvSpPr>
        <p:spPr/>
        <p:txBody>
          <a:bodyPr/>
          <a:lstStyle/>
          <a:p>
            <a:r>
              <a:rPr lang="en-GB"/>
              <a:t>Presentation title</a:t>
            </a:r>
          </a:p>
        </p:txBody>
      </p:sp>
      <p:sp>
        <p:nvSpPr>
          <p:cNvPr id="5" name="Slide Number Placeholder 4"/>
          <p:cNvSpPr>
            <a:spLocks noGrp="1"/>
          </p:cNvSpPr>
          <p:nvPr>
            <p:ph type="sldNum" sz="quarter" idx="12"/>
          </p:nvPr>
        </p:nvSpPr>
        <p:spPr/>
        <p:txBody>
          <a:bodyPr/>
          <a:lstStyle/>
          <a:p>
            <a:fld id="{8470F1AB-319E-48AE-9489-D88EBE16142A}" type="slidenum">
              <a:rPr lang="en-GB" smtClean="0"/>
              <a:t>‹#›</a:t>
            </a:fld>
            <a:endParaRPr lang="en-GB"/>
          </a:p>
        </p:txBody>
      </p:sp>
    </p:spTree>
    <p:extLst>
      <p:ext uri="{BB962C8B-B14F-4D97-AF65-F5344CB8AC3E}">
        <p14:creationId xmlns:p14="http://schemas.microsoft.com/office/powerpoint/2010/main" val="15369321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581AF5-94E3-4C8D-BD54-FB3101CCA5C8}" type="datetime1">
              <a:rPr lang="en-GB" smtClean="0"/>
              <a:t>21/10/2024</a:t>
            </a:fld>
            <a:endParaRPr lang="en-GB"/>
          </a:p>
        </p:txBody>
      </p:sp>
      <p:sp>
        <p:nvSpPr>
          <p:cNvPr id="3" name="Footer Placeholder 2"/>
          <p:cNvSpPr>
            <a:spLocks noGrp="1"/>
          </p:cNvSpPr>
          <p:nvPr>
            <p:ph type="ftr" sz="quarter" idx="11"/>
          </p:nvPr>
        </p:nvSpPr>
        <p:spPr/>
        <p:txBody>
          <a:bodyPr/>
          <a:lstStyle/>
          <a:p>
            <a:r>
              <a:rPr lang="en-GB"/>
              <a:t>Presentation title</a:t>
            </a:r>
          </a:p>
        </p:txBody>
      </p:sp>
      <p:sp>
        <p:nvSpPr>
          <p:cNvPr id="4" name="Slide Number Placeholder 3"/>
          <p:cNvSpPr>
            <a:spLocks noGrp="1"/>
          </p:cNvSpPr>
          <p:nvPr>
            <p:ph type="sldNum" sz="quarter" idx="12"/>
          </p:nvPr>
        </p:nvSpPr>
        <p:spPr/>
        <p:txBody>
          <a:bodyPr/>
          <a:lstStyle/>
          <a:p>
            <a:fld id="{8470F1AB-319E-48AE-9489-D88EBE16142A}" type="slidenum">
              <a:rPr lang="en-GB" smtClean="0"/>
              <a:t>‹#›</a:t>
            </a:fld>
            <a:endParaRPr lang="en-GB"/>
          </a:p>
        </p:txBody>
      </p:sp>
    </p:spTree>
    <p:extLst>
      <p:ext uri="{BB962C8B-B14F-4D97-AF65-F5344CB8AC3E}">
        <p14:creationId xmlns:p14="http://schemas.microsoft.com/office/powerpoint/2010/main" val="4593773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hank you leaves">
    <p:spTree>
      <p:nvGrpSpPr>
        <p:cNvPr id="1" name=""/>
        <p:cNvGrpSpPr/>
        <p:nvPr/>
      </p:nvGrpSpPr>
      <p:grpSpPr>
        <a:xfrm>
          <a:off x="0" y="0"/>
          <a:ext cx="0" cy="0"/>
          <a:chOff x="0" y="0"/>
          <a:chExt cx="0" cy="0"/>
        </a:xfrm>
      </p:grpSpPr>
      <p:pic>
        <p:nvPicPr>
          <p:cNvPr id="26" name="Picture 25" descr="Upfield-identity-r2-textures-wip10_leaves-main.pn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Rectangle 7"/>
          <p:cNvSpPr/>
          <p:nvPr userDrawn="1"/>
        </p:nvSpPr>
        <p:spPr>
          <a:xfrm>
            <a:off x="-1200" y="331353"/>
            <a:ext cx="9469756" cy="6207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801106" y="919243"/>
            <a:ext cx="6250339" cy="995781"/>
          </a:xfrm>
        </p:spPr>
        <p:txBody>
          <a:bodyPr anchor="t" anchorCtr="0">
            <a:noAutofit/>
          </a:bodyPr>
          <a:lstStyle>
            <a:lvl1pPr algn="l">
              <a:lnSpc>
                <a:spcPct val="87000"/>
              </a:lnSpc>
              <a:defRPr sz="5000"/>
            </a:lvl1pPr>
          </a:lstStyle>
          <a:p>
            <a:r>
              <a:rPr lang="en-US"/>
              <a:t>Thank you</a:t>
            </a:r>
            <a:endParaRPr lang="en-GB"/>
          </a:p>
        </p:txBody>
      </p:sp>
      <p:sp>
        <p:nvSpPr>
          <p:cNvPr id="3" name="Subtitle 2"/>
          <p:cNvSpPr>
            <a:spLocks noGrp="1"/>
          </p:cNvSpPr>
          <p:nvPr>
            <p:ph type="subTitle" idx="1"/>
          </p:nvPr>
        </p:nvSpPr>
        <p:spPr>
          <a:xfrm>
            <a:off x="801106" y="1899438"/>
            <a:ext cx="5960055" cy="1529562"/>
          </a:xfrm>
        </p:spPr>
        <p:txBody>
          <a:bodyPr anchor="t" anchorCtr="0">
            <a:noAutofit/>
          </a:bodyPr>
          <a:lstStyle>
            <a:lvl1pPr marL="0" indent="0" algn="l">
              <a:buNone/>
              <a:defRPr sz="27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a:p>
        </p:txBody>
      </p:sp>
      <p:grpSp>
        <p:nvGrpSpPr>
          <p:cNvPr id="10" name="Group 4"/>
          <p:cNvGrpSpPr>
            <a:grpSpLocks noChangeAspect="1"/>
          </p:cNvGrpSpPr>
          <p:nvPr userDrawn="1"/>
        </p:nvGrpSpPr>
        <p:grpSpPr bwMode="auto">
          <a:xfrm>
            <a:off x="5111749" y="5676223"/>
            <a:ext cx="1946274" cy="452437"/>
            <a:chOff x="3220" y="3731"/>
            <a:chExt cx="1226" cy="285"/>
          </a:xfrm>
          <a:solidFill>
            <a:schemeClr val="tx2"/>
          </a:solidFill>
        </p:grpSpPr>
        <p:sp>
          <p:nvSpPr>
            <p:cNvPr id="12" name="Freeform 5"/>
            <p:cNvSpPr>
              <a:spLocks/>
            </p:cNvSpPr>
            <p:nvPr userDrawn="1"/>
          </p:nvSpPr>
          <p:spPr bwMode="auto">
            <a:xfrm>
              <a:off x="3373" y="3731"/>
              <a:ext cx="139" cy="168"/>
            </a:xfrm>
            <a:custGeom>
              <a:avLst/>
              <a:gdLst>
                <a:gd name="T0" fmla="*/ 1877 w 2346"/>
                <a:gd name="T1" fmla="*/ 256 h 2836"/>
                <a:gd name="T2" fmla="*/ 347 w 2346"/>
                <a:gd name="T3" fmla="*/ 732 h 2836"/>
                <a:gd name="T4" fmla="*/ 198 w 2346"/>
                <a:gd name="T5" fmla="*/ 2836 h 2836"/>
                <a:gd name="T6" fmla="*/ 1952 w 2346"/>
                <a:gd name="T7" fmla="*/ 1423 h 2836"/>
                <a:gd name="T8" fmla="*/ 1877 w 2346"/>
                <a:gd name="T9" fmla="*/ 256 h 2836"/>
              </a:gdLst>
              <a:ahLst/>
              <a:cxnLst>
                <a:cxn ang="0">
                  <a:pos x="T0" y="T1"/>
                </a:cxn>
                <a:cxn ang="0">
                  <a:pos x="T2" y="T3"/>
                </a:cxn>
                <a:cxn ang="0">
                  <a:pos x="T4" y="T5"/>
                </a:cxn>
                <a:cxn ang="0">
                  <a:pos x="T6" y="T7"/>
                </a:cxn>
                <a:cxn ang="0">
                  <a:pos x="T8" y="T9"/>
                </a:cxn>
              </a:cxnLst>
              <a:rect l="0" t="0" r="r" b="b"/>
              <a:pathLst>
                <a:path w="2346" h="2836">
                  <a:moveTo>
                    <a:pt x="1877" y="256"/>
                  </a:moveTo>
                  <a:cubicBezTo>
                    <a:pt x="1440" y="0"/>
                    <a:pt x="754" y="116"/>
                    <a:pt x="347" y="732"/>
                  </a:cubicBezTo>
                  <a:cubicBezTo>
                    <a:pt x="0" y="1257"/>
                    <a:pt x="25" y="2110"/>
                    <a:pt x="198" y="2836"/>
                  </a:cubicBezTo>
                  <a:cubicBezTo>
                    <a:pt x="553" y="1921"/>
                    <a:pt x="1522" y="1777"/>
                    <a:pt x="1952" y="1423"/>
                  </a:cubicBezTo>
                  <a:cubicBezTo>
                    <a:pt x="2346" y="1097"/>
                    <a:pt x="2320" y="515"/>
                    <a:pt x="1877"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3391" y="3857"/>
              <a:ext cx="97" cy="74"/>
            </a:xfrm>
            <a:custGeom>
              <a:avLst/>
              <a:gdLst>
                <a:gd name="T0" fmla="*/ 399 w 1646"/>
                <a:gd name="T1" fmla="*/ 1221 h 1246"/>
                <a:gd name="T2" fmla="*/ 1232 w 1646"/>
                <a:gd name="T3" fmla="*/ 946 h 1246"/>
                <a:gd name="T4" fmla="*/ 1558 w 1646"/>
                <a:gd name="T5" fmla="*/ 281 h 1246"/>
                <a:gd name="T6" fmla="*/ 866 w 1646"/>
                <a:gd name="T7" fmla="*/ 167 h 1246"/>
                <a:gd name="T8" fmla="*/ 135 w 1646"/>
                <a:gd name="T9" fmla="*/ 812 h 1246"/>
                <a:gd name="T10" fmla="*/ 45 w 1646"/>
                <a:gd name="T11" fmla="*/ 1146 h 1246"/>
                <a:gd name="T12" fmla="*/ 399 w 1646"/>
                <a:gd name="T13" fmla="*/ 1221 h 1246"/>
              </a:gdLst>
              <a:ahLst/>
              <a:cxnLst>
                <a:cxn ang="0">
                  <a:pos x="T0" y="T1"/>
                </a:cxn>
                <a:cxn ang="0">
                  <a:pos x="T2" y="T3"/>
                </a:cxn>
                <a:cxn ang="0">
                  <a:pos x="T4" y="T5"/>
                </a:cxn>
                <a:cxn ang="0">
                  <a:pos x="T6" y="T7"/>
                </a:cxn>
                <a:cxn ang="0">
                  <a:pos x="T8" y="T9"/>
                </a:cxn>
                <a:cxn ang="0">
                  <a:pos x="T10" y="T11"/>
                </a:cxn>
                <a:cxn ang="0">
                  <a:pos x="T12" y="T13"/>
                </a:cxn>
              </a:cxnLst>
              <a:rect l="0" t="0" r="r" b="b"/>
              <a:pathLst>
                <a:path w="1646" h="1246">
                  <a:moveTo>
                    <a:pt x="399" y="1221"/>
                  </a:moveTo>
                  <a:cubicBezTo>
                    <a:pt x="630" y="1195"/>
                    <a:pt x="954" y="1100"/>
                    <a:pt x="1232" y="946"/>
                  </a:cubicBezTo>
                  <a:cubicBezTo>
                    <a:pt x="1630" y="726"/>
                    <a:pt x="1646" y="459"/>
                    <a:pt x="1558" y="281"/>
                  </a:cubicBezTo>
                  <a:cubicBezTo>
                    <a:pt x="1459" y="81"/>
                    <a:pt x="1189" y="0"/>
                    <a:pt x="866" y="167"/>
                  </a:cubicBezTo>
                  <a:cubicBezTo>
                    <a:pt x="551" y="330"/>
                    <a:pt x="287" y="584"/>
                    <a:pt x="135" y="812"/>
                  </a:cubicBezTo>
                  <a:cubicBezTo>
                    <a:pt x="35" y="964"/>
                    <a:pt x="0" y="1069"/>
                    <a:pt x="45" y="1146"/>
                  </a:cubicBezTo>
                  <a:cubicBezTo>
                    <a:pt x="87" y="1219"/>
                    <a:pt x="183" y="1246"/>
                    <a:pt x="399" y="1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3235" y="3900"/>
              <a:ext cx="262" cy="116"/>
            </a:xfrm>
            <a:custGeom>
              <a:avLst/>
              <a:gdLst>
                <a:gd name="T0" fmla="*/ 647 w 4416"/>
                <a:gd name="T1" fmla="*/ 324 h 1943"/>
                <a:gd name="T2" fmla="*/ 169 w 4416"/>
                <a:gd name="T3" fmla="*/ 777 h 1943"/>
                <a:gd name="T4" fmla="*/ 1941 w 4416"/>
                <a:gd name="T5" fmla="*/ 1906 h 1943"/>
                <a:gd name="T6" fmla="*/ 4416 w 4416"/>
                <a:gd name="T7" fmla="*/ 193 h 1943"/>
                <a:gd name="T8" fmla="*/ 2422 w 4416"/>
                <a:gd name="T9" fmla="*/ 890 h 1943"/>
                <a:gd name="T10" fmla="*/ 647 w 4416"/>
                <a:gd name="T11" fmla="*/ 324 h 1943"/>
              </a:gdLst>
              <a:ahLst/>
              <a:cxnLst>
                <a:cxn ang="0">
                  <a:pos x="T0" y="T1"/>
                </a:cxn>
                <a:cxn ang="0">
                  <a:pos x="T2" y="T3"/>
                </a:cxn>
                <a:cxn ang="0">
                  <a:pos x="T4" y="T5"/>
                </a:cxn>
                <a:cxn ang="0">
                  <a:pos x="T6" y="T7"/>
                </a:cxn>
                <a:cxn ang="0">
                  <a:pos x="T8" y="T9"/>
                </a:cxn>
                <a:cxn ang="0">
                  <a:pos x="T10" y="T11"/>
                </a:cxn>
              </a:cxnLst>
              <a:rect l="0" t="0" r="r" b="b"/>
              <a:pathLst>
                <a:path w="4416" h="1943">
                  <a:moveTo>
                    <a:pt x="647" y="324"/>
                  </a:moveTo>
                  <a:cubicBezTo>
                    <a:pt x="160" y="0"/>
                    <a:pt x="0" y="335"/>
                    <a:pt x="169" y="777"/>
                  </a:cubicBezTo>
                  <a:cubicBezTo>
                    <a:pt x="423" y="1444"/>
                    <a:pt x="1102" y="1881"/>
                    <a:pt x="1941" y="1906"/>
                  </a:cubicBezTo>
                  <a:cubicBezTo>
                    <a:pt x="3194" y="1943"/>
                    <a:pt x="4101" y="1092"/>
                    <a:pt x="4416" y="193"/>
                  </a:cubicBezTo>
                  <a:cubicBezTo>
                    <a:pt x="4014" y="567"/>
                    <a:pt x="3326" y="913"/>
                    <a:pt x="2422" y="890"/>
                  </a:cubicBezTo>
                  <a:cubicBezTo>
                    <a:pt x="1832" y="875"/>
                    <a:pt x="1221" y="707"/>
                    <a:pt x="647"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3220" y="3747"/>
              <a:ext cx="147" cy="178"/>
            </a:xfrm>
            <a:custGeom>
              <a:avLst/>
              <a:gdLst>
                <a:gd name="T0" fmla="*/ 1220 w 2480"/>
                <a:gd name="T1" fmla="*/ 1524 h 3000"/>
                <a:gd name="T2" fmla="*/ 2475 w 2480"/>
                <a:gd name="T3" fmla="*/ 2898 h 3000"/>
                <a:gd name="T4" fmla="*/ 2085 w 2480"/>
                <a:gd name="T5" fmla="*/ 1226 h 3000"/>
                <a:gd name="T6" fmla="*/ 429 w 2480"/>
                <a:gd name="T7" fmla="*/ 314 h 3000"/>
                <a:gd name="T8" fmla="*/ 824 w 2480"/>
                <a:gd name="T9" fmla="*/ 2169 h 3000"/>
                <a:gd name="T10" fmla="*/ 2161 w 2480"/>
                <a:gd name="T11" fmla="*/ 3000 h 3000"/>
                <a:gd name="T12" fmla="*/ 1176 w 2480"/>
                <a:gd name="T13" fmla="*/ 1537 h 3000"/>
                <a:gd name="T14" fmla="*/ 1220 w 2480"/>
                <a:gd name="T15" fmla="*/ 1524 h 3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0" h="3000">
                  <a:moveTo>
                    <a:pt x="1220" y="1524"/>
                  </a:moveTo>
                  <a:cubicBezTo>
                    <a:pt x="1665" y="2130"/>
                    <a:pt x="2113" y="2617"/>
                    <a:pt x="2475" y="2898"/>
                  </a:cubicBezTo>
                  <a:cubicBezTo>
                    <a:pt x="2480" y="2419"/>
                    <a:pt x="2337" y="1683"/>
                    <a:pt x="2085" y="1226"/>
                  </a:cubicBezTo>
                  <a:cubicBezTo>
                    <a:pt x="1579" y="311"/>
                    <a:pt x="828" y="0"/>
                    <a:pt x="429" y="314"/>
                  </a:cubicBezTo>
                  <a:cubicBezTo>
                    <a:pt x="0" y="652"/>
                    <a:pt x="256" y="1559"/>
                    <a:pt x="824" y="2169"/>
                  </a:cubicBezTo>
                  <a:cubicBezTo>
                    <a:pt x="1260" y="2638"/>
                    <a:pt x="1766" y="2907"/>
                    <a:pt x="2161" y="3000"/>
                  </a:cubicBezTo>
                  <a:cubicBezTo>
                    <a:pt x="1749" y="2664"/>
                    <a:pt x="1295" y="1923"/>
                    <a:pt x="1176" y="1537"/>
                  </a:cubicBezTo>
                  <a:cubicBezTo>
                    <a:pt x="1156" y="1470"/>
                    <a:pt x="1182" y="1471"/>
                    <a:pt x="1220" y="15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4259" y="3774"/>
              <a:ext cx="128" cy="189"/>
            </a:xfrm>
            <a:custGeom>
              <a:avLst/>
              <a:gdLst>
                <a:gd name="T0" fmla="*/ 1678 w 2160"/>
                <a:gd name="T1" fmla="*/ 0 h 3187"/>
                <a:gd name="T2" fmla="*/ 1678 w 2160"/>
                <a:gd name="T3" fmla="*/ 1237 h 3187"/>
                <a:gd name="T4" fmla="*/ 1030 w 2160"/>
                <a:gd name="T5" fmla="*/ 986 h 3187"/>
                <a:gd name="T6" fmla="*/ 0 w 2160"/>
                <a:gd name="T7" fmla="*/ 2089 h 3187"/>
                <a:gd name="T8" fmla="*/ 1030 w 2160"/>
                <a:gd name="T9" fmla="*/ 3187 h 3187"/>
                <a:gd name="T10" fmla="*/ 1703 w 2160"/>
                <a:gd name="T11" fmla="*/ 2910 h 3187"/>
                <a:gd name="T12" fmla="*/ 1743 w 2160"/>
                <a:gd name="T13" fmla="*/ 3142 h 3187"/>
                <a:gd name="T14" fmla="*/ 2160 w 2160"/>
                <a:gd name="T15" fmla="*/ 3142 h 3187"/>
                <a:gd name="T16" fmla="*/ 2160 w 2160"/>
                <a:gd name="T17" fmla="*/ 0 h 3187"/>
                <a:gd name="T18" fmla="*/ 1678 w 2160"/>
                <a:gd name="T19" fmla="*/ 0 h 3187"/>
                <a:gd name="T20" fmla="*/ 1093 w 2160"/>
                <a:gd name="T21" fmla="*/ 2751 h 3187"/>
                <a:gd name="T22" fmla="*/ 482 w 2160"/>
                <a:gd name="T23" fmla="*/ 2089 h 3187"/>
                <a:gd name="T24" fmla="*/ 1093 w 2160"/>
                <a:gd name="T25" fmla="*/ 1422 h 3187"/>
                <a:gd name="T26" fmla="*/ 1710 w 2160"/>
                <a:gd name="T27" fmla="*/ 2089 h 3187"/>
                <a:gd name="T28" fmla="*/ 1093 w 2160"/>
                <a:gd name="T29" fmla="*/ 275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0" h="3187">
                  <a:moveTo>
                    <a:pt x="1678" y="0"/>
                  </a:moveTo>
                  <a:cubicBezTo>
                    <a:pt x="1678" y="1237"/>
                    <a:pt x="1678" y="1237"/>
                    <a:pt x="1678" y="1237"/>
                  </a:cubicBezTo>
                  <a:cubicBezTo>
                    <a:pt x="1514" y="1072"/>
                    <a:pt x="1284" y="986"/>
                    <a:pt x="1030" y="986"/>
                  </a:cubicBezTo>
                  <a:cubicBezTo>
                    <a:pt x="443" y="986"/>
                    <a:pt x="0" y="1460"/>
                    <a:pt x="0" y="2089"/>
                  </a:cubicBezTo>
                  <a:cubicBezTo>
                    <a:pt x="0" y="2715"/>
                    <a:pt x="443" y="3187"/>
                    <a:pt x="1030" y="3187"/>
                  </a:cubicBezTo>
                  <a:cubicBezTo>
                    <a:pt x="1297" y="3187"/>
                    <a:pt x="1536" y="3093"/>
                    <a:pt x="1703" y="2910"/>
                  </a:cubicBezTo>
                  <a:cubicBezTo>
                    <a:pt x="1743" y="3142"/>
                    <a:pt x="1743" y="3142"/>
                    <a:pt x="1743" y="3142"/>
                  </a:cubicBezTo>
                  <a:cubicBezTo>
                    <a:pt x="2160" y="3142"/>
                    <a:pt x="2160" y="3142"/>
                    <a:pt x="2160" y="3142"/>
                  </a:cubicBezTo>
                  <a:cubicBezTo>
                    <a:pt x="2160" y="0"/>
                    <a:pt x="2160" y="0"/>
                    <a:pt x="2160" y="0"/>
                  </a:cubicBezTo>
                  <a:lnTo>
                    <a:pt x="1678" y="0"/>
                  </a:lnTo>
                  <a:close/>
                  <a:moveTo>
                    <a:pt x="1093" y="2751"/>
                  </a:moveTo>
                  <a:cubicBezTo>
                    <a:pt x="745" y="2751"/>
                    <a:pt x="482" y="2466"/>
                    <a:pt x="482" y="2089"/>
                  </a:cubicBezTo>
                  <a:cubicBezTo>
                    <a:pt x="482" y="1709"/>
                    <a:pt x="745" y="1422"/>
                    <a:pt x="1093" y="1422"/>
                  </a:cubicBezTo>
                  <a:cubicBezTo>
                    <a:pt x="1445" y="1422"/>
                    <a:pt x="1710" y="1709"/>
                    <a:pt x="1710" y="2089"/>
                  </a:cubicBezTo>
                  <a:cubicBezTo>
                    <a:pt x="1710" y="2466"/>
                    <a:pt x="1445" y="2751"/>
                    <a:pt x="1093" y="27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noEditPoints="1"/>
            </p:cNvSpPr>
            <p:nvPr userDrawn="1"/>
          </p:nvSpPr>
          <p:spPr bwMode="auto">
            <a:xfrm>
              <a:off x="3769" y="3832"/>
              <a:ext cx="128" cy="182"/>
            </a:xfrm>
            <a:custGeom>
              <a:avLst/>
              <a:gdLst>
                <a:gd name="T0" fmla="*/ 482 w 2161"/>
                <a:gd name="T1" fmla="*/ 1949 h 3066"/>
                <a:gd name="T2" fmla="*/ 1131 w 2161"/>
                <a:gd name="T3" fmla="*/ 2202 h 3066"/>
                <a:gd name="T4" fmla="*/ 2161 w 2161"/>
                <a:gd name="T5" fmla="*/ 1099 h 3066"/>
                <a:gd name="T6" fmla="*/ 1131 w 2161"/>
                <a:gd name="T7" fmla="*/ 0 h 3066"/>
                <a:gd name="T8" fmla="*/ 457 w 2161"/>
                <a:gd name="T9" fmla="*/ 280 h 3066"/>
                <a:gd name="T10" fmla="*/ 418 w 2161"/>
                <a:gd name="T11" fmla="*/ 46 h 3066"/>
                <a:gd name="T12" fmla="*/ 0 w 2161"/>
                <a:gd name="T13" fmla="*/ 46 h 3066"/>
                <a:gd name="T14" fmla="*/ 0 w 2161"/>
                <a:gd name="T15" fmla="*/ 3066 h 3066"/>
                <a:gd name="T16" fmla="*/ 482 w 2161"/>
                <a:gd name="T17" fmla="*/ 3066 h 3066"/>
                <a:gd name="T18" fmla="*/ 482 w 2161"/>
                <a:gd name="T19" fmla="*/ 1949 h 3066"/>
                <a:gd name="T20" fmla="*/ 450 w 2161"/>
                <a:gd name="T21" fmla="*/ 1099 h 3066"/>
                <a:gd name="T22" fmla="*/ 1067 w 2161"/>
                <a:gd name="T23" fmla="*/ 437 h 3066"/>
                <a:gd name="T24" fmla="*/ 1679 w 2161"/>
                <a:gd name="T25" fmla="*/ 1099 h 3066"/>
                <a:gd name="T26" fmla="*/ 1067 w 2161"/>
                <a:gd name="T27" fmla="*/ 1765 h 3066"/>
                <a:gd name="T28" fmla="*/ 450 w 2161"/>
                <a:gd name="T29" fmla="*/ 1099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1" h="3066">
                  <a:moveTo>
                    <a:pt x="482" y="1949"/>
                  </a:moveTo>
                  <a:cubicBezTo>
                    <a:pt x="648" y="2119"/>
                    <a:pt x="880" y="2202"/>
                    <a:pt x="1131" y="2202"/>
                  </a:cubicBezTo>
                  <a:cubicBezTo>
                    <a:pt x="1718" y="2202"/>
                    <a:pt x="2161" y="1728"/>
                    <a:pt x="2161" y="1099"/>
                  </a:cubicBezTo>
                  <a:cubicBezTo>
                    <a:pt x="2161" y="473"/>
                    <a:pt x="1718" y="0"/>
                    <a:pt x="1131" y="0"/>
                  </a:cubicBezTo>
                  <a:cubicBezTo>
                    <a:pt x="870" y="0"/>
                    <a:pt x="626" y="90"/>
                    <a:pt x="457" y="280"/>
                  </a:cubicBezTo>
                  <a:cubicBezTo>
                    <a:pt x="418" y="46"/>
                    <a:pt x="418" y="46"/>
                    <a:pt x="418" y="46"/>
                  </a:cubicBezTo>
                  <a:cubicBezTo>
                    <a:pt x="0" y="46"/>
                    <a:pt x="0" y="46"/>
                    <a:pt x="0" y="46"/>
                  </a:cubicBezTo>
                  <a:cubicBezTo>
                    <a:pt x="0" y="3066"/>
                    <a:pt x="0" y="3066"/>
                    <a:pt x="0" y="3066"/>
                  </a:cubicBezTo>
                  <a:cubicBezTo>
                    <a:pt x="482" y="3066"/>
                    <a:pt x="482" y="3066"/>
                    <a:pt x="482" y="3066"/>
                  </a:cubicBezTo>
                  <a:lnTo>
                    <a:pt x="482" y="1949"/>
                  </a:lnTo>
                  <a:close/>
                  <a:moveTo>
                    <a:pt x="450" y="1099"/>
                  </a:moveTo>
                  <a:cubicBezTo>
                    <a:pt x="450" y="722"/>
                    <a:pt x="715" y="437"/>
                    <a:pt x="1067" y="437"/>
                  </a:cubicBezTo>
                  <a:cubicBezTo>
                    <a:pt x="1416" y="437"/>
                    <a:pt x="1679" y="722"/>
                    <a:pt x="1679" y="1099"/>
                  </a:cubicBezTo>
                  <a:cubicBezTo>
                    <a:pt x="1679" y="1479"/>
                    <a:pt x="1416" y="1765"/>
                    <a:pt x="1067" y="1765"/>
                  </a:cubicBezTo>
                  <a:cubicBezTo>
                    <a:pt x="715" y="1765"/>
                    <a:pt x="450" y="1479"/>
                    <a:pt x="450" y="10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3587" y="3774"/>
              <a:ext cx="153" cy="189"/>
            </a:xfrm>
            <a:custGeom>
              <a:avLst/>
              <a:gdLst>
                <a:gd name="T0" fmla="*/ 2585 w 2585"/>
                <a:gd name="T1" fmla="*/ 0 h 3187"/>
                <a:gd name="T2" fmla="*/ 2085 w 2585"/>
                <a:gd name="T3" fmla="*/ 0 h 3187"/>
                <a:gd name="T4" fmla="*/ 2085 w 2585"/>
                <a:gd name="T5" fmla="*/ 1889 h 3187"/>
                <a:gd name="T6" fmla="*/ 1290 w 2585"/>
                <a:gd name="T7" fmla="*/ 2724 h 3187"/>
                <a:gd name="T8" fmla="*/ 500 w 2585"/>
                <a:gd name="T9" fmla="*/ 1889 h 3187"/>
                <a:gd name="T10" fmla="*/ 500 w 2585"/>
                <a:gd name="T11" fmla="*/ 0 h 3187"/>
                <a:gd name="T12" fmla="*/ 0 w 2585"/>
                <a:gd name="T13" fmla="*/ 0 h 3187"/>
                <a:gd name="T14" fmla="*/ 0 w 2585"/>
                <a:gd name="T15" fmla="*/ 1898 h 3187"/>
                <a:gd name="T16" fmla="*/ 1290 w 2585"/>
                <a:gd name="T17" fmla="*/ 3187 h 3187"/>
                <a:gd name="T18" fmla="*/ 2585 w 2585"/>
                <a:gd name="T19" fmla="*/ 1898 h 3187"/>
                <a:gd name="T20" fmla="*/ 2585 w 2585"/>
                <a:gd name="T21" fmla="*/ 0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5" h="3187">
                  <a:moveTo>
                    <a:pt x="2585" y="0"/>
                  </a:moveTo>
                  <a:cubicBezTo>
                    <a:pt x="2085" y="0"/>
                    <a:pt x="2085" y="0"/>
                    <a:pt x="2085" y="0"/>
                  </a:cubicBezTo>
                  <a:cubicBezTo>
                    <a:pt x="2085" y="1889"/>
                    <a:pt x="2085" y="1889"/>
                    <a:pt x="2085" y="1889"/>
                  </a:cubicBezTo>
                  <a:cubicBezTo>
                    <a:pt x="2085" y="2420"/>
                    <a:pt x="1740" y="2724"/>
                    <a:pt x="1290" y="2724"/>
                  </a:cubicBezTo>
                  <a:cubicBezTo>
                    <a:pt x="841" y="2724"/>
                    <a:pt x="500" y="2420"/>
                    <a:pt x="500" y="1889"/>
                  </a:cubicBezTo>
                  <a:cubicBezTo>
                    <a:pt x="500" y="0"/>
                    <a:pt x="500" y="0"/>
                    <a:pt x="500" y="0"/>
                  </a:cubicBezTo>
                  <a:cubicBezTo>
                    <a:pt x="0" y="0"/>
                    <a:pt x="0" y="0"/>
                    <a:pt x="0" y="0"/>
                  </a:cubicBezTo>
                  <a:cubicBezTo>
                    <a:pt x="0" y="1898"/>
                    <a:pt x="0" y="1898"/>
                    <a:pt x="0" y="1898"/>
                  </a:cubicBezTo>
                  <a:cubicBezTo>
                    <a:pt x="0" y="2693"/>
                    <a:pt x="545" y="3187"/>
                    <a:pt x="1290" y="3187"/>
                  </a:cubicBezTo>
                  <a:cubicBezTo>
                    <a:pt x="2024" y="3187"/>
                    <a:pt x="2585" y="2681"/>
                    <a:pt x="2585" y="1898"/>
                  </a:cubicBezTo>
                  <a:lnTo>
                    <a:pt x="25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2"/>
            <p:cNvSpPr>
              <a:spLocks noChangeArrowheads="1"/>
            </p:cNvSpPr>
            <p:nvPr userDrawn="1"/>
          </p:nvSpPr>
          <p:spPr bwMode="auto">
            <a:xfrm>
              <a:off x="4205" y="3774"/>
              <a:ext cx="29" cy="18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noEditPoints="1"/>
            </p:cNvSpPr>
            <p:nvPr userDrawn="1"/>
          </p:nvSpPr>
          <p:spPr bwMode="auto">
            <a:xfrm>
              <a:off x="4063" y="3832"/>
              <a:ext cx="117" cy="131"/>
            </a:xfrm>
            <a:custGeom>
              <a:avLst/>
              <a:gdLst>
                <a:gd name="T0" fmla="*/ 1724 w 1970"/>
                <a:gd name="T1" fmla="*/ 208 h 2200"/>
                <a:gd name="T2" fmla="*/ 1068 w 1970"/>
                <a:gd name="T3" fmla="*/ 0 h 2200"/>
                <a:gd name="T4" fmla="*/ 0 w 1970"/>
                <a:gd name="T5" fmla="*/ 1111 h 2200"/>
                <a:gd name="T6" fmla="*/ 1098 w 1970"/>
                <a:gd name="T7" fmla="*/ 2200 h 2200"/>
                <a:gd name="T8" fmla="*/ 1970 w 1970"/>
                <a:gd name="T9" fmla="*/ 1850 h 2200"/>
                <a:gd name="T10" fmla="*/ 1679 w 1970"/>
                <a:gd name="T11" fmla="*/ 1530 h 2200"/>
                <a:gd name="T12" fmla="*/ 1099 w 1970"/>
                <a:gd name="T13" fmla="*/ 1776 h 2200"/>
                <a:gd name="T14" fmla="*/ 480 w 1970"/>
                <a:gd name="T15" fmla="*/ 1290 h 2200"/>
                <a:gd name="T16" fmla="*/ 1038 w 1970"/>
                <a:gd name="T17" fmla="*/ 1382 h 2200"/>
                <a:gd name="T18" fmla="*/ 1965 w 1970"/>
                <a:gd name="T19" fmla="*/ 728 h 2200"/>
                <a:gd name="T20" fmla="*/ 1724 w 1970"/>
                <a:gd name="T21" fmla="*/ 208 h 2200"/>
                <a:gd name="T22" fmla="*/ 1000 w 1970"/>
                <a:gd name="T23" fmla="*/ 987 h 2200"/>
                <a:gd name="T24" fmla="*/ 983 w 1970"/>
                <a:gd name="T25" fmla="*/ 987 h 2200"/>
                <a:gd name="T26" fmla="*/ 488 w 1970"/>
                <a:gd name="T27" fmla="*/ 915 h 2200"/>
                <a:gd name="T28" fmla="*/ 1055 w 1970"/>
                <a:gd name="T29" fmla="*/ 427 h 2200"/>
                <a:gd name="T30" fmla="*/ 1057 w 1970"/>
                <a:gd name="T31" fmla="*/ 427 h 2200"/>
                <a:gd name="T32" fmla="*/ 1482 w 1970"/>
                <a:gd name="T33" fmla="*/ 713 h 2200"/>
                <a:gd name="T34" fmla="*/ 1000 w 1970"/>
                <a:gd name="T35" fmla="*/ 98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0" h="2200">
                  <a:moveTo>
                    <a:pt x="1724" y="208"/>
                  </a:moveTo>
                  <a:cubicBezTo>
                    <a:pt x="1561" y="72"/>
                    <a:pt x="1334" y="0"/>
                    <a:pt x="1068" y="0"/>
                  </a:cubicBezTo>
                  <a:cubicBezTo>
                    <a:pt x="550" y="0"/>
                    <a:pt x="0" y="389"/>
                    <a:pt x="0" y="1111"/>
                  </a:cubicBezTo>
                  <a:cubicBezTo>
                    <a:pt x="0" y="1773"/>
                    <a:pt x="431" y="2200"/>
                    <a:pt x="1098" y="2200"/>
                  </a:cubicBezTo>
                  <a:cubicBezTo>
                    <a:pt x="1452" y="2200"/>
                    <a:pt x="1721" y="2092"/>
                    <a:pt x="1970" y="1850"/>
                  </a:cubicBezTo>
                  <a:cubicBezTo>
                    <a:pt x="1679" y="1530"/>
                    <a:pt x="1679" y="1530"/>
                    <a:pt x="1679" y="1530"/>
                  </a:cubicBezTo>
                  <a:cubicBezTo>
                    <a:pt x="1510" y="1695"/>
                    <a:pt x="1320" y="1776"/>
                    <a:pt x="1099" y="1776"/>
                  </a:cubicBezTo>
                  <a:cubicBezTo>
                    <a:pt x="767" y="1776"/>
                    <a:pt x="524" y="1578"/>
                    <a:pt x="480" y="1290"/>
                  </a:cubicBezTo>
                  <a:cubicBezTo>
                    <a:pt x="658" y="1356"/>
                    <a:pt x="854" y="1382"/>
                    <a:pt x="1038" y="1382"/>
                  </a:cubicBezTo>
                  <a:cubicBezTo>
                    <a:pt x="1619" y="1382"/>
                    <a:pt x="1965" y="1138"/>
                    <a:pt x="1965" y="728"/>
                  </a:cubicBezTo>
                  <a:cubicBezTo>
                    <a:pt x="1965" y="523"/>
                    <a:pt x="1879" y="339"/>
                    <a:pt x="1724" y="208"/>
                  </a:cubicBezTo>
                  <a:close/>
                  <a:moveTo>
                    <a:pt x="1000" y="987"/>
                  </a:moveTo>
                  <a:cubicBezTo>
                    <a:pt x="994" y="987"/>
                    <a:pt x="989" y="987"/>
                    <a:pt x="983" y="987"/>
                  </a:cubicBezTo>
                  <a:cubicBezTo>
                    <a:pt x="809" y="987"/>
                    <a:pt x="620" y="961"/>
                    <a:pt x="488" y="915"/>
                  </a:cubicBezTo>
                  <a:cubicBezTo>
                    <a:pt x="536" y="633"/>
                    <a:pt x="768" y="427"/>
                    <a:pt x="1055" y="427"/>
                  </a:cubicBezTo>
                  <a:cubicBezTo>
                    <a:pt x="1057" y="427"/>
                    <a:pt x="1057" y="427"/>
                    <a:pt x="1057" y="427"/>
                  </a:cubicBezTo>
                  <a:cubicBezTo>
                    <a:pt x="1311" y="427"/>
                    <a:pt x="1482" y="542"/>
                    <a:pt x="1482" y="713"/>
                  </a:cubicBezTo>
                  <a:cubicBezTo>
                    <a:pt x="1482" y="892"/>
                    <a:pt x="1320" y="984"/>
                    <a:pt x="1000" y="9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14"/>
            <p:cNvSpPr>
              <a:spLocks noChangeArrowheads="1"/>
            </p:cNvSpPr>
            <p:nvPr userDrawn="1"/>
          </p:nvSpPr>
          <p:spPr bwMode="auto">
            <a:xfrm>
              <a:off x="4009" y="3835"/>
              <a:ext cx="29" cy="1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3905" y="3763"/>
              <a:ext cx="132" cy="197"/>
            </a:xfrm>
            <a:custGeom>
              <a:avLst/>
              <a:gdLst>
                <a:gd name="T0" fmla="*/ 1979 w 2223"/>
                <a:gd name="T1" fmla="*/ 261 h 3316"/>
                <a:gd name="T2" fmla="*/ 1320 w 2223"/>
                <a:gd name="T3" fmla="*/ 0 h 3316"/>
                <a:gd name="T4" fmla="*/ 685 w 2223"/>
                <a:gd name="T5" fmla="*/ 256 h 3316"/>
                <a:gd name="T6" fmla="*/ 424 w 2223"/>
                <a:gd name="T7" fmla="*/ 1056 h 3316"/>
                <a:gd name="T8" fmla="*/ 424 w 2223"/>
                <a:gd name="T9" fmla="*/ 1205 h 3316"/>
                <a:gd name="T10" fmla="*/ 0 w 2223"/>
                <a:gd name="T11" fmla="*/ 1205 h 3316"/>
                <a:gd name="T12" fmla="*/ 0 w 2223"/>
                <a:gd name="T13" fmla="*/ 1630 h 3316"/>
                <a:gd name="T14" fmla="*/ 424 w 2223"/>
                <a:gd name="T15" fmla="*/ 1630 h 3316"/>
                <a:gd name="T16" fmla="*/ 424 w 2223"/>
                <a:gd name="T17" fmla="*/ 3316 h 3316"/>
                <a:gd name="T18" fmla="*/ 906 w 2223"/>
                <a:gd name="T19" fmla="*/ 3316 h 3316"/>
                <a:gd name="T20" fmla="*/ 906 w 2223"/>
                <a:gd name="T21" fmla="*/ 1630 h 3316"/>
                <a:gd name="T22" fmla="*/ 1359 w 2223"/>
                <a:gd name="T23" fmla="*/ 1630 h 3316"/>
                <a:gd name="T24" fmla="*/ 1359 w 2223"/>
                <a:gd name="T25" fmla="*/ 1205 h 3316"/>
                <a:gd name="T26" fmla="*/ 906 w 2223"/>
                <a:gd name="T27" fmla="*/ 1205 h 3316"/>
                <a:gd name="T28" fmla="*/ 906 w 2223"/>
                <a:gd name="T29" fmla="*/ 981 h 3316"/>
                <a:gd name="T30" fmla="*/ 1032 w 2223"/>
                <a:gd name="T31" fmla="*/ 553 h 3316"/>
                <a:gd name="T32" fmla="*/ 1329 w 2223"/>
                <a:gd name="T33" fmla="*/ 436 h 3316"/>
                <a:gd name="T34" fmla="*/ 1616 w 2223"/>
                <a:gd name="T35" fmla="*/ 543 h 3316"/>
                <a:gd name="T36" fmla="*/ 1745 w 2223"/>
                <a:gd name="T37" fmla="*/ 821 h 3316"/>
                <a:gd name="T38" fmla="*/ 2223 w 2223"/>
                <a:gd name="T39" fmla="*/ 821 h 3316"/>
                <a:gd name="T40" fmla="*/ 1979 w 2223"/>
                <a:gd name="T41" fmla="*/ 261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23" h="3316">
                  <a:moveTo>
                    <a:pt x="1979" y="261"/>
                  </a:moveTo>
                  <a:cubicBezTo>
                    <a:pt x="1819" y="93"/>
                    <a:pt x="1604" y="0"/>
                    <a:pt x="1320" y="0"/>
                  </a:cubicBezTo>
                  <a:cubicBezTo>
                    <a:pt x="1060" y="0"/>
                    <a:pt x="838" y="94"/>
                    <a:pt x="685" y="256"/>
                  </a:cubicBezTo>
                  <a:cubicBezTo>
                    <a:pt x="498" y="453"/>
                    <a:pt x="424" y="680"/>
                    <a:pt x="424" y="1056"/>
                  </a:cubicBezTo>
                  <a:cubicBezTo>
                    <a:pt x="424" y="1157"/>
                    <a:pt x="424" y="1200"/>
                    <a:pt x="424" y="1205"/>
                  </a:cubicBezTo>
                  <a:cubicBezTo>
                    <a:pt x="0" y="1205"/>
                    <a:pt x="0" y="1205"/>
                    <a:pt x="0" y="1205"/>
                  </a:cubicBezTo>
                  <a:cubicBezTo>
                    <a:pt x="0" y="1630"/>
                    <a:pt x="0" y="1630"/>
                    <a:pt x="0" y="1630"/>
                  </a:cubicBezTo>
                  <a:cubicBezTo>
                    <a:pt x="424" y="1630"/>
                    <a:pt x="424" y="1630"/>
                    <a:pt x="424" y="1630"/>
                  </a:cubicBezTo>
                  <a:cubicBezTo>
                    <a:pt x="424" y="3316"/>
                    <a:pt x="424" y="3316"/>
                    <a:pt x="424" y="3316"/>
                  </a:cubicBezTo>
                  <a:cubicBezTo>
                    <a:pt x="906" y="3316"/>
                    <a:pt x="906" y="3316"/>
                    <a:pt x="906" y="3316"/>
                  </a:cubicBezTo>
                  <a:cubicBezTo>
                    <a:pt x="906" y="1630"/>
                    <a:pt x="906" y="1630"/>
                    <a:pt x="906" y="1630"/>
                  </a:cubicBezTo>
                  <a:cubicBezTo>
                    <a:pt x="1359" y="1630"/>
                    <a:pt x="1359" y="1630"/>
                    <a:pt x="1359" y="1630"/>
                  </a:cubicBezTo>
                  <a:cubicBezTo>
                    <a:pt x="1359" y="1205"/>
                    <a:pt x="1359" y="1205"/>
                    <a:pt x="1359" y="1205"/>
                  </a:cubicBezTo>
                  <a:cubicBezTo>
                    <a:pt x="906" y="1205"/>
                    <a:pt x="906" y="1205"/>
                    <a:pt x="906" y="1205"/>
                  </a:cubicBezTo>
                  <a:cubicBezTo>
                    <a:pt x="906" y="1200"/>
                    <a:pt x="906" y="1014"/>
                    <a:pt x="906" y="981"/>
                  </a:cubicBezTo>
                  <a:cubicBezTo>
                    <a:pt x="906" y="783"/>
                    <a:pt x="930" y="658"/>
                    <a:pt x="1032" y="553"/>
                  </a:cubicBezTo>
                  <a:cubicBezTo>
                    <a:pt x="1100" y="484"/>
                    <a:pt x="1204" y="436"/>
                    <a:pt x="1329" y="436"/>
                  </a:cubicBezTo>
                  <a:cubicBezTo>
                    <a:pt x="1442" y="436"/>
                    <a:pt x="1546" y="475"/>
                    <a:pt x="1616" y="543"/>
                  </a:cubicBezTo>
                  <a:cubicBezTo>
                    <a:pt x="1693" y="618"/>
                    <a:pt x="1732" y="703"/>
                    <a:pt x="1745" y="821"/>
                  </a:cubicBezTo>
                  <a:cubicBezTo>
                    <a:pt x="2223" y="821"/>
                    <a:pt x="2223" y="821"/>
                    <a:pt x="2223" y="821"/>
                  </a:cubicBezTo>
                  <a:cubicBezTo>
                    <a:pt x="2199" y="606"/>
                    <a:pt x="2128" y="418"/>
                    <a:pt x="1979" y="2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
            <p:cNvSpPr>
              <a:spLocks noEditPoints="1"/>
            </p:cNvSpPr>
            <p:nvPr userDrawn="1"/>
          </p:nvSpPr>
          <p:spPr bwMode="auto">
            <a:xfrm>
              <a:off x="4402" y="3774"/>
              <a:ext cx="44" cy="21"/>
            </a:xfrm>
            <a:custGeom>
              <a:avLst/>
              <a:gdLst>
                <a:gd name="T0" fmla="*/ 0 w 44"/>
                <a:gd name="T1" fmla="*/ 3 h 21"/>
                <a:gd name="T2" fmla="*/ 0 w 44"/>
                <a:gd name="T3" fmla="*/ 0 h 21"/>
                <a:gd name="T4" fmla="*/ 18 w 44"/>
                <a:gd name="T5" fmla="*/ 0 h 21"/>
                <a:gd name="T6" fmla="*/ 18 w 44"/>
                <a:gd name="T7" fmla="*/ 3 h 21"/>
                <a:gd name="T8" fmla="*/ 11 w 44"/>
                <a:gd name="T9" fmla="*/ 3 h 21"/>
                <a:gd name="T10" fmla="*/ 11 w 44"/>
                <a:gd name="T11" fmla="*/ 21 h 21"/>
                <a:gd name="T12" fmla="*/ 7 w 44"/>
                <a:gd name="T13" fmla="*/ 21 h 21"/>
                <a:gd name="T14" fmla="*/ 7 w 44"/>
                <a:gd name="T15" fmla="*/ 3 h 21"/>
                <a:gd name="T16" fmla="*/ 0 w 44"/>
                <a:gd name="T17" fmla="*/ 3 h 21"/>
                <a:gd name="T18" fmla="*/ 28 w 44"/>
                <a:gd name="T19" fmla="*/ 0 h 21"/>
                <a:gd name="T20" fmla="*/ 33 w 44"/>
                <a:gd name="T21" fmla="*/ 15 h 21"/>
                <a:gd name="T22" fmla="*/ 38 w 44"/>
                <a:gd name="T23" fmla="*/ 0 h 21"/>
                <a:gd name="T24" fmla="*/ 44 w 44"/>
                <a:gd name="T25" fmla="*/ 0 h 21"/>
                <a:gd name="T26" fmla="*/ 44 w 44"/>
                <a:gd name="T27" fmla="*/ 21 h 21"/>
                <a:gd name="T28" fmla="*/ 40 w 44"/>
                <a:gd name="T29" fmla="*/ 21 h 21"/>
                <a:gd name="T30" fmla="*/ 40 w 44"/>
                <a:gd name="T31" fmla="*/ 4 h 21"/>
                <a:gd name="T32" fmla="*/ 34 w 44"/>
                <a:gd name="T33" fmla="*/ 21 h 21"/>
                <a:gd name="T34" fmla="*/ 31 w 44"/>
                <a:gd name="T35" fmla="*/ 21 h 21"/>
                <a:gd name="T36" fmla="*/ 25 w 44"/>
                <a:gd name="T37" fmla="*/ 4 h 21"/>
                <a:gd name="T38" fmla="*/ 25 w 44"/>
                <a:gd name="T39" fmla="*/ 21 h 21"/>
                <a:gd name="T40" fmla="*/ 22 w 44"/>
                <a:gd name="T41" fmla="*/ 21 h 21"/>
                <a:gd name="T42" fmla="*/ 22 w 44"/>
                <a:gd name="T43" fmla="*/ 0 h 21"/>
                <a:gd name="T44" fmla="*/ 28 w 44"/>
                <a:gd name="T4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21">
                  <a:moveTo>
                    <a:pt x="0" y="3"/>
                  </a:moveTo>
                  <a:lnTo>
                    <a:pt x="0" y="0"/>
                  </a:lnTo>
                  <a:lnTo>
                    <a:pt x="18" y="0"/>
                  </a:lnTo>
                  <a:lnTo>
                    <a:pt x="18" y="3"/>
                  </a:lnTo>
                  <a:lnTo>
                    <a:pt x="11" y="3"/>
                  </a:lnTo>
                  <a:lnTo>
                    <a:pt x="11" y="21"/>
                  </a:lnTo>
                  <a:lnTo>
                    <a:pt x="7" y="21"/>
                  </a:lnTo>
                  <a:lnTo>
                    <a:pt x="7" y="3"/>
                  </a:lnTo>
                  <a:lnTo>
                    <a:pt x="0" y="3"/>
                  </a:lnTo>
                  <a:close/>
                  <a:moveTo>
                    <a:pt x="28" y="0"/>
                  </a:moveTo>
                  <a:lnTo>
                    <a:pt x="33" y="15"/>
                  </a:lnTo>
                  <a:lnTo>
                    <a:pt x="38" y="0"/>
                  </a:lnTo>
                  <a:lnTo>
                    <a:pt x="44" y="0"/>
                  </a:lnTo>
                  <a:lnTo>
                    <a:pt x="44" y="21"/>
                  </a:lnTo>
                  <a:lnTo>
                    <a:pt x="40" y="21"/>
                  </a:lnTo>
                  <a:lnTo>
                    <a:pt x="40" y="4"/>
                  </a:lnTo>
                  <a:lnTo>
                    <a:pt x="34" y="21"/>
                  </a:lnTo>
                  <a:lnTo>
                    <a:pt x="31" y="21"/>
                  </a:lnTo>
                  <a:lnTo>
                    <a:pt x="25" y="4"/>
                  </a:lnTo>
                  <a:lnTo>
                    <a:pt x="25" y="21"/>
                  </a:lnTo>
                  <a:lnTo>
                    <a:pt x="22" y="21"/>
                  </a:lnTo>
                  <a:lnTo>
                    <a:pt x="22" y="0"/>
                  </a:lnTo>
                  <a:lnTo>
                    <a:pt x="2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 name="TextBox 23"/>
          <p:cNvSpPr txBox="1"/>
          <p:nvPr userDrawn="1"/>
        </p:nvSpPr>
        <p:spPr>
          <a:xfrm>
            <a:off x="801106" y="3505893"/>
            <a:ext cx="2769408" cy="415498"/>
          </a:xfrm>
          <a:prstGeom prst="rect">
            <a:avLst/>
          </a:prstGeom>
          <a:noFill/>
        </p:spPr>
        <p:txBody>
          <a:bodyPr wrap="square" lIns="0" tIns="0" rIns="0" bIns="0" rtlCol="0">
            <a:noAutofit/>
          </a:bodyPr>
          <a:lstStyle/>
          <a:p>
            <a:pPr algn="l"/>
            <a:r>
              <a:rPr lang="en-GB" sz="2700">
                <a:solidFill>
                  <a:schemeClr val="tx2"/>
                </a:solidFill>
              </a:rPr>
              <a:t>www.upfield.com</a:t>
            </a:r>
          </a:p>
        </p:txBody>
      </p:sp>
    </p:spTree>
    <p:extLst>
      <p:ext uri="{BB962C8B-B14F-4D97-AF65-F5344CB8AC3E}">
        <p14:creationId xmlns:p14="http://schemas.microsoft.com/office/powerpoint/2010/main" val="31010648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hank you oil">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Rectangle 7"/>
          <p:cNvSpPr/>
          <p:nvPr userDrawn="1"/>
        </p:nvSpPr>
        <p:spPr>
          <a:xfrm>
            <a:off x="-1200" y="331353"/>
            <a:ext cx="9469756" cy="6207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801106" y="919243"/>
            <a:ext cx="6250339" cy="995781"/>
          </a:xfrm>
        </p:spPr>
        <p:txBody>
          <a:bodyPr anchor="t" anchorCtr="0">
            <a:noAutofit/>
          </a:bodyPr>
          <a:lstStyle>
            <a:lvl1pPr algn="l">
              <a:lnSpc>
                <a:spcPct val="87000"/>
              </a:lnSpc>
              <a:defRPr sz="5000"/>
            </a:lvl1pPr>
          </a:lstStyle>
          <a:p>
            <a:r>
              <a:rPr lang="en-US"/>
              <a:t>Thank you</a:t>
            </a:r>
            <a:endParaRPr lang="en-GB"/>
          </a:p>
        </p:txBody>
      </p:sp>
      <p:sp>
        <p:nvSpPr>
          <p:cNvPr id="3" name="Subtitle 2"/>
          <p:cNvSpPr>
            <a:spLocks noGrp="1"/>
          </p:cNvSpPr>
          <p:nvPr>
            <p:ph type="subTitle" idx="1"/>
          </p:nvPr>
        </p:nvSpPr>
        <p:spPr>
          <a:xfrm>
            <a:off x="801106" y="1899438"/>
            <a:ext cx="5960055" cy="1529562"/>
          </a:xfrm>
        </p:spPr>
        <p:txBody>
          <a:bodyPr anchor="t" anchorCtr="0">
            <a:noAutofit/>
          </a:bodyPr>
          <a:lstStyle>
            <a:lvl1pPr marL="0" indent="0" algn="l">
              <a:buNone/>
              <a:defRPr sz="27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a:p>
        </p:txBody>
      </p:sp>
      <p:grpSp>
        <p:nvGrpSpPr>
          <p:cNvPr id="10" name="Group 4"/>
          <p:cNvGrpSpPr>
            <a:grpSpLocks noChangeAspect="1"/>
          </p:cNvGrpSpPr>
          <p:nvPr userDrawn="1"/>
        </p:nvGrpSpPr>
        <p:grpSpPr bwMode="auto">
          <a:xfrm>
            <a:off x="5111749" y="5676223"/>
            <a:ext cx="1946274" cy="452437"/>
            <a:chOff x="3220" y="3731"/>
            <a:chExt cx="1226" cy="285"/>
          </a:xfrm>
          <a:solidFill>
            <a:schemeClr val="tx2"/>
          </a:solidFill>
        </p:grpSpPr>
        <p:sp>
          <p:nvSpPr>
            <p:cNvPr id="12" name="Freeform 5"/>
            <p:cNvSpPr>
              <a:spLocks/>
            </p:cNvSpPr>
            <p:nvPr userDrawn="1"/>
          </p:nvSpPr>
          <p:spPr bwMode="auto">
            <a:xfrm>
              <a:off x="3373" y="3731"/>
              <a:ext cx="139" cy="168"/>
            </a:xfrm>
            <a:custGeom>
              <a:avLst/>
              <a:gdLst>
                <a:gd name="T0" fmla="*/ 1877 w 2346"/>
                <a:gd name="T1" fmla="*/ 256 h 2836"/>
                <a:gd name="T2" fmla="*/ 347 w 2346"/>
                <a:gd name="T3" fmla="*/ 732 h 2836"/>
                <a:gd name="T4" fmla="*/ 198 w 2346"/>
                <a:gd name="T5" fmla="*/ 2836 h 2836"/>
                <a:gd name="T6" fmla="*/ 1952 w 2346"/>
                <a:gd name="T7" fmla="*/ 1423 h 2836"/>
                <a:gd name="T8" fmla="*/ 1877 w 2346"/>
                <a:gd name="T9" fmla="*/ 256 h 2836"/>
              </a:gdLst>
              <a:ahLst/>
              <a:cxnLst>
                <a:cxn ang="0">
                  <a:pos x="T0" y="T1"/>
                </a:cxn>
                <a:cxn ang="0">
                  <a:pos x="T2" y="T3"/>
                </a:cxn>
                <a:cxn ang="0">
                  <a:pos x="T4" y="T5"/>
                </a:cxn>
                <a:cxn ang="0">
                  <a:pos x="T6" y="T7"/>
                </a:cxn>
                <a:cxn ang="0">
                  <a:pos x="T8" y="T9"/>
                </a:cxn>
              </a:cxnLst>
              <a:rect l="0" t="0" r="r" b="b"/>
              <a:pathLst>
                <a:path w="2346" h="2836">
                  <a:moveTo>
                    <a:pt x="1877" y="256"/>
                  </a:moveTo>
                  <a:cubicBezTo>
                    <a:pt x="1440" y="0"/>
                    <a:pt x="754" y="116"/>
                    <a:pt x="347" y="732"/>
                  </a:cubicBezTo>
                  <a:cubicBezTo>
                    <a:pt x="0" y="1257"/>
                    <a:pt x="25" y="2110"/>
                    <a:pt x="198" y="2836"/>
                  </a:cubicBezTo>
                  <a:cubicBezTo>
                    <a:pt x="553" y="1921"/>
                    <a:pt x="1522" y="1777"/>
                    <a:pt x="1952" y="1423"/>
                  </a:cubicBezTo>
                  <a:cubicBezTo>
                    <a:pt x="2346" y="1097"/>
                    <a:pt x="2320" y="515"/>
                    <a:pt x="1877"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3391" y="3857"/>
              <a:ext cx="97" cy="74"/>
            </a:xfrm>
            <a:custGeom>
              <a:avLst/>
              <a:gdLst>
                <a:gd name="T0" fmla="*/ 399 w 1646"/>
                <a:gd name="T1" fmla="*/ 1221 h 1246"/>
                <a:gd name="T2" fmla="*/ 1232 w 1646"/>
                <a:gd name="T3" fmla="*/ 946 h 1246"/>
                <a:gd name="T4" fmla="*/ 1558 w 1646"/>
                <a:gd name="T5" fmla="*/ 281 h 1246"/>
                <a:gd name="T6" fmla="*/ 866 w 1646"/>
                <a:gd name="T7" fmla="*/ 167 h 1246"/>
                <a:gd name="T8" fmla="*/ 135 w 1646"/>
                <a:gd name="T9" fmla="*/ 812 h 1246"/>
                <a:gd name="T10" fmla="*/ 45 w 1646"/>
                <a:gd name="T11" fmla="*/ 1146 h 1246"/>
                <a:gd name="T12" fmla="*/ 399 w 1646"/>
                <a:gd name="T13" fmla="*/ 1221 h 1246"/>
              </a:gdLst>
              <a:ahLst/>
              <a:cxnLst>
                <a:cxn ang="0">
                  <a:pos x="T0" y="T1"/>
                </a:cxn>
                <a:cxn ang="0">
                  <a:pos x="T2" y="T3"/>
                </a:cxn>
                <a:cxn ang="0">
                  <a:pos x="T4" y="T5"/>
                </a:cxn>
                <a:cxn ang="0">
                  <a:pos x="T6" y="T7"/>
                </a:cxn>
                <a:cxn ang="0">
                  <a:pos x="T8" y="T9"/>
                </a:cxn>
                <a:cxn ang="0">
                  <a:pos x="T10" y="T11"/>
                </a:cxn>
                <a:cxn ang="0">
                  <a:pos x="T12" y="T13"/>
                </a:cxn>
              </a:cxnLst>
              <a:rect l="0" t="0" r="r" b="b"/>
              <a:pathLst>
                <a:path w="1646" h="1246">
                  <a:moveTo>
                    <a:pt x="399" y="1221"/>
                  </a:moveTo>
                  <a:cubicBezTo>
                    <a:pt x="630" y="1195"/>
                    <a:pt x="954" y="1100"/>
                    <a:pt x="1232" y="946"/>
                  </a:cubicBezTo>
                  <a:cubicBezTo>
                    <a:pt x="1630" y="726"/>
                    <a:pt x="1646" y="459"/>
                    <a:pt x="1558" y="281"/>
                  </a:cubicBezTo>
                  <a:cubicBezTo>
                    <a:pt x="1459" y="81"/>
                    <a:pt x="1189" y="0"/>
                    <a:pt x="866" y="167"/>
                  </a:cubicBezTo>
                  <a:cubicBezTo>
                    <a:pt x="551" y="330"/>
                    <a:pt x="287" y="584"/>
                    <a:pt x="135" y="812"/>
                  </a:cubicBezTo>
                  <a:cubicBezTo>
                    <a:pt x="35" y="964"/>
                    <a:pt x="0" y="1069"/>
                    <a:pt x="45" y="1146"/>
                  </a:cubicBezTo>
                  <a:cubicBezTo>
                    <a:pt x="87" y="1219"/>
                    <a:pt x="183" y="1246"/>
                    <a:pt x="399" y="1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3235" y="3900"/>
              <a:ext cx="262" cy="116"/>
            </a:xfrm>
            <a:custGeom>
              <a:avLst/>
              <a:gdLst>
                <a:gd name="T0" fmla="*/ 647 w 4416"/>
                <a:gd name="T1" fmla="*/ 324 h 1943"/>
                <a:gd name="T2" fmla="*/ 169 w 4416"/>
                <a:gd name="T3" fmla="*/ 777 h 1943"/>
                <a:gd name="T4" fmla="*/ 1941 w 4416"/>
                <a:gd name="T5" fmla="*/ 1906 h 1943"/>
                <a:gd name="T6" fmla="*/ 4416 w 4416"/>
                <a:gd name="T7" fmla="*/ 193 h 1943"/>
                <a:gd name="T8" fmla="*/ 2422 w 4416"/>
                <a:gd name="T9" fmla="*/ 890 h 1943"/>
                <a:gd name="T10" fmla="*/ 647 w 4416"/>
                <a:gd name="T11" fmla="*/ 324 h 1943"/>
              </a:gdLst>
              <a:ahLst/>
              <a:cxnLst>
                <a:cxn ang="0">
                  <a:pos x="T0" y="T1"/>
                </a:cxn>
                <a:cxn ang="0">
                  <a:pos x="T2" y="T3"/>
                </a:cxn>
                <a:cxn ang="0">
                  <a:pos x="T4" y="T5"/>
                </a:cxn>
                <a:cxn ang="0">
                  <a:pos x="T6" y="T7"/>
                </a:cxn>
                <a:cxn ang="0">
                  <a:pos x="T8" y="T9"/>
                </a:cxn>
                <a:cxn ang="0">
                  <a:pos x="T10" y="T11"/>
                </a:cxn>
              </a:cxnLst>
              <a:rect l="0" t="0" r="r" b="b"/>
              <a:pathLst>
                <a:path w="4416" h="1943">
                  <a:moveTo>
                    <a:pt x="647" y="324"/>
                  </a:moveTo>
                  <a:cubicBezTo>
                    <a:pt x="160" y="0"/>
                    <a:pt x="0" y="335"/>
                    <a:pt x="169" y="777"/>
                  </a:cubicBezTo>
                  <a:cubicBezTo>
                    <a:pt x="423" y="1444"/>
                    <a:pt x="1102" y="1881"/>
                    <a:pt x="1941" y="1906"/>
                  </a:cubicBezTo>
                  <a:cubicBezTo>
                    <a:pt x="3194" y="1943"/>
                    <a:pt x="4101" y="1092"/>
                    <a:pt x="4416" y="193"/>
                  </a:cubicBezTo>
                  <a:cubicBezTo>
                    <a:pt x="4014" y="567"/>
                    <a:pt x="3326" y="913"/>
                    <a:pt x="2422" y="890"/>
                  </a:cubicBezTo>
                  <a:cubicBezTo>
                    <a:pt x="1832" y="875"/>
                    <a:pt x="1221" y="707"/>
                    <a:pt x="647"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3220" y="3747"/>
              <a:ext cx="147" cy="178"/>
            </a:xfrm>
            <a:custGeom>
              <a:avLst/>
              <a:gdLst>
                <a:gd name="T0" fmla="*/ 1220 w 2480"/>
                <a:gd name="T1" fmla="*/ 1524 h 3000"/>
                <a:gd name="T2" fmla="*/ 2475 w 2480"/>
                <a:gd name="T3" fmla="*/ 2898 h 3000"/>
                <a:gd name="T4" fmla="*/ 2085 w 2480"/>
                <a:gd name="T5" fmla="*/ 1226 h 3000"/>
                <a:gd name="T6" fmla="*/ 429 w 2480"/>
                <a:gd name="T7" fmla="*/ 314 h 3000"/>
                <a:gd name="T8" fmla="*/ 824 w 2480"/>
                <a:gd name="T9" fmla="*/ 2169 h 3000"/>
                <a:gd name="T10" fmla="*/ 2161 w 2480"/>
                <a:gd name="T11" fmla="*/ 3000 h 3000"/>
                <a:gd name="T12" fmla="*/ 1176 w 2480"/>
                <a:gd name="T13" fmla="*/ 1537 h 3000"/>
                <a:gd name="T14" fmla="*/ 1220 w 2480"/>
                <a:gd name="T15" fmla="*/ 1524 h 3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0" h="3000">
                  <a:moveTo>
                    <a:pt x="1220" y="1524"/>
                  </a:moveTo>
                  <a:cubicBezTo>
                    <a:pt x="1665" y="2130"/>
                    <a:pt x="2113" y="2617"/>
                    <a:pt x="2475" y="2898"/>
                  </a:cubicBezTo>
                  <a:cubicBezTo>
                    <a:pt x="2480" y="2419"/>
                    <a:pt x="2337" y="1683"/>
                    <a:pt x="2085" y="1226"/>
                  </a:cubicBezTo>
                  <a:cubicBezTo>
                    <a:pt x="1579" y="311"/>
                    <a:pt x="828" y="0"/>
                    <a:pt x="429" y="314"/>
                  </a:cubicBezTo>
                  <a:cubicBezTo>
                    <a:pt x="0" y="652"/>
                    <a:pt x="256" y="1559"/>
                    <a:pt x="824" y="2169"/>
                  </a:cubicBezTo>
                  <a:cubicBezTo>
                    <a:pt x="1260" y="2638"/>
                    <a:pt x="1766" y="2907"/>
                    <a:pt x="2161" y="3000"/>
                  </a:cubicBezTo>
                  <a:cubicBezTo>
                    <a:pt x="1749" y="2664"/>
                    <a:pt x="1295" y="1923"/>
                    <a:pt x="1176" y="1537"/>
                  </a:cubicBezTo>
                  <a:cubicBezTo>
                    <a:pt x="1156" y="1470"/>
                    <a:pt x="1182" y="1471"/>
                    <a:pt x="1220" y="15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4259" y="3774"/>
              <a:ext cx="128" cy="189"/>
            </a:xfrm>
            <a:custGeom>
              <a:avLst/>
              <a:gdLst>
                <a:gd name="T0" fmla="*/ 1678 w 2160"/>
                <a:gd name="T1" fmla="*/ 0 h 3187"/>
                <a:gd name="T2" fmla="*/ 1678 w 2160"/>
                <a:gd name="T3" fmla="*/ 1237 h 3187"/>
                <a:gd name="T4" fmla="*/ 1030 w 2160"/>
                <a:gd name="T5" fmla="*/ 986 h 3187"/>
                <a:gd name="T6" fmla="*/ 0 w 2160"/>
                <a:gd name="T7" fmla="*/ 2089 h 3187"/>
                <a:gd name="T8" fmla="*/ 1030 w 2160"/>
                <a:gd name="T9" fmla="*/ 3187 h 3187"/>
                <a:gd name="T10" fmla="*/ 1703 w 2160"/>
                <a:gd name="T11" fmla="*/ 2910 h 3187"/>
                <a:gd name="T12" fmla="*/ 1743 w 2160"/>
                <a:gd name="T13" fmla="*/ 3142 h 3187"/>
                <a:gd name="T14" fmla="*/ 2160 w 2160"/>
                <a:gd name="T15" fmla="*/ 3142 h 3187"/>
                <a:gd name="T16" fmla="*/ 2160 w 2160"/>
                <a:gd name="T17" fmla="*/ 0 h 3187"/>
                <a:gd name="T18" fmla="*/ 1678 w 2160"/>
                <a:gd name="T19" fmla="*/ 0 h 3187"/>
                <a:gd name="T20" fmla="*/ 1093 w 2160"/>
                <a:gd name="T21" fmla="*/ 2751 h 3187"/>
                <a:gd name="T22" fmla="*/ 482 w 2160"/>
                <a:gd name="T23" fmla="*/ 2089 h 3187"/>
                <a:gd name="T24" fmla="*/ 1093 w 2160"/>
                <a:gd name="T25" fmla="*/ 1422 h 3187"/>
                <a:gd name="T26" fmla="*/ 1710 w 2160"/>
                <a:gd name="T27" fmla="*/ 2089 h 3187"/>
                <a:gd name="T28" fmla="*/ 1093 w 2160"/>
                <a:gd name="T29" fmla="*/ 275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0" h="3187">
                  <a:moveTo>
                    <a:pt x="1678" y="0"/>
                  </a:moveTo>
                  <a:cubicBezTo>
                    <a:pt x="1678" y="1237"/>
                    <a:pt x="1678" y="1237"/>
                    <a:pt x="1678" y="1237"/>
                  </a:cubicBezTo>
                  <a:cubicBezTo>
                    <a:pt x="1514" y="1072"/>
                    <a:pt x="1284" y="986"/>
                    <a:pt x="1030" y="986"/>
                  </a:cubicBezTo>
                  <a:cubicBezTo>
                    <a:pt x="443" y="986"/>
                    <a:pt x="0" y="1460"/>
                    <a:pt x="0" y="2089"/>
                  </a:cubicBezTo>
                  <a:cubicBezTo>
                    <a:pt x="0" y="2715"/>
                    <a:pt x="443" y="3187"/>
                    <a:pt x="1030" y="3187"/>
                  </a:cubicBezTo>
                  <a:cubicBezTo>
                    <a:pt x="1297" y="3187"/>
                    <a:pt x="1536" y="3093"/>
                    <a:pt x="1703" y="2910"/>
                  </a:cubicBezTo>
                  <a:cubicBezTo>
                    <a:pt x="1743" y="3142"/>
                    <a:pt x="1743" y="3142"/>
                    <a:pt x="1743" y="3142"/>
                  </a:cubicBezTo>
                  <a:cubicBezTo>
                    <a:pt x="2160" y="3142"/>
                    <a:pt x="2160" y="3142"/>
                    <a:pt x="2160" y="3142"/>
                  </a:cubicBezTo>
                  <a:cubicBezTo>
                    <a:pt x="2160" y="0"/>
                    <a:pt x="2160" y="0"/>
                    <a:pt x="2160" y="0"/>
                  </a:cubicBezTo>
                  <a:lnTo>
                    <a:pt x="1678" y="0"/>
                  </a:lnTo>
                  <a:close/>
                  <a:moveTo>
                    <a:pt x="1093" y="2751"/>
                  </a:moveTo>
                  <a:cubicBezTo>
                    <a:pt x="745" y="2751"/>
                    <a:pt x="482" y="2466"/>
                    <a:pt x="482" y="2089"/>
                  </a:cubicBezTo>
                  <a:cubicBezTo>
                    <a:pt x="482" y="1709"/>
                    <a:pt x="745" y="1422"/>
                    <a:pt x="1093" y="1422"/>
                  </a:cubicBezTo>
                  <a:cubicBezTo>
                    <a:pt x="1445" y="1422"/>
                    <a:pt x="1710" y="1709"/>
                    <a:pt x="1710" y="2089"/>
                  </a:cubicBezTo>
                  <a:cubicBezTo>
                    <a:pt x="1710" y="2466"/>
                    <a:pt x="1445" y="2751"/>
                    <a:pt x="1093" y="27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noEditPoints="1"/>
            </p:cNvSpPr>
            <p:nvPr userDrawn="1"/>
          </p:nvSpPr>
          <p:spPr bwMode="auto">
            <a:xfrm>
              <a:off x="3769" y="3832"/>
              <a:ext cx="128" cy="182"/>
            </a:xfrm>
            <a:custGeom>
              <a:avLst/>
              <a:gdLst>
                <a:gd name="T0" fmla="*/ 482 w 2161"/>
                <a:gd name="T1" fmla="*/ 1949 h 3066"/>
                <a:gd name="T2" fmla="*/ 1131 w 2161"/>
                <a:gd name="T3" fmla="*/ 2202 h 3066"/>
                <a:gd name="T4" fmla="*/ 2161 w 2161"/>
                <a:gd name="T5" fmla="*/ 1099 h 3066"/>
                <a:gd name="T6" fmla="*/ 1131 w 2161"/>
                <a:gd name="T7" fmla="*/ 0 h 3066"/>
                <a:gd name="T8" fmla="*/ 457 w 2161"/>
                <a:gd name="T9" fmla="*/ 280 h 3066"/>
                <a:gd name="T10" fmla="*/ 418 w 2161"/>
                <a:gd name="T11" fmla="*/ 46 h 3066"/>
                <a:gd name="T12" fmla="*/ 0 w 2161"/>
                <a:gd name="T13" fmla="*/ 46 h 3066"/>
                <a:gd name="T14" fmla="*/ 0 w 2161"/>
                <a:gd name="T15" fmla="*/ 3066 h 3066"/>
                <a:gd name="T16" fmla="*/ 482 w 2161"/>
                <a:gd name="T17" fmla="*/ 3066 h 3066"/>
                <a:gd name="T18" fmla="*/ 482 w 2161"/>
                <a:gd name="T19" fmla="*/ 1949 h 3066"/>
                <a:gd name="T20" fmla="*/ 450 w 2161"/>
                <a:gd name="T21" fmla="*/ 1099 h 3066"/>
                <a:gd name="T22" fmla="*/ 1067 w 2161"/>
                <a:gd name="T23" fmla="*/ 437 h 3066"/>
                <a:gd name="T24" fmla="*/ 1679 w 2161"/>
                <a:gd name="T25" fmla="*/ 1099 h 3066"/>
                <a:gd name="T26" fmla="*/ 1067 w 2161"/>
                <a:gd name="T27" fmla="*/ 1765 h 3066"/>
                <a:gd name="T28" fmla="*/ 450 w 2161"/>
                <a:gd name="T29" fmla="*/ 1099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1" h="3066">
                  <a:moveTo>
                    <a:pt x="482" y="1949"/>
                  </a:moveTo>
                  <a:cubicBezTo>
                    <a:pt x="648" y="2119"/>
                    <a:pt x="880" y="2202"/>
                    <a:pt x="1131" y="2202"/>
                  </a:cubicBezTo>
                  <a:cubicBezTo>
                    <a:pt x="1718" y="2202"/>
                    <a:pt x="2161" y="1728"/>
                    <a:pt x="2161" y="1099"/>
                  </a:cubicBezTo>
                  <a:cubicBezTo>
                    <a:pt x="2161" y="473"/>
                    <a:pt x="1718" y="0"/>
                    <a:pt x="1131" y="0"/>
                  </a:cubicBezTo>
                  <a:cubicBezTo>
                    <a:pt x="870" y="0"/>
                    <a:pt x="626" y="90"/>
                    <a:pt x="457" y="280"/>
                  </a:cubicBezTo>
                  <a:cubicBezTo>
                    <a:pt x="418" y="46"/>
                    <a:pt x="418" y="46"/>
                    <a:pt x="418" y="46"/>
                  </a:cubicBezTo>
                  <a:cubicBezTo>
                    <a:pt x="0" y="46"/>
                    <a:pt x="0" y="46"/>
                    <a:pt x="0" y="46"/>
                  </a:cubicBezTo>
                  <a:cubicBezTo>
                    <a:pt x="0" y="3066"/>
                    <a:pt x="0" y="3066"/>
                    <a:pt x="0" y="3066"/>
                  </a:cubicBezTo>
                  <a:cubicBezTo>
                    <a:pt x="482" y="3066"/>
                    <a:pt x="482" y="3066"/>
                    <a:pt x="482" y="3066"/>
                  </a:cubicBezTo>
                  <a:lnTo>
                    <a:pt x="482" y="1949"/>
                  </a:lnTo>
                  <a:close/>
                  <a:moveTo>
                    <a:pt x="450" y="1099"/>
                  </a:moveTo>
                  <a:cubicBezTo>
                    <a:pt x="450" y="722"/>
                    <a:pt x="715" y="437"/>
                    <a:pt x="1067" y="437"/>
                  </a:cubicBezTo>
                  <a:cubicBezTo>
                    <a:pt x="1416" y="437"/>
                    <a:pt x="1679" y="722"/>
                    <a:pt x="1679" y="1099"/>
                  </a:cubicBezTo>
                  <a:cubicBezTo>
                    <a:pt x="1679" y="1479"/>
                    <a:pt x="1416" y="1765"/>
                    <a:pt x="1067" y="1765"/>
                  </a:cubicBezTo>
                  <a:cubicBezTo>
                    <a:pt x="715" y="1765"/>
                    <a:pt x="450" y="1479"/>
                    <a:pt x="450" y="10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3587" y="3774"/>
              <a:ext cx="153" cy="189"/>
            </a:xfrm>
            <a:custGeom>
              <a:avLst/>
              <a:gdLst>
                <a:gd name="T0" fmla="*/ 2585 w 2585"/>
                <a:gd name="T1" fmla="*/ 0 h 3187"/>
                <a:gd name="T2" fmla="*/ 2085 w 2585"/>
                <a:gd name="T3" fmla="*/ 0 h 3187"/>
                <a:gd name="T4" fmla="*/ 2085 w 2585"/>
                <a:gd name="T5" fmla="*/ 1889 h 3187"/>
                <a:gd name="T6" fmla="*/ 1290 w 2585"/>
                <a:gd name="T7" fmla="*/ 2724 h 3187"/>
                <a:gd name="T8" fmla="*/ 500 w 2585"/>
                <a:gd name="T9" fmla="*/ 1889 h 3187"/>
                <a:gd name="T10" fmla="*/ 500 w 2585"/>
                <a:gd name="T11" fmla="*/ 0 h 3187"/>
                <a:gd name="T12" fmla="*/ 0 w 2585"/>
                <a:gd name="T13" fmla="*/ 0 h 3187"/>
                <a:gd name="T14" fmla="*/ 0 w 2585"/>
                <a:gd name="T15" fmla="*/ 1898 h 3187"/>
                <a:gd name="T16" fmla="*/ 1290 w 2585"/>
                <a:gd name="T17" fmla="*/ 3187 h 3187"/>
                <a:gd name="T18" fmla="*/ 2585 w 2585"/>
                <a:gd name="T19" fmla="*/ 1898 h 3187"/>
                <a:gd name="T20" fmla="*/ 2585 w 2585"/>
                <a:gd name="T21" fmla="*/ 0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5" h="3187">
                  <a:moveTo>
                    <a:pt x="2585" y="0"/>
                  </a:moveTo>
                  <a:cubicBezTo>
                    <a:pt x="2085" y="0"/>
                    <a:pt x="2085" y="0"/>
                    <a:pt x="2085" y="0"/>
                  </a:cubicBezTo>
                  <a:cubicBezTo>
                    <a:pt x="2085" y="1889"/>
                    <a:pt x="2085" y="1889"/>
                    <a:pt x="2085" y="1889"/>
                  </a:cubicBezTo>
                  <a:cubicBezTo>
                    <a:pt x="2085" y="2420"/>
                    <a:pt x="1740" y="2724"/>
                    <a:pt x="1290" y="2724"/>
                  </a:cubicBezTo>
                  <a:cubicBezTo>
                    <a:pt x="841" y="2724"/>
                    <a:pt x="500" y="2420"/>
                    <a:pt x="500" y="1889"/>
                  </a:cubicBezTo>
                  <a:cubicBezTo>
                    <a:pt x="500" y="0"/>
                    <a:pt x="500" y="0"/>
                    <a:pt x="500" y="0"/>
                  </a:cubicBezTo>
                  <a:cubicBezTo>
                    <a:pt x="0" y="0"/>
                    <a:pt x="0" y="0"/>
                    <a:pt x="0" y="0"/>
                  </a:cubicBezTo>
                  <a:cubicBezTo>
                    <a:pt x="0" y="1898"/>
                    <a:pt x="0" y="1898"/>
                    <a:pt x="0" y="1898"/>
                  </a:cubicBezTo>
                  <a:cubicBezTo>
                    <a:pt x="0" y="2693"/>
                    <a:pt x="545" y="3187"/>
                    <a:pt x="1290" y="3187"/>
                  </a:cubicBezTo>
                  <a:cubicBezTo>
                    <a:pt x="2024" y="3187"/>
                    <a:pt x="2585" y="2681"/>
                    <a:pt x="2585" y="1898"/>
                  </a:cubicBezTo>
                  <a:lnTo>
                    <a:pt x="25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2"/>
            <p:cNvSpPr>
              <a:spLocks noChangeArrowheads="1"/>
            </p:cNvSpPr>
            <p:nvPr userDrawn="1"/>
          </p:nvSpPr>
          <p:spPr bwMode="auto">
            <a:xfrm>
              <a:off x="4205" y="3774"/>
              <a:ext cx="29" cy="18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noEditPoints="1"/>
            </p:cNvSpPr>
            <p:nvPr userDrawn="1"/>
          </p:nvSpPr>
          <p:spPr bwMode="auto">
            <a:xfrm>
              <a:off x="4063" y="3832"/>
              <a:ext cx="117" cy="131"/>
            </a:xfrm>
            <a:custGeom>
              <a:avLst/>
              <a:gdLst>
                <a:gd name="T0" fmla="*/ 1724 w 1970"/>
                <a:gd name="T1" fmla="*/ 208 h 2200"/>
                <a:gd name="T2" fmla="*/ 1068 w 1970"/>
                <a:gd name="T3" fmla="*/ 0 h 2200"/>
                <a:gd name="T4" fmla="*/ 0 w 1970"/>
                <a:gd name="T5" fmla="*/ 1111 h 2200"/>
                <a:gd name="T6" fmla="*/ 1098 w 1970"/>
                <a:gd name="T7" fmla="*/ 2200 h 2200"/>
                <a:gd name="T8" fmla="*/ 1970 w 1970"/>
                <a:gd name="T9" fmla="*/ 1850 h 2200"/>
                <a:gd name="T10" fmla="*/ 1679 w 1970"/>
                <a:gd name="T11" fmla="*/ 1530 h 2200"/>
                <a:gd name="T12" fmla="*/ 1099 w 1970"/>
                <a:gd name="T13" fmla="*/ 1776 h 2200"/>
                <a:gd name="T14" fmla="*/ 480 w 1970"/>
                <a:gd name="T15" fmla="*/ 1290 h 2200"/>
                <a:gd name="T16" fmla="*/ 1038 w 1970"/>
                <a:gd name="T17" fmla="*/ 1382 h 2200"/>
                <a:gd name="T18" fmla="*/ 1965 w 1970"/>
                <a:gd name="T19" fmla="*/ 728 h 2200"/>
                <a:gd name="T20" fmla="*/ 1724 w 1970"/>
                <a:gd name="T21" fmla="*/ 208 h 2200"/>
                <a:gd name="T22" fmla="*/ 1000 w 1970"/>
                <a:gd name="T23" fmla="*/ 987 h 2200"/>
                <a:gd name="T24" fmla="*/ 983 w 1970"/>
                <a:gd name="T25" fmla="*/ 987 h 2200"/>
                <a:gd name="T26" fmla="*/ 488 w 1970"/>
                <a:gd name="T27" fmla="*/ 915 h 2200"/>
                <a:gd name="T28" fmla="*/ 1055 w 1970"/>
                <a:gd name="T29" fmla="*/ 427 h 2200"/>
                <a:gd name="T30" fmla="*/ 1057 w 1970"/>
                <a:gd name="T31" fmla="*/ 427 h 2200"/>
                <a:gd name="T32" fmla="*/ 1482 w 1970"/>
                <a:gd name="T33" fmla="*/ 713 h 2200"/>
                <a:gd name="T34" fmla="*/ 1000 w 1970"/>
                <a:gd name="T35" fmla="*/ 98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0" h="2200">
                  <a:moveTo>
                    <a:pt x="1724" y="208"/>
                  </a:moveTo>
                  <a:cubicBezTo>
                    <a:pt x="1561" y="72"/>
                    <a:pt x="1334" y="0"/>
                    <a:pt x="1068" y="0"/>
                  </a:cubicBezTo>
                  <a:cubicBezTo>
                    <a:pt x="550" y="0"/>
                    <a:pt x="0" y="389"/>
                    <a:pt x="0" y="1111"/>
                  </a:cubicBezTo>
                  <a:cubicBezTo>
                    <a:pt x="0" y="1773"/>
                    <a:pt x="431" y="2200"/>
                    <a:pt x="1098" y="2200"/>
                  </a:cubicBezTo>
                  <a:cubicBezTo>
                    <a:pt x="1452" y="2200"/>
                    <a:pt x="1721" y="2092"/>
                    <a:pt x="1970" y="1850"/>
                  </a:cubicBezTo>
                  <a:cubicBezTo>
                    <a:pt x="1679" y="1530"/>
                    <a:pt x="1679" y="1530"/>
                    <a:pt x="1679" y="1530"/>
                  </a:cubicBezTo>
                  <a:cubicBezTo>
                    <a:pt x="1510" y="1695"/>
                    <a:pt x="1320" y="1776"/>
                    <a:pt x="1099" y="1776"/>
                  </a:cubicBezTo>
                  <a:cubicBezTo>
                    <a:pt x="767" y="1776"/>
                    <a:pt x="524" y="1578"/>
                    <a:pt x="480" y="1290"/>
                  </a:cubicBezTo>
                  <a:cubicBezTo>
                    <a:pt x="658" y="1356"/>
                    <a:pt x="854" y="1382"/>
                    <a:pt x="1038" y="1382"/>
                  </a:cubicBezTo>
                  <a:cubicBezTo>
                    <a:pt x="1619" y="1382"/>
                    <a:pt x="1965" y="1138"/>
                    <a:pt x="1965" y="728"/>
                  </a:cubicBezTo>
                  <a:cubicBezTo>
                    <a:pt x="1965" y="523"/>
                    <a:pt x="1879" y="339"/>
                    <a:pt x="1724" y="208"/>
                  </a:cubicBezTo>
                  <a:close/>
                  <a:moveTo>
                    <a:pt x="1000" y="987"/>
                  </a:moveTo>
                  <a:cubicBezTo>
                    <a:pt x="994" y="987"/>
                    <a:pt x="989" y="987"/>
                    <a:pt x="983" y="987"/>
                  </a:cubicBezTo>
                  <a:cubicBezTo>
                    <a:pt x="809" y="987"/>
                    <a:pt x="620" y="961"/>
                    <a:pt x="488" y="915"/>
                  </a:cubicBezTo>
                  <a:cubicBezTo>
                    <a:pt x="536" y="633"/>
                    <a:pt x="768" y="427"/>
                    <a:pt x="1055" y="427"/>
                  </a:cubicBezTo>
                  <a:cubicBezTo>
                    <a:pt x="1057" y="427"/>
                    <a:pt x="1057" y="427"/>
                    <a:pt x="1057" y="427"/>
                  </a:cubicBezTo>
                  <a:cubicBezTo>
                    <a:pt x="1311" y="427"/>
                    <a:pt x="1482" y="542"/>
                    <a:pt x="1482" y="713"/>
                  </a:cubicBezTo>
                  <a:cubicBezTo>
                    <a:pt x="1482" y="892"/>
                    <a:pt x="1320" y="984"/>
                    <a:pt x="1000" y="9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14"/>
            <p:cNvSpPr>
              <a:spLocks noChangeArrowheads="1"/>
            </p:cNvSpPr>
            <p:nvPr userDrawn="1"/>
          </p:nvSpPr>
          <p:spPr bwMode="auto">
            <a:xfrm>
              <a:off x="4009" y="3835"/>
              <a:ext cx="29" cy="1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3905" y="3763"/>
              <a:ext cx="132" cy="197"/>
            </a:xfrm>
            <a:custGeom>
              <a:avLst/>
              <a:gdLst>
                <a:gd name="T0" fmla="*/ 1979 w 2223"/>
                <a:gd name="T1" fmla="*/ 261 h 3316"/>
                <a:gd name="T2" fmla="*/ 1320 w 2223"/>
                <a:gd name="T3" fmla="*/ 0 h 3316"/>
                <a:gd name="T4" fmla="*/ 685 w 2223"/>
                <a:gd name="T5" fmla="*/ 256 h 3316"/>
                <a:gd name="T6" fmla="*/ 424 w 2223"/>
                <a:gd name="T7" fmla="*/ 1056 h 3316"/>
                <a:gd name="T8" fmla="*/ 424 w 2223"/>
                <a:gd name="T9" fmla="*/ 1205 h 3316"/>
                <a:gd name="T10" fmla="*/ 0 w 2223"/>
                <a:gd name="T11" fmla="*/ 1205 h 3316"/>
                <a:gd name="T12" fmla="*/ 0 w 2223"/>
                <a:gd name="T13" fmla="*/ 1630 h 3316"/>
                <a:gd name="T14" fmla="*/ 424 w 2223"/>
                <a:gd name="T15" fmla="*/ 1630 h 3316"/>
                <a:gd name="T16" fmla="*/ 424 w 2223"/>
                <a:gd name="T17" fmla="*/ 3316 h 3316"/>
                <a:gd name="T18" fmla="*/ 906 w 2223"/>
                <a:gd name="T19" fmla="*/ 3316 h 3316"/>
                <a:gd name="T20" fmla="*/ 906 w 2223"/>
                <a:gd name="T21" fmla="*/ 1630 h 3316"/>
                <a:gd name="T22" fmla="*/ 1359 w 2223"/>
                <a:gd name="T23" fmla="*/ 1630 h 3316"/>
                <a:gd name="T24" fmla="*/ 1359 w 2223"/>
                <a:gd name="T25" fmla="*/ 1205 h 3316"/>
                <a:gd name="T26" fmla="*/ 906 w 2223"/>
                <a:gd name="T27" fmla="*/ 1205 h 3316"/>
                <a:gd name="T28" fmla="*/ 906 w 2223"/>
                <a:gd name="T29" fmla="*/ 981 h 3316"/>
                <a:gd name="T30" fmla="*/ 1032 w 2223"/>
                <a:gd name="T31" fmla="*/ 553 h 3316"/>
                <a:gd name="T32" fmla="*/ 1329 w 2223"/>
                <a:gd name="T33" fmla="*/ 436 h 3316"/>
                <a:gd name="T34" fmla="*/ 1616 w 2223"/>
                <a:gd name="T35" fmla="*/ 543 h 3316"/>
                <a:gd name="T36" fmla="*/ 1745 w 2223"/>
                <a:gd name="T37" fmla="*/ 821 h 3316"/>
                <a:gd name="T38" fmla="*/ 2223 w 2223"/>
                <a:gd name="T39" fmla="*/ 821 h 3316"/>
                <a:gd name="T40" fmla="*/ 1979 w 2223"/>
                <a:gd name="T41" fmla="*/ 261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23" h="3316">
                  <a:moveTo>
                    <a:pt x="1979" y="261"/>
                  </a:moveTo>
                  <a:cubicBezTo>
                    <a:pt x="1819" y="93"/>
                    <a:pt x="1604" y="0"/>
                    <a:pt x="1320" y="0"/>
                  </a:cubicBezTo>
                  <a:cubicBezTo>
                    <a:pt x="1060" y="0"/>
                    <a:pt x="838" y="94"/>
                    <a:pt x="685" y="256"/>
                  </a:cubicBezTo>
                  <a:cubicBezTo>
                    <a:pt x="498" y="453"/>
                    <a:pt x="424" y="680"/>
                    <a:pt x="424" y="1056"/>
                  </a:cubicBezTo>
                  <a:cubicBezTo>
                    <a:pt x="424" y="1157"/>
                    <a:pt x="424" y="1200"/>
                    <a:pt x="424" y="1205"/>
                  </a:cubicBezTo>
                  <a:cubicBezTo>
                    <a:pt x="0" y="1205"/>
                    <a:pt x="0" y="1205"/>
                    <a:pt x="0" y="1205"/>
                  </a:cubicBezTo>
                  <a:cubicBezTo>
                    <a:pt x="0" y="1630"/>
                    <a:pt x="0" y="1630"/>
                    <a:pt x="0" y="1630"/>
                  </a:cubicBezTo>
                  <a:cubicBezTo>
                    <a:pt x="424" y="1630"/>
                    <a:pt x="424" y="1630"/>
                    <a:pt x="424" y="1630"/>
                  </a:cubicBezTo>
                  <a:cubicBezTo>
                    <a:pt x="424" y="3316"/>
                    <a:pt x="424" y="3316"/>
                    <a:pt x="424" y="3316"/>
                  </a:cubicBezTo>
                  <a:cubicBezTo>
                    <a:pt x="906" y="3316"/>
                    <a:pt x="906" y="3316"/>
                    <a:pt x="906" y="3316"/>
                  </a:cubicBezTo>
                  <a:cubicBezTo>
                    <a:pt x="906" y="1630"/>
                    <a:pt x="906" y="1630"/>
                    <a:pt x="906" y="1630"/>
                  </a:cubicBezTo>
                  <a:cubicBezTo>
                    <a:pt x="1359" y="1630"/>
                    <a:pt x="1359" y="1630"/>
                    <a:pt x="1359" y="1630"/>
                  </a:cubicBezTo>
                  <a:cubicBezTo>
                    <a:pt x="1359" y="1205"/>
                    <a:pt x="1359" y="1205"/>
                    <a:pt x="1359" y="1205"/>
                  </a:cubicBezTo>
                  <a:cubicBezTo>
                    <a:pt x="906" y="1205"/>
                    <a:pt x="906" y="1205"/>
                    <a:pt x="906" y="1205"/>
                  </a:cubicBezTo>
                  <a:cubicBezTo>
                    <a:pt x="906" y="1200"/>
                    <a:pt x="906" y="1014"/>
                    <a:pt x="906" y="981"/>
                  </a:cubicBezTo>
                  <a:cubicBezTo>
                    <a:pt x="906" y="783"/>
                    <a:pt x="930" y="658"/>
                    <a:pt x="1032" y="553"/>
                  </a:cubicBezTo>
                  <a:cubicBezTo>
                    <a:pt x="1100" y="484"/>
                    <a:pt x="1204" y="436"/>
                    <a:pt x="1329" y="436"/>
                  </a:cubicBezTo>
                  <a:cubicBezTo>
                    <a:pt x="1442" y="436"/>
                    <a:pt x="1546" y="475"/>
                    <a:pt x="1616" y="543"/>
                  </a:cubicBezTo>
                  <a:cubicBezTo>
                    <a:pt x="1693" y="618"/>
                    <a:pt x="1732" y="703"/>
                    <a:pt x="1745" y="821"/>
                  </a:cubicBezTo>
                  <a:cubicBezTo>
                    <a:pt x="2223" y="821"/>
                    <a:pt x="2223" y="821"/>
                    <a:pt x="2223" y="821"/>
                  </a:cubicBezTo>
                  <a:cubicBezTo>
                    <a:pt x="2199" y="606"/>
                    <a:pt x="2128" y="418"/>
                    <a:pt x="1979" y="2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
            <p:cNvSpPr>
              <a:spLocks noEditPoints="1"/>
            </p:cNvSpPr>
            <p:nvPr userDrawn="1"/>
          </p:nvSpPr>
          <p:spPr bwMode="auto">
            <a:xfrm>
              <a:off x="4402" y="3774"/>
              <a:ext cx="44" cy="21"/>
            </a:xfrm>
            <a:custGeom>
              <a:avLst/>
              <a:gdLst>
                <a:gd name="T0" fmla="*/ 0 w 44"/>
                <a:gd name="T1" fmla="*/ 3 h 21"/>
                <a:gd name="T2" fmla="*/ 0 w 44"/>
                <a:gd name="T3" fmla="*/ 0 h 21"/>
                <a:gd name="T4" fmla="*/ 18 w 44"/>
                <a:gd name="T5" fmla="*/ 0 h 21"/>
                <a:gd name="T6" fmla="*/ 18 w 44"/>
                <a:gd name="T7" fmla="*/ 3 h 21"/>
                <a:gd name="T8" fmla="*/ 11 w 44"/>
                <a:gd name="T9" fmla="*/ 3 h 21"/>
                <a:gd name="T10" fmla="*/ 11 w 44"/>
                <a:gd name="T11" fmla="*/ 21 h 21"/>
                <a:gd name="T12" fmla="*/ 7 w 44"/>
                <a:gd name="T13" fmla="*/ 21 h 21"/>
                <a:gd name="T14" fmla="*/ 7 w 44"/>
                <a:gd name="T15" fmla="*/ 3 h 21"/>
                <a:gd name="T16" fmla="*/ 0 w 44"/>
                <a:gd name="T17" fmla="*/ 3 h 21"/>
                <a:gd name="T18" fmla="*/ 28 w 44"/>
                <a:gd name="T19" fmla="*/ 0 h 21"/>
                <a:gd name="T20" fmla="*/ 33 w 44"/>
                <a:gd name="T21" fmla="*/ 15 h 21"/>
                <a:gd name="T22" fmla="*/ 38 w 44"/>
                <a:gd name="T23" fmla="*/ 0 h 21"/>
                <a:gd name="T24" fmla="*/ 44 w 44"/>
                <a:gd name="T25" fmla="*/ 0 h 21"/>
                <a:gd name="T26" fmla="*/ 44 w 44"/>
                <a:gd name="T27" fmla="*/ 21 h 21"/>
                <a:gd name="T28" fmla="*/ 40 w 44"/>
                <a:gd name="T29" fmla="*/ 21 h 21"/>
                <a:gd name="T30" fmla="*/ 40 w 44"/>
                <a:gd name="T31" fmla="*/ 4 h 21"/>
                <a:gd name="T32" fmla="*/ 34 w 44"/>
                <a:gd name="T33" fmla="*/ 21 h 21"/>
                <a:gd name="T34" fmla="*/ 31 w 44"/>
                <a:gd name="T35" fmla="*/ 21 h 21"/>
                <a:gd name="T36" fmla="*/ 25 w 44"/>
                <a:gd name="T37" fmla="*/ 4 h 21"/>
                <a:gd name="T38" fmla="*/ 25 w 44"/>
                <a:gd name="T39" fmla="*/ 21 h 21"/>
                <a:gd name="T40" fmla="*/ 22 w 44"/>
                <a:gd name="T41" fmla="*/ 21 h 21"/>
                <a:gd name="T42" fmla="*/ 22 w 44"/>
                <a:gd name="T43" fmla="*/ 0 h 21"/>
                <a:gd name="T44" fmla="*/ 28 w 44"/>
                <a:gd name="T4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21">
                  <a:moveTo>
                    <a:pt x="0" y="3"/>
                  </a:moveTo>
                  <a:lnTo>
                    <a:pt x="0" y="0"/>
                  </a:lnTo>
                  <a:lnTo>
                    <a:pt x="18" y="0"/>
                  </a:lnTo>
                  <a:lnTo>
                    <a:pt x="18" y="3"/>
                  </a:lnTo>
                  <a:lnTo>
                    <a:pt x="11" y="3"/>
                  </a:lnTo>
                  <a:lnTo>
                    <a:pt x="11" y="21"/>
                  </a:lnTo>
                  <a:lnTo>
                    <a:pt x="7" y="21"/>
                  </a:lnTo>
                  <a:lnTo>
                    <a:pt x="7" y="3"/>
                  </a:lnTo>
                  <a:lnTo>
                    <a:pt x="0" y="3"/>
                  </a:lnTo>
                  <a:close/>
                  <a:moveTo>
                    <a:pt x="28" y="0"/>
                  </a:moveTo>
                  <a:lnTo>
                    <a:pt x="33" y="15"/>
                  </a:lnTo>
                  <a:lnTo>
                    <a:pt x="38" y="0"/>
                  </a:lnTo>
                  <a:lnTo>
                    <a:pt x="44" y="0"/>
                  </a:lnTo>
                  <a:lnTo>
                    <a:pt x="44" y="21"/>
                  </a:lnTo>
                  <a:lnTo>
                    <a:pt x="40" y="21"/>
                  </a:lnTo>
                  <a:lnTo>
                    <a:pt x="40" y="4"/>
                  </a:lnTo>
                  <a:lnTo>
                    <a:pt x="34" y="21"/>
                  </a:lnTo>
                  <a:lnTo>
                    <a:pt x="31" y="21"/>
                  </a:lnTo>
                  <a:lnTo>
                    <a:pt x="25" y="4"/>
                  </a:lnTo>
                  <a:lnTo>
                    <a:pt x="25" y="21"/>
                  </a:lnTo>
                  <a:lnTo>
                    <a:pt x="22" y="21"/>
                  </a:lnTo>
                  <a:lnTo>
                    <a:pt x="22" y="0"/>
                  </a:lnTo>
                  <a:lnTo>
                    <a:pt x="2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 name="TextBox 23"/>
          <p:cNvSpPr txBox="1"/>
          <p:nvPr userDrawn="1"/>
        </p:nvSpPr>
        <p:spPr>
          <a:xfrm>
            <a:off x="801106" y="3505893"/>
            <a:ext cx="2769408" cy="415498"/>
          </a:xfrm>
          <a:prstGeom prst="rect">
            <a:avLst/>
          </a:prstGeom>
          <a:noFill/>
        </p:spPr>
        <p:txBody>
          <a:bodyPr wrap="square" lIns="0" tIns="0" rIns="0" bIns="0" rtlCol="0">
            <a:noAutofit/>
          </a:bodyPr>
          <a:lstStyle/>
          <a:p>
            <a:pPr algn="l"/>
            <a:r>
              <a:rPr lang="en-GB" sz="2700">
                <a:solidFill>
                  <a:schemeClr val="tx2"/>
                </a:solidFill>
              </a:rPr>
              <a:t>www.upfield.com</a:t>
            </a:r>
          </a:p>
        </p:txBody>
      </p:sp>
    </p:spTree>
    <p:extLst>
      <p:ext uri="{BB962C8B-B14F-4D97-AF65-F5344CB8AC3E}">
        <p14:creationId xmlns:p14="http://schemas.microsoft.com/office/powerpoint/2010/main" val="42289638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hank you seeds">
    <p:spTree>
      <p:nvGrpSpPr>
        <p:cNvPr id="1" name=""/>
        <p:cNvGrpSpPr/>
        <p:nvPr/>
      </p:nvGrpSpPr>
      <p:grpSpPr>
        <a:xfrm>
          <a:off x="0" y="0"/>
          <a:ext cx="0" cy="0"/>
          <a:chOff x="0" y="0"/>
          <a:chExt cx="0" cy="0"/>
        </a:xfrm>
      </p:grpSpPr>
      <p:pic>
        <p:nvPicPr>
          <p:cNvPr id="25" name="Picture 24" descr="Upfield-identity-r2-textures-wip10_seeds-main.pn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Rectangle 7"/>
          <p:cNvSpPr/>
          <p:nvPr userDrawn="1"/>
        </p:nvSpPr>
        <p:spPr>
          <a:xfrm>
            <a:off x="-1200" y="331353"/>
            <a:ext cx="9469756" cy="6207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801106" y="919243"/>
            <a:ext cx="6250339" cy="995781"/>
          </a:xfrm>
        </p:spPr>
        <p:txBody>
          <a:bodyPr anchor="t" anchorCtr="0">
            <a:noAutofit/>
          </a:bodyPr>
          <a:lstStyle>
            <a:lvl1pPr algn="l">
              <a:lnSpc>
                <a:spcPct val="87000"/>
              </a:lnSpc>
              <a:defRPr sz="5000"/>
            </a:lvl1pPr>
          </a:lstStyle>
          <a:p>
            <a:r>
              <a:rPr lang="en-US"/>
              <a:t>Thank you</a:t>
            </a:r>
            <a:endParaRPr lang="en-GB"/>
          </a:p>
        </p:txBody>
      </p:sp>
      <p:sp>
        <p:nvSpPr>
          <p:cNvPr id="3" name="Subtitle 2"/>
          <p:cNvSpPr>
            <a:spLocks noGrp="1"/>
          </p:cNvSpPr>
          <p:nvPr>
            <p:ph type="subTitle" idx="1"/>
          </p:nvPr>
        </p:nvSpPr>
        <p:spPr>
          <a:xfrm>
            <a:off x="801106" y="1899438"/>
            <a:ext cx="5960055" cy="1529562"/>
          </a:xfrm>
        </p:spPr>
        <p:txBody>
          <a:bodyPr anchor="t" anchorCtr="0">
            <a:noAutofit/>
          </a:bodyPr>
          <a:lstStyle>
            <a:lvl1pPr marL="0" indent="0" algn="l">
              <a:buNone/>
              <a:defRPr sz="27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a:p>
        </p:txBody>
      </p:sp>
      <p:grpSp>
        <p:nvGrpSpPr>
          <p:cNvPr id="10" name="Group 4"/>
          <p:cNvGrpSpPr>
            <a:grpSpLocks noChangeAspect="1"/>
          </p:cNvGrpSpPr>
          <p:nvPr userDrawn="1"/>
        </p:nvGrpSpPr>
        <p:grpSpPr bwMode="auto">
          <a:xfrm>
            <a:off x="5111749" y="5676223"/>
            <a:ext cx="1946274" cy="452437"/>
            <a:chOff x="3220" y="3731"/>
            <a:chExt cx="1226" cy="285"/>
          </a:xfrm>
          <a:solidFill>
            <a:schemeClr val="tx2"/>
          </a:solidFill>
        </p:grpSpPr>
        <p:sp>
          <p:nvSpPr>
            <p:cNvPr id="12" name="Freeform 5"/>
            <p:cNvSpPr>
              <a:spLocks/>
            </p:cNvSpPr>
            <p:nvPr userDrawn="1"/>
          </p:nvSpPr>
          <p:spPr bwMode="auto">
            <a:xfrm>
              <a:off x="3373" y="3731"/>
              <a:ext cx="139" cy="168"/>
            </a:xfrm>
            <a:custGeom>
              <a:avLst/>
              <a:gdLst>
                <a:gd name="T0" fmla="*/ 1877 w 2346"/>
                <a:gd name="T1" fmla="*/ 256 h 2836"/>
                <a:gd name="T2" fmla="*/ 347 w 2346"/>
                <a:gd name="T3" fmla="*/ 732 h 2836"/>
                <a:gd name="T4" fmla="*/ 198 w 2346"/>
                <a:gd name="T5" fmla="*/ 2836 h 2836"/>
                <a:gd name="T6" fmla="*/ 1952 w 2346"/>
                <a:gd name="T7" fmla="*/ 1423 h 2836"/>
                <a:gd name="T8" fmla="*/ 1877 w 2346"/>
                <a:gd name="T9" fmla="*/ 256 h 2836"/>
              </a:gdLst>
              <a:ahLst/>
              <a:cxnLst>
                <a:cxn ang="0">
                  <a:pos x="T0" y="T1"/>
                </a:cxn>
                <a:cxn ang="0">
                  <a:pos x="T2" y="T3"/>
                </a:cxn>
                <a:cxn ang="0">
                  <a:pos x="T4" y="T5"/>
                </a:cxn>
                <a:cxn ang="0">
                  <a:pos x="T6" y="T7"/>
                </a:cxn>
                <a:cxn ang="0">
                  <a:pos x="T8" y="T9"/>
                </a:cxn>
              </a:cxnLst>
              <a:rect l="0" t="0" r="r" b="b"/>
              <a:pathLst>
                <a:path w="2346" h="2836">
                  <a:moveTo>
                    <a:pt x="1877" y="256"/>
                  </a:moveTo>
                  <a:cubicBezTo>
                    <a:pt x="1440" y="0"/>
                    <a:pt x="754" y="116"/>
                    <a:pt x="347" y="732"/>
                  </a:cubicBezTo>
                  <a:cubicBezTo>
                    <a:pt x="0" y="1257"/>
                    <a:pt x="25" y="2110"/>
                    <a:pt x="198" y="2836"/>
                  </a:cubicBezTo>
                  <a:cubicBezTo>
                    <a:pt x="553" y="1921"/>
                    <a:pt x="1522" y="1777"/>
                    <a:pt x="1952" y="1423"/>
                  </a:cubicBezTo>
                  <a:cubicBezTo>
                    <a:pt x="2346" y="1097"/>
                    <a:pt x="2320" y="515"/>
                    <a:pt x="1877"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3391" y="3857"/>
              <a:ext cx="97" cy="74"/>
            </a:xfrm>
            <a:custGeom>
              <a:avLst/>
              <a:gdLst>
                <a:gd name="T0" fmla="*/ 399 w 1646"/>
                <a:gd name="T1" fmla="*/ 1221 h 1246"/>
                <a:gd name="T2" fmla="*/ 1232 w 1646"/>
                <a:gd name="T3" fmla="*/ 946 h 1246"/>
                <a:gd name="T4" fmla="*/ 1558 w 1646"/>
                <a:gd name="T5" fmla="*/ 281 h 1246"/>
                <a:gd name="T6" fmla="*/ 866 w 1646"/>
                <a:gd name="T7" fmla="*/ 167 h 1246"/>
                <a:gd name="T8" fmla="*/ 135 w 1646"/>
                <a:gd name="T9" fmla="*/ 812 h 1246"/>
                <a:gd name="T10" fmla="*/ 45 w 1646"/>
                <a:gd name="T11" fmla="*/ 1146 h 1246"/>
                <a:gd name="T12" fmla="*/ 399 w 1646"/>
                <a:gd name="T13" fmla="*/ 1221 h 1246"/>
              </a:gdLst>
              <a:ahLst/>
              <a:cxnLst>
                <a:cxn ang="0">
                  <a:pos x="T0" y="T1"/>
                </a:cxn>
                <a:cxn ang="0">
                  <a:pos x="T2" y="T3"/>
                </a:cxn>
                <a:cxn ang="0">
                  <a:pos x="T4" y="T5"/>
                </a:cxn>
                <a:cxn ang="0">
                  <a:pos x="T6" y="T7"/>
                </a:cxn>
                <a:cxn ang="0">
                  <a:pos x="T8" y="T9"/>
                </a:cxn>
                <a:cxn ang="0">
                  <a:pos x="T10" y="T11"/>
                </a:cxn>
                <a:cxn ang="0">
                  <a:pos x="T12" y="T13"/>
                </a:cxn>
              </a:cxnLst>
              <a:rect l="0" t="0" r="r" b="b"/>
              <a:pathLst>
                <a:path w="1646" h="1246">
                  <a:moveTo>
                    <a:pt x="399" y="1221"/>
                  </a:moveTo>
                  <a:cubicBezTo>
                    <a:pt x="630" y="1195"/>
                    <a:pt x="954" y="1100"/>
                    <a:pt x="1232" y="946"/>
                  </a:cubicBezTo>
                  <a:cubicBezTo>
                    <a:pt x="1630" y="726"/>
                    <a:pt x="1646" y="459"/>
                    <a:pt x="1558" y="281"/>
                  </a:cubicBezTo>
                  <a:cubicBezTo>
                    <a:pt x="1459" y="81"/>
                    <a:pt x="1189" y="0"/>
                    <a:pt x="866" y="167"/>
                  </a:cubicBezTo>
                  <a:cubicBezTo>
                    <a:pt x="551" y="330"/>
                    <a:pt x="287" y="584"/>
                    <a:pt x="135" y="812"/>
                  </a:cubicBezTo>
                  <a:cubicBezTo>
                    <a:pt x="35" y="964"/>
                    <a:pt x="0" y="1069"/>
                    <a:pt x="45" y="1146"/>
                  </a:cubicBezTo>
                  <a:cubicBezTo>
                    <a:pt x="87" y="1219"/>
                    <a:pt x="183" y="1246"/>
                    <a:pt x="399" y="1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3235" y="3900"/>
              <a:ext cx="262" cy="116"/>
            </a:xfrm>
            <a:custGeom>
              <a:avLst/>
              <a:gdLst>
                <a:gd name="T0" fmla="*/ 647 w 4416"/>
                <a:gd name="T1" fmla="*/ 324 h 1943"/>
                <a:gd name="T2" fmla="*/ 169 w 4416"/>
                <a:gd name="T3" fmla="*/ 777 h 1943"/>
                <a:gd name="T4" fmla="*/ 1941 w 4416"/>
                <a:gd name="T5" fmla="*/ 1906 h 1943"/>
                <a:gd name="T6" fmla="*/ 4416 w 4416"/>
                <a:gd name="T7" fmla="*/ 193 h 1943"/>
                <a:gd name="T8" fmla="*/ 2422 w 4416"/>
                <a:gd name="T9" fmla="*/ 890 h 1943"/>
                <a:gd name="T10" fmla="*/ 647 w 4416"/>
                <a:gd name="T11" fmla="*/ 324 h 1943"/>
              </a:gdLst>
              <a:ahLst/>
              <a:cxnLst>
                <a:cxn ang="0">
                  <a:pos x="T0" y="T1"/>
                </a:cxn>
                <a:cxn ang="0">
                  <a:pos x="T2" y="T3"/>
                </a:cxn>
                <a:cxn ang="0">
                  <a:pos x="T4" y="T5"/>
                </a:cxn>
                <a:cxn ang="0">
                  <a:pos x="T6" y="T7"/>
                </a:cxn>
                <a:cxn ang="0">
                  <a:pos x="T8" y="T9"/>
                </a:cxn>
                <a:cxn ang="0">
                  <a:pos x="T10" y="T11"/>
                </a:cxn>
              </a:cxnLst>
              <a:rect l="0" t="0" r="r" b="b"/>
              <a:pathLst>
                <a:path w="4416" h="1943">
                  <a:moveTo>
                    <a:pt x="647" y="324"/>
                  </a:moveTo>
                  <a:cubicBezTo>
                    <a:pt x="160" y="0"/>
                    <a:pt x="0" y="335"/>
                    <a:pt x="169" y="777"/>
                  </a:cubicBezTo>
                  <a:cubicBezTo>
                    <a:pt x="423" y="1444"/>
                    <a:pt x="1102" y="1881"/>
                    <a:pt x="1941" y="1906"/>
                  </a:cubicBezTo>
                  <a:cubicBezTo>
                    <a:pt x="3194" y="1943"/>
                    <a:pt x="4101" y="1092"/>
                    <a:pt x="4416" y="193"/>
                  </a:cubicBezTo>
                  <a:cubicBezTo>
                    <a:pt x="4014" y="567"/>
                    <a:pt x="3326" y="913"/>
                    <a:pt x="2422" y="890"/>
                  </a:cubicBezTo>
                  <a:cubicBezTo>
                    <a:pt x="1832" y="875"/>
                    <a:pt x="1221" y="707"/>
                    <a:pt x="647"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3220" y="3747"/>
              <a:ext cx="147" cy="178"/>
            </a:xfrm>
            <a:custGeom>
              <a:avLst/>
              <a:gdLst>
                <a:gd name="T0" fmla="*/ 1220 w 2480"/>
                <a:gd name="T1" fmla="*/ 1524 h 3000"/>
                <a:gd name="T2" fmla="*/ 2475 w 2480"/>
                <a:gd name="T3" fmla="*/ 2898 h 3000"/>
                <a:gd name="T4" fmla="*/ 2085 w 2480"/>
                <a:gd name="T5" fmla="*/ 1226 h 3000"/>
                <a:gd name="T6" fmla="*/ 429 w 2480"/>
                <a:gd name="T7" fmla="*/ 314 h 3000"/>
                <a:gd name="T8" fmla="*/ 824 w 2480"/>
                <a:gd name="T9" fmla="*/ 2169 h 3000"/>
                <a:gd name="T10" fmla="*/ 2161 w 2480"/>
                <a:gd name="T11" fmla="*/ 3000 h 3000"/>
                <a:gd name="T12" fmla="*/ 1176 w 2480"/>
                <a:gd name="T13" fmla="*/ 1537 h 3000"/>
                <a:gd name="T14" fmla="*/ 1220 w 2480"/>
                <a:gd name="T15" fmla="*/ 1524 h 3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0" h="3000">
                  <a:moveTo>
                    <a:pt x="1220" y="1524"/>
                  </a:moveTo>
                  <a:cubicBezTo>
                    <a:pt x="1665" y="2130"/>
                    <a:pt x="2113" y="2617"/>
                    <a:pt x="2475" y="2898"/>
                  </a:cubicBezTo>
                  <a:cubicBezTo>
                    <a:pt x="2480" y="2419"/>
                    <a:pt x="2337" y="1683"/>
                    <a:pt x="2085" y="1226"/>
                  </a:cubicBezTo>
                  <a:cubicBezTo>
                    <a:pt x="1579" y="311"/>
                    <a:pt x="828" y="0"/>
                    <a:pt x="429" y="314"/>
                  </a:cubicBezTo>
                  <a:cubicBezTo>
                    <a:pt x="0" y="652"/>
                    <a:pt x="256" y="1559"/>
                    <a:pt x="824" y="2169"/>
                  </a:cubicBezTo>
                  <a:cubicBezTo>
                    <a:pt x="1260" y="2638"/>
                    <a:pt x="1766" y="2907"/>
                    <a:pt x="2161" y="3000"/>
                  </a:cubicBezTo>
                  <a:cubicBezTo>
                    <a:pt x="1749" y="2664"/>
                    <a:pt x="1295" y="1923"/>
                    <a:pt x="1176" y="1537"/>
                  </a:cubicBezTo>
                  <a:cubicBezTo>
                    <a:pt x="1156" y="1470"/>
                    <a:pt x="1182" y="1471"/>
                    <a:pt x="1220" y="15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4259" y="3774"/>
              <a:ext cx="128" cy="189"/>
            </a:xfrm>
            <a:custGeom>
              <a:avLst/>
              <a:gdLst>
                <a:gd name="T0" fmla="*/ 1678 w 2160"/>
                <a:gd name="T1" fmla="*/ 0 h 3187"/>
                <a:gd name="T2" fmla="*/ 1678 w 2160"/>
                <a:gd name="T3" fmla="*/ 1237 h 3187"/>
                <a:gd name="T4" fmla="*/ 1030 w 2160"/>
                <a:gd name="T5" fmla="*/ 986 h 3187"/>
                <a:gd name="T6" fmla="*/ 0 w 2160"/>
                <a:gd name="T7" fmla="*/ 2089 h 3187"/>
                <a:gd name="T8" fmla="*/ 1030 w 2160"/>
                <a:gd name="T9" fmla="*/ 3187 h 3187"/>
                <a:gd name="T10" fmla="*/ 1703 w 2160"/>
                <a:gd name="T11" fmla="*/ 2910 h 3187"/>
                <a:gd name="T12" fmla="*/ 1743 w 2160"/>
                <a:gd name="T13" fmla="*/ 3142 h 3187"/>
                <a:gd name="T14" fmla="*/ 2160 w 2160"/>
                <a:gd name="T15" fmla="*/ 3142 h 3187"/>
                <a:gd name="T16" fmla="*/ 2160 w 2160"/>
                <a:gd name="T17" fmla="*/ 0 h 3187"/>
                <a:gd name="T18" fmla="*/ 1678 w 2160"/>
                <a:gd name="T19" fmla="*/ 0 h 3187"/>
                <a:gd name="T20" fmla="*/ 1093 w 2160"/>
                <a:gd name="T21" fmla="*/ 2751 h 3187"/>
                <a:gd name="T22" fmla="*/ 482 w 2160"/>
                <a:gd name="T23" fmla="*/ 2089 h 3187"/>
                <a:gd name="T24" fmla="*/ 1093 w 2160"/>
                <a:gd name="T25" fmla="*/ 1422 h 3187"/>
                <a:gd name="T26" fmla="*/ 1710 w 2160"/>
                <a:gd name="T27" fmla="*/ 2089 h 3187"/>
                <a:gd name="T28" fmla="*/ 1093 w 2160"/>
                <a:gd name="T29" fmla="*/ 275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0" h="3187">
                  <a:moveTo>
                    <a:pt x="1678" y="0"/>
                  </a:moveTo>
                  <a:cubicBezTo>
                    <a:pt x="1678" y="1237"/>
                    <a:pt x="1678" y="1237"/>
                    <a:pt x="1678" y="1237"/>
                  </a:cubicBezTo>
                  <a:cubicBezTo>
                    <a:pt x="1514" y="1072"/>
                    <a:pt x="1284" y="986"/>
                    <a:pt x="1030" y="986"/>
                  </a:cubicBezTo>
                  <a:cubicBezTo>
                    <a:pt x="443" y="986"/>
                    <a:pt x="0" y="1460"/>
                    <a:pt x="0" y="2089"/>
                  </a:cubicBezTo>
                  <a:cubicBezTo>
                    <a:pt x="0" y="2715"/>
                    <a:pt x="443" y="3187"/>
                    <a:pt x="1030" y="3187"/>
                  </a:cubicBezTo>
                  <a:cubicBezTo>
                    <a:pt x="1297" y="3187"/>
                    <a:pt x="1536" y="3093"/>
                    <a:pt x="1703" y="2910"/>
                  </a:cubicBezTo>
                  <a:cubicBezTo>
                    <a:pt x="1743" y="3142"/>
                    <a:pt x="1743" y="3142"/>
                    <a:pt x="1743" y="3142"/>
                  </a:cubicBezTo>
                  <a:cubicBezTo>
                    <a:pt x="2160" y="3142"/>
                    <a:pt x="2160" y="3142"/>
                    <a:pt x="2160" y="3142"/>
                  </a:cubicBezTo>
                  <a:cubicBezTo>
                    <a:pt x="2160" y="0"/>
                    <a:pt x="2160" y="0"/>
                    <a:pt x="2160" y="0"/>
                  </a:cubicBezTo>
                  <a:lnTo>
                    <a:pt x="1678" y="0"/>
                  </a:lnTo>
                  <a:close/>
                  <a:moveTo>
                    <a:pt x="1093" y="2751"/>
                  </a:moveTo>
                  <a:cubicBezTo>
                    <a:pt x="745" y="2751"/>
                    <a:pt x="482" y="2466"/>
                    <a:pt x="482" y="2089"/>
                  </a:cubicBezTo>
                  <a:cubicBezTo>
                    <a:pt x="482" y="1709"/>
                    <a:pt x="745" y="1422"/>
                    <a:pt x="1093" y="1422"/>
                  </a:cubicBezTo>
                  <a:cubicBezTo>
                    <a:pt x="1445" y="1422"/>
                    <a:pt x="1710" y="1709"/>
                    <a:pt x="1710" y="2089"/>
                  </a:cubicBezTo>
                  <a:cubicBezTo>
                    <a:pt x="1710" y="2466"/>
                    <a:pt x="1445" y="2751"/>
                    <a:pt x="1093" y="27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noEditPoints="1"/>
            </p:cNvSpPr>
            <p:nvPr userDrawn="1"/>
          </p:nvSpPr>
          <p:spPr bwMode="auto">
            <a:xfrm>
              <a:off x="3769" y="3832"/>
              <a:ext cx="128" cy="182"/>
            </a:xfrm>
            <a:custGeom>
              <a:avLst/>
              <a:gdLst>
                <a:gd name="T0" fmla="*/ 482 w 2161"/>
                <a:gd name="T1" fmla="*/ 1949 h 3066"/>
                <a:gd name="T2" fmla="*/ 1131 w 2161"/>
                <a:gd name="T3" fmla="*/ 2202 h 3066"/>
                <a:gd name="T4" fmla="*/ 2161 w 2161"/>
                <a:gd name="T5" fmla="*/ 1099 h 3066"/>
                <a:gd name="T6" fmla="*/ 1131 w 2161"/>
                <a:gd name="T7" fmla="*/ 0 h 3066"/>
                <a:gd name="T8" fmla="*/ 457 w 2161"/>
                <a:gd name="T9" fmla="*/ 280 h 3066"/>
                <a:gd name="T10" fmla="*/ 418 w 2161"/>
                <a:gd name="T11" fmla="*/ 46 h 3066"/>
                <a:gd name="T12" fmla="*/ 0 w 2161"/>
                <a:gd name="T13" fmla="*/ 46 h 3066"/>
                <a:gd name="T14" fmla="*/ 0 w 2161"/>
                <a:gd name="T15" fmla="*/ 3066 h 3066"/>
                <a:gd name="T16" fmla="*/ 482 w 2161"/>
                <a:gd name="T17" fmla="*/ 3066 h 3066"/>
                <a:gd name="T18" fmla="*/ 482 w 2161"/>
                <a:gd name="T19" fmla="*/ 1949 h 3066"/>
                <a:gd name="T20" fmla="*/ 450 w 2161"/>
                <a:gd name="T21" fmla="*/ 1099 h 3066"/>
                <a:gd name="T22" fmla="*/ 1067 w 2161"/>
                <a:gd name="T23" fmla="*/ 437 h 3066"/>
                <a:gd name="T24" fmla="*/ 1679 w 2161"/>
                <a:gd name="T25" fmla="*/ 1099 h 3066"/>
                <a:gd name="T26" fmla="*/ 1067 w 2161"/>
                <a:gd name="T27" fmla="*/ 1765 h 3066"/>
                <a:gd name="T28" fmla="*/ 450 w 2161"/>
                <a:gd name="T29" fmla="*/ 1099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1" h="3066">
                  <a:moveTo>
                    <a:pt x="482" y="1949"/>
                  </a:moveTo>
                  <a:cubicBezTo>
                    <a:pt x="648" y="2119"/>
                    <a:pt x="880" y="2202"/>
                    <a:pt x="1131" y="2202"/>
                  </a:cubicBezTo>
                  <a:cubicBezTo>
                    <a:pt x="1718" y="2202"/>
                    <a:pt x="2161" y="1728"/>
                    <a:pt x="2161" y="1099"/>
                  </a:cubicBezTo>
                  <a:cubicBezTo>
                    <a:pt x="2161" y="473"/>
                    <a:pt x="1718" y="0"/>
                    <a:pt x="1131" y="0"/>
                  </a:cubicBezTo>
                  <a:cubicBezTo>
                    <a:pt x="870" y="0"/>
                    <a:pt x="626" y="90"/>
                    <a:pt x="457" y="280"/>
                  </a:cubicBezTo>
                  <a:cubicBezTo>
                    <a:pt x="418" y="46"/>
                    <a:pt x="418" y="46"/>
                    <a:pt x="418" y="46"/>
                  </a:cubicBezTo>
                  <a:cubicBezTo>
                    <a:pt x="0" y="46"/>
                    <a:pt x="0" y="46"/>
                    <a:pt x="0" y="46"/>
                  </a:cubicBezTo>
                  <a:cubicBezTo>
                    <a:pt x="0" y="3066"/>
                    <a:pt x="0" y="3066"/>
                    <a:pt x="0" y="3066"/>
                  </a:cubicBezTo>
                  <a:cubicBezTo>
                    <a:pt x="482" y="3066"/>
                    <a:pt x="482" y="3066"/>
                    <a:pt x="482" y="3066"/>
                  </a:cubicBezTo>
                  <a:lnTo>
                    <a:pt x="482" y="1949"/>
                  </a:lnTo>
                  <a:close/>
                  <a:moveTo>
                    <a:pt x="450" y="1099"/>
                  </a:moveTo>
                  <a:cubicBezTo>
                    <a:pt x="450" y="722"/>
                    <a:pt x="715" y="437"/>
                    <a:pt x="1067" y="437"/>
                  </a:cubicBezTo>
                  <a:cubicBezTo>
                    <a:pt x="1416" y="437"/>
                    <a:pt x="1679" y="722"/>
                    <a:pt x="1679" y="1099"/>
                  </a:cubicBezTo>
                  <a:cubicBezTo>
                    <a:pt x="1679" y="1479"/>
                    <a:pt x="1416" y="1765"/>
                    <a:pt x="1067" y="1765"/>
                  </a:cubicBezTo>
                  <a:cubicBezTo>
                    <a:pt x="715" y="1765"/>
                    <a:pt x="450" y="1479"/>
                    <a:pt x="450" y="10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3587" y="3774"/>
              <a:ext cx="153" cy="189"/>
            </a:xfrm>
            <a:custGeom>
              <a:avLst/>
              <a:gdLst>
                <a:gd name="T0" fmla="*/ 2585 w 2585"/>
                <a:gd name="T1" fmla="*/ 0 h 3187"/>
                <a:gd name="T2" fmla="*/ 2085 w 2585"/>
                <a:gd name="T3" fmla="*/ 0 h 3187"/>
                <a:gd name="T4" fmla="*/ 2085 w 2585"/>
                <a:gd name="T5" fmla="*/ 1889 h 3187"/>
                <a:gd name="T6" fmla="*/ 1290 w 2585"/>
                <a:gd name="T7" fmla="*/ 2724 h 3187"/>
                <a:gd name="T8" fmla="*/ 500 w 2585"/>
                <a:gd name="T9" fmla="*/ 1889 h 3187"/>
                <a:gd name="T10" fmla="*/ 500 w 2585"/>
                <a:gd name="T11" fmla="*/ 0 h 3187"/>
                <a:gd name="T12" fmla="*/ 0 w 2585"/>
                <a:gd name="T13" fmla="*/ 0 h 3187"/>
                <a:gd name="T14" fmla="*/ 0 w 2585"/>
                <a:gd name="T15" fmla="*/ 1898 h 3187"/>
                <a:gd name="T16" fmla="*/ 1290 w 2585"/>
                <a:gd name="T17" fmla="*/ 3187 h 3187"/>
                <a:gd name="T18" fmla="*/ 2585 w 2585"/>
                <a:gd name="T19" fmla="*/ 1898 h 3187"/>
                <a:gd name="T20" fmla="*/ 2585 w 2585"/>
                <a:gd name="T21" fmla="*/ 0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5" h="3187">
                  <a:moveTo>
                    <a:pt x="2585" y="0"/>
                  </a:moveTo>
                  <a:cubicBezTo>
                    <a:pt x="2085" y="0"/>
                    <a:pt x="2085" y="0"/>
                    <a:pt x="2085" y="0"/>
                  </a:cubicBezTo>
                  <a:cubicBezTo>
                    <a:pt x="2085" y="1889"/>
                    <a:pt x="2085" y="1889"/>
                    <a:pt x="2085" y="1889"/>
                  </a:cubicBezTo>
                  <a:cubicBezTo>
                    <a:pt x="2085" y="2420"/>
                    <a:pt x="1740" y="2724"/>
                    <a:pt x="1290" y="2724"/>
                  </a:cubicBezTo>
                  <a:cubicBezTo>
                    <a:pt x="841" y="2724"/>
                    <a:pt x="500" y="2420"/>
                    <a:pt x="500" y="1889"/>
                  </a:cubicBezTo>
                  <a:cubicBezTo>
                    <a:pt x="500" y="0"/>
                    <a:pt x="500" y="0"/>
                    <a:pt x="500" y="0"/>
                  </a:cubicBezTo>
                  <a:cubicBezTo>
                    <a:pt x="0" y="0"/>
                    <a:pt x="0" y="0"/>
                    <a:pt x="0" y="0"/>
                  </a:cubicBezTo>
                  <a:cubicBezTo>
                    <a:pt x="0" y="1898"/>
                    <a:pt x="0" y="1898"/>
                    <a:pt x="0" y="1898"/>
                  </a:cubicBezTo>
                  <a:cubicBezTo>
                    <a:pt x="0" y="2693"/>
                    <a:pt x="545" y="3187"/>
                    <a:pt x="1290" y="3187"/>
                  </a:cubicBezTo>
                  <a:cubicBezTo>
                    <a:pt x="2024" y="3187"/>
                    <a:pt x="2585" y="2681"/>
                    <a:pt x="2585" y="1898"/>
                  </a:cubicBezTo>
                  <a:lnTo>
                    <a:pt x="25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2"/>
            <p:cNvSpPr>
              <a:spLocks noChangeArrowheads="1"/>
            </p:cNvSpPr>
            <p:nvPr userDrawn="1"/>
          </p:nvSpPr>
          <p:spPr bwMode="auto">
            <a:xfrm>
              <a:off x="4205" y="3774"/>
              <a:ext cx="29" cy="18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noEditPoints="1"/>
            </p:cNvSpPr>
            <p:nvPr userDrawn="1"/>
          </p:nvSpPr>
          <p:spPr bwMode="auto">
            <a:xfrm>
              <a:off x="4063" y="3832"/>
              <a:ext cx="117" cy="131"/>
            </a:xfrm>
            <a:custGeom>
              <a:avLst/>
              <a:gdLst>
                <a:gd name="T0" fmla="*/ 1724 w 1970"/>
                <a:gd name="T1" fmla="*/ 208 h 2200"/>
                <a:gd name="T2" fmla="*/ 1068 w 1970"/>
                <a:gd name="T3" fmla="*/ 0 h 2200"/>
                <a:gd name="T4" fmla="*/ 0 w 1970"/>
                <a:gd name="T5" fmla="*/ 1111 h 2200"/>
                <a:gd name="T6" fmla="*/ 1098 w 1970"/>
                <a:gd name="T7" fmla="*/ 2200 h 2200"/>
                <a:gd name="T8" fmla="*/ 1970 w 1970"/>
                <a:gd name="T9" fmla="*/ 1850 h 2200"/>
                <a:gd name="T10" fmla="*/ 1679 w 1970"/>
                <a:gd name="T11" fmla="*/ 1530 h 2200"/>
                <a:gd name="T12" fmla="*/ 1099 w 1970"/>
                <a:gd name="T13" fmla="*/ 1776 h 2200"/>
                <a:gd name="T14" fmla="*/ 480 w 1970"/>
                <a:gd name="T15" fmla="*/ 1290 h 2200"/>
                <a:gd name="T16" fmla="*/ 1038 w 1970"/>
                <a:gd name="T17" fmla="*/ 1382 h 2200"/>
                <a:gd name="T18" fmla="*/ 1965 w 1970"/>
                <a:gd name="T19" fmla="*/ 728 h 2200"/>
                <a:gd name="T20" fmla="*/ 1724 w 1970"/>
                <a:gd name="T21" fmla="*/ 208 h 2200"/>
                <a:gd name="T22" fmla="*/ 1000 w 1970"/>
                <a:gd name="T23" fmla="*/ 987 h 2200"/>
                <a:gd name="T24" fmla="*/ 983 w 1970"/>
                <a:gd name="T25" fmla="*/ 987 h 2200"/>
                <a:gd name="T26" fmla="*/ 488 w 1970"/>
                <a:gd name="T27" fmla="*/ 915 h 2200"/>
                <a:gd name="T28" fmla="*/ 1055 w 1970"/>
                <a:gd name="T29" fmla="*/ 427 h 2200"/>
                <a:gd name="T30" fmla="*/ 1057 w 1970"/>
                <a:gd name="T31" fmla="*/ 427 h 2200"/>
                <a:gd name="T32" fmla="*/ 1482 w 1970"/>
                <a:gd name="T33" fmla="*/ 713 h 2200"/>
                <a:gd name="T34" fmla="*/ 1000 w 1970"/>
                <a:gd name="T35" fmla="*/ 98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0" h="2200">
                  <a:moveTo>
                    <a:pt x="1724" y="208"/>
                  </a:moveTo>
                  <a:cubicBezTo>
                    <a:pt x="1561" y="72"/>
                    <a:pt x="1334" y="0"/>
                    <a:pt x="1068" y="0"/>
                  </a:cubicBezTo>
                  <a:cubicBezTo>
                    <a:pt x="550" y="0"/>
                    <a:pt x="0" y="389"/>
                    <a:pt x="0" y="1111"/>
                  </a:cubicBezTo>
                  <a:cubicBezTo>
                    <a:pt x="0" y="1773"/>
                    <a:pt x="431" y="2200"/>
                    <a:pt x="1098" y="2200"/>
                  </a:cubicBezTo>
                  <a:cubicBezTo>
                    <a:pt x="1452" y="2200"/>
                    <a:pt x="1721" y="2092"/>
                    <a:pt x="1970" y="1850"/>
                  </a:cubicBezTo>
                  <a:cubicBezTo>
                    <a:pt x="1679" y="1530"/>
                    <a:pt x="1679" y="1530"/>
                    <a:pt x="1679" y="1530"/>
                  </a:cubicBezTo>
                  <a:cubicBezTo>
                    <a:pt x="1510" y="1695"/>
                    <a:pt x="1320" y="1776"/>
                    <a:pt x="1099" y="1776"/>
                  </a:cubicBezTo>
                  <a:cubicBezTo>
                    <a:pt x="767" y="1776"/>
                    <a:pt x="524" y="1578"/>
                    <a:pt x="480" y="1290"/>
                  </a:cubicBezTo>
                  <a:cubicBezTo>
                    <a:pt x="658" y="1356"/>
                    <a:pt x="854" y="1382"/>
                    <a:pt x="1038" y="1382"/>
                  </a:cubicBezTo>
                  <a:cubicBezTo>
                    <a:pt x="1619" y="1382"/>
                    <a:pt x="1965" y="1138"/>
                    <a:pt x="1965" y="728"/>
                  </a:cubicBezTo>
                  <a:cubicBezTo>
                    <a:pt x="1965" y="523"/>
                    <a:pt x="1879" y="339"/>
                    <a:pt x="1724" y="208"/>
                  </a:cubicBezTo>
                  <a:close/>
                  <a:moveTo>
                    <a:pt x="1000" y="987"/>
                  </a:moveTo>
                  <a:cubicBezTo>
                    <a:pt x="994" y="987"/>
                    <a:pt x="989" y="987"/>
                    <a:pt x="983" y="987"/>
                  </a:cubicBezTo>
                  <a:cubicBezTo>
                    <a:pt x="809" y="987"/>
                    <a:pt x="620" y="961"/>
                    <a:pt x="488" y="915"/>
                  </a:cubicBezTo>
                  <a:cubicBezTo>
                    <a:pt x="536" y="633"/>
                    <a:pt x="768" y="427"/>
                    <a:pt x="1055" y="427"/>
                  </a:cubicBezTo>
                  <a:cubicBezTo>
                    <a:pt x="1057" y="427"/>
                    <a:pt x="1057" y="427"/>
                    <a:pt x="1057" y="427"/>
                  </a:cubicBezTo>
                  <a:cubicBezTo>
                    <a:pt x="1311" y="427"/>
                    <a:pt x="1482" y="542"/>
                    <a:pt x="1482" y="713"/>
                  </a:cubicBezTo>
                  <a:cubicBezTo>
                    <a:pt x="1482" y="892"/>
                    <a:pt x="1320" y="984"/>
                    <a:pt x="1000" y="9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14"/>
            <p:cNvSpPr>
              <a:spLocks noChangeArrowheads="1"/>
            </p:cNvSpPr>
            <p:nvPr userDrawn="1"/>
          </p:nvSpPr>
          <p:spPr bwMode="auto">
            <a:xfrm>
              <a:off x="4009" y="3835"/>
              <a:ext cx="29" cy="1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3905" y="3763"/>
              <a:ext cx="132" cy="197"/>
            </a:xfrm>
            <a:custGeom>
              <a:avLst/>
              <a:gdLst>
                <a:gd name="T0" fmla="*/ 1979 w 2223"/>
                <a:gd name="T1" fmla="*/ 261 h 3316"/>
                <a:gd name="T2" fmla="*/ 1320 w 2223"/>
                <a:gd name="T3" fmla="*/ 0 h 3316"/>
                <a:gd name="T4" fmla="*/ 685 w 2223"/>
                <a:gd name="T5" fmla="*/ 256 h 3316"/>
                <a:gd name="T6" fmla="*/ 424 w 2223"/>
                <a:gd name="T7" fmla="*/ 1056 h 3316"/>
                <a:gd name="T8" fmla="*/ 424 w 2223"/>
                <a:gd name="T9" fmla="*/ 1205 h 3316"/>
                <a:gd name="T10" fmla="*/ 0 w 2223"/>
                <a:gd name="T11" fmla="*/ 1205 h 3316"/>
                <a:gd name="T12" fmla="*/ 0 w 2223"/>
                <a:gd name="T13" fmla="*/ 1630 h 3316"/>
                <a:gd name="T14" fmla="*/ 424 w 2223"/>
                <a:gd name="T15" fmla="*/ 1630 h 3316"/>
                <a:gd name="T16" fmla="*/ 424 w 2223"/>
                <a:gd name="T17" fmla="*/ 3316 h 3316"/>
                <a:gd name="T18" fmla="*/ 906 w 2223"/>
                <a:gd name="T19" fmla="*/ 3316 h 3316"/>
                <a:gd name="T20" fmla="*/ 906 w 2223"/>
                <a:gd name="T21" fmla="*/ 1630 h 3316"/>
                <a:gd name="T22" fmla="*/ 1359 w 2223"/>
                <a:gd name="T23" fmla="*/ 1630 h 3316"/>
                <a:gd name="T24" fmla="*/ 1359 w 2223"/>
                <a:gd name="T25" fmla="*/ 1205 h 3316"/>
                <a:gd name="T26" fmla="*/ 906 w 2223"/>
                <a:gd name="T27" fmla="*/ 1205 h 3316"/>
                <a:gd name="T28" fmla="*/ 906 w 2223"/>
                <a:gd name="T29" fmla="*/ 981 h 3316"/>
                <a:gd name="T30" fmla="*/ 1032 w 2223"/>
                <a:gd name="T31" fmla="*/ 553 h 3316"/>
                <a:gd name="T32" fmla="*/ 1329 w 2223"/>
                <a:gd name="T33" fmla="*/ 436 h 3316"/>
                <a:gd name="T34" fmla="*/ 1616 w 2223"/>
                <a:gd name="T35" fmla="*/ 543 h 3316"/>
                <a:gd name="T36" fmla="*/ 1745 w 2223"/>
                <a:gd name="T37" fmla="*/ 821 h 3316"/>
                <a:gd name="T38" fmla="*/ 2223 w 2223"/>
                <a:gd name="T39" fmla="*/ 821 h 3316"/>
                <a:gd name="T40" fmla="*/ 1979 w 2223"/>
                <a:gd name="T41" fmla="*/ 261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23" h="3316">
                  <a:moveTo>
                    <a:pt x="1979" y="261"/>
                  </a:moveTo>
                  <a:cubicBezTo>
                    <a:pt x="1819" y="93"/>
                    <a:pt x="1604" y="0"/>
                    <a:pt x="1320" y="0"/>
                  </a:cubicBezTo>
                  <a:cubicBezTo>
                    <a:pt x="1060" y="0"/>
                    <a:pt x="838" y="94"/>
                    <a:pt x="685" y="256"/>
                  </a:cubicBezTo>
                  <a:cubicBezTo>
                    <a:pt x="498" y="453"/>
                    <a:pt x="424" y="680"/>
                    <a:pt x="424" y="1056"/>
                  </a:cubicBezTo>
                  <a:cubicBezTo>
                    <a:pt x="424" y="1157"/>
                    <a:pt x="424" y="1200"/>
                    <a:pt x="424" y="1205"/>
                  </a:cubicBezTo>
                  <a:cubicBezTo>
                    <a:pt x="0" y="1205"/>
                    <a:pt x="0" y="1205"/>
                    <a:pt x="0" y="1205"/>
                  </a:cubicBezTo>
                  <a:cubicBezTo>
                    <a:pt x="0" y="1630"/>
                    <a:pt x="0" y="1630"/>
                    <a:pt x="0" y="1630"/>
                  </a:cubicBezTo>
                  <a:cubicBezTo>
                    <a:pt x="424" y="1630"/>
                    <a:pt x="424" y="1630"/>
                    <a:pt x="424" y="1630"/>
                  </a:cubicBezTo>
                  <a:cubicBezTo>
                    <a:pt x="424" y="3316"/>
                    <a:pt x="424" y="3316"/>
                    <a:pt x="424" y="3316"/>
                  </a:cubicBezTo>
                  <a:cubicBezTo>
                    <a:pt x="906" y="3316"/>
                    <a:pt x="906" y="3316"/>
                    <a:pt x="906" y="3316"/>
                  </a:cubicBezTo>
                  <a:cubicBezTo>
                    <a:pt x="906" y="1630"/>
                    <a:pt x="906" y="1630"/>
                    <a:pt x="906" y="1630"/>
                  </a:cubicBezTo>
                  <a:cubicBezTo>
                    <a:pt x="1359" y="1630"/>
                    <a:pt x="1359" y="1630"/>
                    <a:pt x="1359" y="1630"/>
                  </a:cubicBezTo>
                  <a:cubicBezTo>
                    <a:pt x="1359" y="1205"/>
                    <a:pt x="1359" y="1205"/>
                    <a:pt x="1359" y="1205"/>
                  </a:cubicBezTo>
                  <a:cubicBezTo>
                    <a:pt x="906" y="1205"/>
                    <a:pt x="906" y="1205"/>
                    <a:pt x="906" y="1205"/>
                  </a:cubicBezTo>
                  <a:cubicBezTo>
                    <a:pt x="906" y="1200"/>
                    <a:pt x="906" y="1014"/>
                    <a:pt x="906" y="981"/>
                  </a:cubicBezTo>
                  <a:cubicBezTo>
                    <a:pt x="906" y="783"/>
                    <a:pt x="930" y="658"/>
                    <a:pt x="1032" y="553"/>
                  </a:cubicBezTo>
                  <a:cubicBezTo>
                    <a:pt x="1100" y="484"/>
                    <a:pt x="1204" y="436"/>
                    <a:pt x="1329" y="436"/>
                  </a:cubicBezTo>
                  <a:cubicBezTo>
                    <a:pt x="1442" y="436"/>
                    <a:pt x="1546" y="475"/>
                    <a:pt x="1616" y="543"/>
                  </a:cubicBezTo>
                  <a:cubicBezTo>
                    <a:pt x="1693" y="618"/>
                    <a:pt x="1732" y="703"/>
                    <a:pt x="1745" y="821"/>
                  </a:cubicBezTo>
                  <a:cubicBezTo>
                    <a:pt x="2223" y="821"/>
                    <a:pt x="2223" y="821"/>
                    <a:pt x="2223" y="821"/>
                  </a:cubicBezTo>
                  <a:cubicBezTo>
                    <a:pt x="2199" y="606"/>
                    <a:pt x="2128" y="418"/>
                    <a:pt x="1979" y="2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
            <p:cNvSpPr>
              <a:spLocks noEditPoints="1"/>
            </p:cNvSpPr>
            <p:nvPr userDrawn="1"/>
          </p:nvSpPr>
          <p:spPr bwMode="auto">
            <a:xfrm>
              <a:off x="4402" y="3774"/>
              <a:ext cx="44" cy="21"/>
            </a:xfrm>
            <a:custGeom>
              <a:avLst/>
              <a:gdLst>
                <a:gd name="T0" fmla="*/ 0 w 44"/>
                <a:gd name="T1" fmla="*/ 3 h 21"/>
                <a:gd name="T2" fmla="*/ 0 w 44"/>
                <a:gd name="T3" fmla="*/ 0 h 21"/>
                <a:gd name="T4" fmla="*/ 18 w 44"/>
                <a:gd name="T5" fmla="*/ 0 h 21"/>
                <a:gd name="T6" fmla="*/ 18 w 44"/>
                <a:gd name="T7" fmla="*/ 3 h 21"/>
                <a:gd name="T8" fmla="*/ 11 w 44"/>
                <a:gd name="T9" fmla="*/ 3 h 21"/>
                <a:gd name="T10" fmla="*/ 11 w 44"/>
                <a:gd name="T11" fmla="*/ 21 h 21"/>
                <a:gd name="T12" fmla="*/ 7 w 44"/>
                <a:gd name="T13" fmla="*/ 21 h 21"/>
                <a:gd name="T14" fmla="*/ 7 w 44"/>
                <a:gd name="T15" fmla="*/ 3 h 21"/>
                <a:gd name="T16" fmla="*/ 0 w 44"/>
                <a:gd name="T17" fmla="*/ 3 h 21"/>
                <a:gd name="T18" fmla="*/ 28 w 44"/>
                <a:gd name="T19" fmla="*/ 0 h 21"/>
                <a:gd name="T20" fmla="*/ 33 w 44"/>
                <a:gd name="T21" fmla="*/ 15 h 21"/>
                <a:gd name="T22" fmla="*/ 38 w 44"/>
                <a:gd name="T23" fmla="*/ 0 h 21"/>
                <a:gd name="T24" fmla="*/ 44 w 44"/>
                <a:gd name="T25" fmla="*/ 0 h 21"/>
                <a:gd name="T26" fmla="*/ 44 w 44"/>
                <a:gd name="T27" fmla="*/ 21 h 21"/>
                <a:gd name="T28" fmla="*/ 40 w 44"/>
                <a:gd name="T29" fmla="*/ 21 h 21"/>
                <a:gd name="T30" fmla="*/ 40 w 44"/>
                <a:gd name="T31" fmla="*/ 4 h 21"/>
                <a:gd name="T32" fmla="*/ 34 w 44"/>
                <a:gd name="T33" fmla="*/ 21 h 21"/>
                <a:gd name="T34" fmla="*/ 31 w 44"/>
                <a:gd name="T35" fmla="*/ 21 h 21"/>
                <a:gd name="T36" fmla="*/ 25 w 44"/>
                <a:gd name="T37" fmla="*/ 4 h 21"/>
                <a:gd name="T38" fmla="*/ 25 w 44"/>
                <a:gd name="T39" fmla="*/ 21 h 21"/>
                <a:gd name="T40" fmla="*/ 22 w 44"/>
                <a:gd name="T41" fmla="*/ 21 h 21"/>
                <a:gd name="T42" fmla="*/ 22 w 44"/>
                <a:gd name="T43" fmla="*/ 0 h 21"/>
                <a:gd name="T44" fmla="*/ 28 w 44"/>
                <a:gd name="T4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21">
                  <a:moveTo>
                    <a:pt x="0" y="3"/>
                  </a:moveTo>
                  <a:lnTo>
                    <a:pt x="0" y="0"/>
                  </a:lnTo>
                  <a:lnTo>
                    <a:pt x="18" y="0"/>
                  </a:lnTo>
                  <a:lnTo>
                    <a:pt x="18" y="3"/>
                  </a:lnTo>
                  <a:lnTo>
                    <a:pt x="11" y="3"/>
                  </a:lnTo>
                  <a:lnTo>
                    <a:pt x="11" y="21"/>
                  </a:lnTo>
                  <a:lnTo>
                    <a:pt x="7" y="21"/>
                  </a:lnTo>
                  <a:lnTo>
                    <a:pt x="7" y="3"/>
                  </a:lnTo>
                  <a:lnTo>
                    <a:pt x="0" y="3"/>
                  </a:lnTo>
                  <a:close/>
                  <a:moveTo>
                    <a:pt x="28" y="0"/>
                  </a:moveTo>
                  <a:lnTo>
                    <a:pt x="33" y="15"/>
                  </a:lnTo>
                  <a:lnTo>
                    <a:pt x="38" y="0"/>
                  </a:lnTo>
                  <a:lnTo>
                    <a:pt x="44" y="0"/>
                  </a:lnTo>
                  <a:lnTo>
                    <a:pt x="44" y="21"/>
                  </a:lnTo>
                  <a:lnTo>
                    <a:pt x="40" y="21"/>
                  </a:lnTo>
                  <a:lnTo>
                    <a:pt x="40" y="4"/>
                  </a:lnTo>
                  <a:lnTo>
                    <a:pt x="34" y="21"/>
                  </a:lnTo>
                  <a:lnTo>
                    <a:pt x="31" y="21"/>
                  </a:lnTo>
                  <a:lnTo>
                    <a:pt x="25" y="4"/>
                  </a:lnTo>
                  <a:lnTo>
                    <a:pt x="25" y="21"/>
                  </a:lnTo>
                  <a:lnTo>
                    <a:pt x="22" y="21"/>
                  </a:lnTo>
                  <a:lnTo>
                    <a:pt x="22" y="0"/>
                  </a:lnTo>
                  <a:lnTo>
                    <a:pt x="2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 name="TextBox 23"/>
          <p:cNvSpPr txBox="1"/>
          <p:nvPr userDrawn="1"/>
        </p:nvSpPr>
        <p:spPr>
          <a:xfrm>
            <a:off x="801106" y="3505893"/>
            <a:ext cx="2769408" cy="415498"/>
          </a:xfrm>
          <a:prstGeom prst="rect">
            <a:avLst/>
          </a:prstGeom>
          <a:noFill/>
        </p:spPr>
        <p:txBody>
          <a:bodyPr wrap="square" lIns="0" tIns="0" rIns="0" bIns="0" rtlCol="0">
            <a:noAutofit/>
          </a:bodyPr>
          <a:lstStyle/>
          <a:p>
            <a:pPr algn="l"/>
            <a:r>
              <a:rPr lang="en-GB" sz="2700">
                <a:solidFill>
                  <a:schemeClr val="tx2"/>
                </a:solidFill>
              </a:rPr>
              <a:t>www.upfield.com</a:t>
            </a:r>
          </a:p>
        </p:txBody>
      </p:sp>
    </p:spTree>
    <p:extLst>
      <p:ext uri="{BB962C8B-B14F-4D97-AF65-F5344CB8AC3E}">
        <p14:creationId xmlns:p14="http://schemas.microsoft.com/office/powerpoint/2010/main" val="36902828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Introduction Slide 0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1D8F2E7-8BEE-4DC4-B1C9-DB71832D6F5E}"/>
              </a:ext>
            </a:extLst>
          </p:cNvPr>
          <p:cNvSpPr>
            <a:spLocks noGrp="1"/>
          </p:cNvSpPr>
          <p:nvPr>
            <p:ph type="pic" sz="quarter" idx="10"/>
          </p:nvPr>
        </p:nvSpPr>
        <p:spPr>
          <a:xfrm>
            <a:off x="752034" y="2418664"/>
            <a:ext cx="4064208" cy="4061904"/>
          </a:xfrm>
          <a:custGeom>
            <a:avLst/>
            <a:gdLst>
              <a:gd name="connsiteX0" fmla="*/ 4063150 w 8126299"/>
              <a:gd name="connsiteY0" fmla="*/ 0 h 8123807"/>
              <a:gd name="connsiteX1" fmla="*/ 8126299 w 8126299"/>
              <a:gd name="connsiteY1" fmla="*/ 4061904 h 8123807"/>
              <a:gd name="connsiteX2" fmla="*/ 4063150 w 8126299"/>
              <a:gd name="connsiteY2" fmla="*/ 8123807 h 8123807"/>
              <a:gd name="connsiteX3" fmla="*/ 0 w 8126299"/>
              <a:gd name="connsiteY3" fmla="*/ 4061904 h 8123807"/>
              <a:gd name="connsiteX4" fmla="*/ 4063150 w 8126299"/>
              <a:gd name="connsiteY4" fmla="*/ 0 h 8123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6299" h="8123807">
                <a:moveTo>
                  <a:pt x="4063150" y="0"/>
                </a:moveTo>
                <a:cubicBezTo>
                  <a:pt x="6307722" y="0"/>
                  <a:pt x="8126299" y="1818577"/>
                  <a:pt x="8126299" y="4061904"/>
                </a:cubicBezTo>
                <a:cubicBezTo>
                  <a:pt x="8126299" y="6306476"/>
                  <a:pt x="6307722" y="8123807"/>
                  <a:pt x="4063150" y="8123807"/>
                </a:cubicBezTo>
                <a:cubicBezTo>
                  <a:pt x="1819823" y="8123807"/>
                  <a:pt x="0" y="6306476"/>
                  <a:pt x="0" y="4061904"/>
                </a:cubicBezTo>
                <a:cubicBezTo>
                  <a:pt x="0" y="1818577"/>
                  <a:pt x="1819823" y="0"/>
                  <a:pt x="4063150" y="0"/>
                </a:cubicBezTo>
                <a:close/>
              </a:path>
            </a:pathLst>
          </a:custGeom>
          <a:solidFill>
            <a:schemeClr val="bg2">
              <a:lumMod val="95000"/>
            </a:schemeClr>
          </a:solidFill>
        </p:spPr>
        <p:txBody>
          <a:bodyPr wrap="square">
            <a:noAutofit/>
          </a:bodyPr>
          <a:lstStyle>
            <a:lvl1pPr marL="0" indent="0">
              <a:buNone/>
              <a:defRPr/>
            </a:lvl1pPr>
          </a:lstStyle>
          <a:p>
            <a:endParaRPr lang="en-US"/>
          </a:p>
        </p:txBody>
      </p:sp>
    </p:spTree>
    <p:extLst>
      <p:ext uri="{BB962C8B-B14F-4D97-AF65-F5344CB8AC3E}">
        <p14:creationId xmlns:p14="http://schemas.microsoft.com/office/powerpoint/2010/main" val="1819057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084046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hart Slide">
    <p:spTree>
      <p:nvGrpSpPr>
        <p:cNvPr id="1" name="Shape 31"/>
        <p:cNvGrpSpPr/>
        <p:nvPr/>
      </p:nvGrpSpPr>
      <p:grpSpPr>
        <a:xfrm>
          <a:off x="0" y="0"/>
          <a:ext cx="0" cy="0"/>
          <a:chOff x="0" y="0"/>
          <a:chExt cx="0" cy="0"/>
        </a:xfrm>
      </p:grpSpPr>
      <p:cxnSp>
        <p:nvCxnSpPr>
          <p:cNvPr id="3" name="Straight Connector 2"/>
          <p:cNvCxnSpPr/>
          <p:nvPr userDrawn="1"/>
        </p:nvCxnSpPr>
        <p:spPr>
          <a:xfrm>
            <a:off x="296162" y="588444"/>
            <a:ext cx="8837472" cy="0"/>
          </a:xfrm>
          <a:prstGeom prst="line">
            <a:avLst/>
          </a:prstGeom>
        </p:spPr>
        <p:style>
          <a:lnRef idx="1">
            <a:schemeClr val="dk1"/>
          </a:lnRef>
          <a:fillRef idx="0">
            <a:schemeClr val="dk1"/>
          </a:fillRef>
          <a:effectRef idx="0">
            <a:schemeClr val="dk1"/>
          </a:effectRef>
          <a:fontRef idx="minor">
            <a:schemeClr val="tx1"/>
          </a:fontRef>
        </p:style>
      </p:cxnSp>
      <p:sp>
        <p:nvSpPr>
          <p:cNvPr id="2" name="Title 1"/>
          <p:cNvSpPr>
            <a:spLocks noGrp="1"/>
          </p:cNvSpPr>
          <p:nvPr>
            <p:ph type="title"/>
          </p:nvPr>
        </p:nvSpPr>
        <p:spPr>
          <a:xfrm>
            <a:off x="296163" y="188965"/>
            <a:ext cx="10515600" cy="399480"/>
          </a:xfrm>
          <a:prstGeom prst="rect">
            <a:avLst/>
          </a:prstGeom>
        </p:spPr>
        <p:txBody>
          <a:bodyPr/>
          <a:lstStyle>
            <a:lvl1pPr>
              <a:defRPr sz="1800">
                <a:solidFill>
                  <a:schemeClr val="tx1"/>
                </a:solidFill>
                <a:latin typeface="+mn-lt"/>
              </a:defRPr>
            </a:lvl1pPr>
          </a:lstStyle>
          <a:p>
            <a:r>
              <a:rPr lang="en-US"/>
              <a:t>Click to edit Master title style</a:t>
            </a:r>
            <a:endParaRPr lang="en-GB"/>
          </a:p>
        </p:txBody>
      </p:sp>
      <p:sp>
        <p:nvSpPr>
          <p:cNvPr id="5" name="Shape 52"/>
          <p:cNvSpPr txBox="1">
            <a:spLocks noGrp="1"/>
          </p:cNvSpPr>
          <p:nvPr>
            <p:ph type="sldNum" idx="12"/>
          </p:nvPr>
        </p:nvSpPr>
        <p:spPr>
          <a:xfrm>
            <a:off x="11310183" y="6333008"/>
            <a:ext cx="731446" cy="524999"/>
          </a:xfrm>
          <a:prstGeom prst="rect">
            <a:avLst/>
          </a:prstGeom>
          <a:noFill/>
          <a:ln>
            <a:noFill/>
          </a:ln>
        </p:spPr>
        <p:txBody>
          <a:bodyPr wrap="square" lIns="91425" tIns="91425" rIns="91425" bIns="91425" anchor="ctr" anchorCtr="0">
            <a:noAutofit/>
          </a:bodyPr>
          <a:lstStyle>
            <a:lvl1pPr>
              <a:defRPr lang="en-GB" smtClean="0">
                <a:solidFill>
                  <a:srgbClr val="A6A6A6"/>
                </a:solidFill>
                <a:latin typeface="Trebuchet MS" panose="020B0603020202020204" pitchFamily="34" charset="0"/>
              </a:defRPr>
            </a:lvl1pPr>
          </a:lstStyle>
          <a:p>
            <a:pPr>
              <a:buClr>
                <a:srgbClr val="000000"/>
              </a:buClr>
              <a:buSzPct val="25000"/>
              <a:buFont typeface="Arial"/>
              <a:buNone/>
            </a:pPr>
            <a:fld id="{00000000-1234-1234-1234-123412341234}" type="slidenum">
              <a:rPr lang="en-US" smtClean="0"/>
              <a:pPr>
                <a:buClr>
                  <a:srgbClr val="000000"/>
                </a:buClr>
                <a:buSzPct val="25000"/>
                <a:buFont typeface="Arial"/>
                <a:buNone/>
              </a:pPr>
              <a:t>‹#›</a:t>
            </a:fld>
            <a:endParaRPr lang="en-US"/>
          </a:p>
        </p:txBody>
      </p:sp>
      <p:cxnSp>
        <p:nvCxnSpPr>
          <p:cNvPr id="6" name="Straight Connector 5"/>
          <p:cNvCxnSpPr/>
          <p:nvPr userDrawn="1"/>
        </p:nvCxnSpPr>
        <p:spPr>
          <a:xfrm>
            <a:off x="296163" y="588444"/>
            <a:ext cx="11165538"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771096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39A7B872-BBAE-80EA-41DC-C318014A667C}"/>
              </a:ext>
            </a:extLst>
          </p:cNvPr>
          <p:cNvSpPr>
            <a:spLocks noGrp="1"/>
          </p:cNvSpPr>
          <p:nvPr>
            <p:ph type="ctrTitle"/>
          </p:nvPr>
        </p:nvSpPr>
        <p:spPr>
          <a:xfrm>
            <a:off x="1524000" y="1122363"/>
            <a:ext cx="9144000" cy="2387600"/>
          </a:xfrm>
        </p:spPr>
        <p:txBody>
          <a:bodyPr anchor="b"/>
          <a:lstStyle>
            <a:lvl1pPr algn="ctr">
              <a:defRPr sz="6000"/>
            </a:lvl1pPr>
          </a:lstStyle>
          <a:p>
            <a:r>
              <a:rPr lang="pl-PL"/>
              <a:t>Kliknij, aby edytować styl</a:t>
            </a:r>
          </a:p>
        </p:txBody>
      </p:sp>
      <p:sp>
        <p:nvSpPr>
          <p:cNvPr id="3" name="Podtytuł 2">
            <a:extLst>
              <a:ext uri="{FF2B5EF4-FFF2-40B4-BE49-F238E27FC236}">
                <a16:creationId xmlns:a16="http://schemas.microsoft.com/office/drawing/2014/main" id="{EF21A976-83C5-FA11-0A4F-EAFBB1CA93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a:t>Kliknij, aby edytować styl wzorca podtytułu</a:t>
            </a:r>
          </a:p>
        </p:txBody>
      </p:sp>
      <p:sp>
        <p:nvSpPr>
          <p:cNvPr id="4" name="Symbol zastępczy numeru slajdu 3">
            <a:extLst>
              <a:ext uri="{FF2B5EF4-FFF2-40B4-BE49-F238E27FC236}">
                <a16:creationId xmlns:a16="http://schemas.microsoft.com/office/drawing/2014/main" id="{1C48A77E-AA5A-7A4E-292B-2B38EB4E56D4}"/>
              </a:ext>
            </a:extLst>
          </p:cNvPr>
          <p:cNvSpPr>
            <a:spLocks noGrp="1"/>
          </p:cNvSpPr>
          <p:nvPr>
            <p:ph type="sldNum" sz="quarter" idx="10"/>
          </p:nvPr>
        </p:nvSpPr>
        <p:spPr/>
        <p:txBody>
          <a:bodyPr/>
          <a:lstStyle/>
          <a:p>
            <a:fld id="{5722A38D-A97F-4F97-9FC7-877081678527}" type="slidenum">
              <a:rPr lang="en-GB" smtClean="0"/>
              <a:t>‹#›</a:t>
            </a:fld>
            <a:endParaRPr lang="en-GB"/>
          </a:p>
        </p:txBody>
      </p:sp>
    </p:spTree>
    <p:extLst>
      <p:ext uri="{BB962C8B-B14F-4D97-AF65-F5344CB8AC3E}">
        <p14:creationId xmlns:p14="http://schemas.microsoft.com/office/powerpoint/2010/main" val="37638074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pl-PL"/>
              <a:t>Kliknij, aby edytować styl</a:t>
            </a:r>
            <a:endParaRPr lang="en-US"/>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l-PL"/>
              <a:t>Kliknij, aby edytować styl wzorca podtytułu</a:t>
            </a:r>
            <a:endParaRPr lang="en-US"/>
          </a:p>
        </p:txBody>
      </p:sp>
      <p:sp>
        <p:nvSpPr>
          <p:cNvPr id="4" name="Date Placeholder 3"/>
          <p:cNvSpPr>
            <a:spLocks noGrp="1"/>
          </p:cNvSpPr>
          <p:nvPr>
            <p:ph type="dt" sz="half" idx="10"/>
          </p:nvPr>
        </p:nvSpPr>
        <p:spPr/>
        <p:txBody>
          <a:bodyPr/>
          <a:lstStyle/>
          <a:p>
            <a:fld id="{B61BEF0D-F0BB-DE4B-95CE-6DB70DBA9567}" type="datetimeFigureOut">
              <a:rPr lang="en-US" dirty="0"/>
              <a:pPr/>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27083531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seeds">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4" name="Rectangle 23"/>
          <p:cNvSpPr/>
          <p:nvPr userDrawn="1"/>
        </p:nvSpPr>
        <p:spPr>
          <a:xfrm>
            <a:off x="2722244" y="3429000"/>
            <a:ext cx="9469756"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itle 1"/>
          <p:cNvSpPr>
            <a:spLocks noGrp="1"/>
          </p:cNvSpPr>
          <p:nvPr>
            <p:ph type="ctrTitle"/>
          </p:nvPr>
        </p:nvSpPr>
        <p:spPr>
          <a:xfrm>
            <a:off x="3189288" y="3860802"/>
            <a:ext cx="8559800" cy="1609969"/>
          </a:xfrm>
        </p:spPr>
        <p:txBody>
          <a:bodyPr anchor="t" anchorCtr="0">
            <a:normAutofit/>
          </a:bodyPr>
          <a:lstStyle>
            <a:lvl1pPr algn="l">
              <a:lnSpc>
                <a:spcPct val="87000"/>
              </a:lnSpc>
              <a:defRPr sz="4000"/>
            </a:lvl1pPr>
          </a:lstStyle>
          <a:p>
            <a:r>
              <a:rPr lang="en-US"/>
              <a:t>Click to edit Master title style</a:t>
            </a:r>
            <a:endParaRPr lang="en-GB"/>
          </a:p>
        </p:txBody>
      </p:sp>
      <p:grpSp>
        <p:nvGrpSpPr>
          <p:cNvPr id="10" name="Group 4"/>
          <p:cNvGrpSpPr>
            <a:grpSpLocks noChangeAspect="1"/>
          </p:cNvGrpSpPr>
          <p:nvPr userDrawn="1"/>
        </p:nvGrpSpPr>
        <p:grpSpPr bwMode="auto">
          <a:xfrm>
            <a:off x="5111749" y="5922963"/>
            <a:ext cx="1946274" cy="452437"/>
            <a:chOff x="3220" y="3731"/>
            <a:chExt cx="1226" cy="285"/>
          </a:xfrm>
          <a:solidFill>
            <a:schemeClr val="tx2"/>
          </a:solidFill>
        </p:grpSpPr>
        <p:sp>
          <p:nvSpPr>
            <p:cNvPr id="12" name="Freeform 5"/>
            <p:cNvSpPr>
              <a:spLocks/>
            </p:cNvSpPr>
            <p:nvPr userDrawn="1"/>
          </p:nvSpPr>
          <p:spPr bwMode="auto">
            <a:xfrm>
              <a:off x="3373" y="3731"/>
              <a:ext cx="139" cy="168"/>
            </a:xfrm>
            <a:custGeom>
              <a:avLst/>
              <a:gdLst>
                <a:gd name="T0" fmla="*/ 1877 w 2346"/>
                <a:gd name="T1" fmla="*/ 256 h 2836"/>
                <a:gd name="T2" fmla="*/ 347 w 2346"/>
                <a:gd name="T3" fmla="*/ 732 h 2836"/>
                <a:gd name="T4" fmla="*/ 198 w 2346"/>
                <a:gd name="T5" fmla="*/ 2836 h 2836"/>
                <a:gd name="T6" fmla="*/ 1952 w 2346"/>
                <a:gd name="T7" fmla="*/ 1423 h 2836"/>
                <a:gd name="T8" fmla="*/ 1877 w 2346"/>
                <a:gd name="T9" fmla="*/ 256 h 2836"/>
              </a:gdLst>
              <a:ahLst/>
              <a:cxnLst>
                <a:cxn ang="0">
                  <a:pos x="T0" y="T1"/>
                </a:cxn>
                <a:cxn ang="0">
                  <a:pos x="T2" y="T3"/>
                </a:cxn>
                <a:cxn ang="0">
                  <a:pos x="T4" y="T5"/>
                </a:cxn>
                <a:cxn ang="0">
                  <a:pos x="T6" y="T7"/>
                </a:cxn>
                <a:cxn ang="0">
                  <a:pos x="T8" y="T9"/>
                </a:cxn>
              </a:cxnLst>
              <a:rect l="0" t="0" r="r" b="b"/>
              <a:pathLst>
                <a:path w="2346" h="2836">
                  <a:moveTo>
                    <a:pt x="1877" y="256"/>
                  </a:moveTo>
                  <a:cubicBezTo>
                    <a:pt x="1440" y="0"/>
                    <a:pt x="754" y="116"/>
                    <a:pt x="347" y="732"/>
                  </a:cubicBezTo>
                  <a:cubicBezTo>
                    <a:pt x="0" y="1257"/>
                    <a:pt x="25" y="2110"/>
                    <a:pt x="198" y="2836"/>
                  </a:cubicBezTo>
                  <a:cubicBezTo>
                    <a:pt x="553" y="1921"/>
                    <a:pt x="1522" y="1777"/>
                    <a:pt x="1952" y="1423"/>
                  </a:cubicBezTo>
                  <a:cubicBezTo>
                    <a:pt x="2346" y="1097"/>
                    <a:pt x="2320" y="515"/>
                    <a:pt x="1877"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3391" y="3857"/>
              <a:ext cx="97" cy="74"/>
            </a:xfrm>
            <a:custGeom>
              <a:avLst/>
              <a:gdLst>
                <a:gd name="T0" fmla="*/ 399 w 1646"/>
                <a:gd name="T1" fmla="*/ 1221 h 1246"/>
                <a:gd name="T2" fmla="*/ 1232 w 1646"/>
                <a:gd name="T3" fmla="*/ 946 h 1246"/>
                <a:gd name="T4" fmla="*/ 1558 w 1646"/>
                <a:gd name="T5" fmla="*/ 281 h 1246"/>
                <a:gd name="T6" fmla="*/ 866 w 1646"/>
                <a:gd name="T7" fmla="*/ 167 h 1246"/>
                <a:gd name="T8" fmla="*/ 135 w 1646"/>
                <a:gd name="T9" fmla="*/ 812 h 1246"/>
                <a:gd name="T10" fmla="*/ 45 w 1646"/>
                <a:gd name="T11" fmla="*/ 1146 h 1246"/>
                <a:gd name="T12" fmla="*/ 399 w 1646"/>
                <a:gd name="T13" fmla="*/ 1221 h 1246"/>
              </a:gdLst>
              <a:ahLst/>
              <a:cxnLst>
                <a:cxn ang="0">
                  <a:pos x="T0" y="T1"/>
                </a:cxn>
                <a:cxn ang="0">
                  <a:pos x="T2" y="T3"/>
                </a:cxn>
                <a:cxn ang="0">
                  <a:pos x="T4" y="T5"/>
                </a:cxn>
                <a:cxn ang="0">
                  <a:pos x="T6" y="T7"/>
                </a:cxn>
                <a:cxn ang="0">
                  <a:pos x="T8" y="T9"/>
                </a:cxn>
                <a:cxn ang="0">
                  <a:pos x="T10" y="T11"/>
                </a:cxn>
                <a:cxn ang="0">
                  <a:pos x="T12" y="T13"/>
                </a:cxn>
              </a:cxnLst>
              <a:rect l="0" t="0" r="r" b="b"/>
              <a:pathLst>
                <a:path w="1646" h="1246">
                  <a:moveTo>
                    <a:pt x="399" y="1221"/>
                  </a:moveTo>
                  <a:cubicBezTo>
                    <a:pt x="630" y="1195"/>
                    <a:pt x="954" y="1100"/>
                    <a:pt x="1232" y="946"/>
                  </a:cubicBezTo>
                  <a:cubicBezTo>
                    <a:pt x="1630" y="726"/>
                    <a:pt x="1646" y="459"/>
                    <a:pt x="1558" y="281"/>
                  </a:cubicBezTo>
                  <a:cubicBezTo>
                    <a:pt x="1459" y="81"/>
                    <a:pt x="1189" y="0"/>
                    <a:pt x="866" y="167"/>
                  </a:cubicBezTo>
                  <a:cubicBezTo>
                    <a:pt x="551" y="330"/>
                    <a:pt x="287" y="584"/>
                    <a:pt x="135" y="812"/>
                  </a:cubicBezTo>
                  <a:cubicBezTo>
                    <a:pt x="35" y="964"/>
                    <a:pt x="0" y="1069"/>
                    <a:pt x="45" y="1146"/>
                  </a:cubicBezTo>
                  <a:cubicBezTo>
                    <a:pt x="87" y="1219"/>
                    <a:pt x="183" y="1246"/>
                    <a:pt x="399" y="1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3235" y="3900"/>
              <a:ext cx="262" cy="116"/>
            </a:xfrm>
            <a:custGeom>
              <a:avLst/>
              <a:gdLst>
                <a:gd name="T0" fmla="*/ 647 w 4416"/>
                <a:gd name="T1" fmla="*/ 324 h 1943"/>
                <a:gd name="T2" fmla="*/ 169 w 4416"/>
                <a:gd name="T3" fmla="*/ 777 h 1943"/>
                <a:gd name="T4" fmla="*/ 1941 w 4416"/>
                <a:gd name="T5" fmla="*/ 1906 h 1943"/>
                <a:gd name="T6" fmla="*/ 4416 w 4416"/>
                <a:gd name="T7" fmla="*/ 193 h 1943"/>
                <a:gd name="T8" fmla="*/ 2422 w 4416"/>
                <a:gd name="T9" fmla="*/ 890 h 1943"/>
                <a:gd name="T10" fmla="*/ 647 w 4416"/>
                <a:gd name="T11" fmla="*/ 324 h 1943"/>
              </a:gdLst>
              <a:ahLst/>
              <a:cxnLst>
                <a:cxn ang="0">
                  <a:pos x="T0" y="T1"/>
                </a:cxn>
                <a:cxn ang="0">
                  <a:pos x="T2" y="T3"/>
                </a:cxn>
                <a:cxn ang="0">
                  <a:pos x="T4" y="T5"/>
                </a:cxn>
                <a:cxn ang="0">
                  <a:pos x="T6" y="T7"/>
                </a:cxn>
                <a:cxn ang="0">
                  <a:pos x="T8" y="T9"/>
                </a:cxn>
                <a:cxn ang="0">
                  <a:pos x="T10" y="T11"/>
                </a:cxn>
              </a:cxnLst>
              <a:rect l="0" t="0" r="r" b="b"/>
              <a:pathLst>
                <a:path w="4416" h="1943">
                  <a:moveTo>
                    <a:pt x="647" y="324"/>
                  </a:moveTo>
                  <a:cubicBezTo>
                    <a:pt x="160" y="0"/>
                    <a:pt x="0" y="335"/>
                    <a:pt x="169" y="777"/>
                  </a:cubicBezTo>
                  <a:cubicBezTo>
                    <a:pt x="423" y="1444"/>
                    <a:pt x="1102" y="1881"/>
                    <a:pt x="1941" y="1906"/>
                  </a:cubicBezTo>
                  <a:cubicBezTo>
                    <a:pt x="3194" y="1943"/>
                    <a:pt x="4101" y="1092"/>
                    <a:pt x="4416" y="193"/>
                  </a:cubicBezTo>
                  <a:cubicBezTo>
                    <a:pt x="4014" y="567"/>
                    <a:pt x="3326" y="913"/>
                    <a:pt x="2422" y="890"/>
                  </a:cubicBezTo>
                  <a:cubicBezTo>
                    <a:pt x="1832" y="875"/>
                    <a:pt x="1221" y="707"/>
                    <a:pt x="647"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3220" y="3747"/>
              <a:ext cx="147" cy="178"/>
            </a:xfrm>
            <a:custGeom>
              <a:avLst/>
              <a:gdLst>
                <a:gd name="T0" fmla="*/ 1220 w 2480"/>
                <a:gd name="T1" fmla="*/ 1524 h 3000"/>
                <a:gd name="T2" fmla="*/ 2475 w 2480"/>
                <a:gd name="T3" fmla="*/ 2898 h 3000"/>
                <a:gd name="T4" fmla="*/ 2085 w 2480"/>
                <a:gd name="T5" fmla="*/ 1226 h 3000"/>
                <a:gd name="T6" fmla="*/ 429 w 2480"/>
                <a:gd name="T7" fmla="*/ 314 h 3000"/>
                <a:gd name="T8" fmla="*/ 824 w 2480"/>
                <a:gd name="T9" fmla="*/ 2169 h 3000"/>
                <a:gd name="T10" fmla="*/ 2161 w 2480"/>
                <a:gd name="T11" fmla="*/ 3000 h 3000"/>
                <a:gd name="T12" fmla="*/ 1176 w 2480"/>
                <a:gd name="T13" fmla="*/ 1537 h 3000"/>
                <a:gd name="T14" fmla="*/ 1220 w 2480"/>
                <a:gd name="T15" fmla="*/ 1524 h 3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0" h="3000">
                  <a:moveTo>
                    <a:pt x="1220" y="1524"/>
                  </a:moveTo>
                  <a:cubicBezTo>
                    <a:pt x="1665" y="2130"/>
                    <a:pt x="2113" y="2617"/>
                    <a:pt x="2475" y="2898"/>
                  </a:cubicBezTo>
                  <a:cubicBezTo>
                    <a:pt x="2480" y="2419"/>
                    <a:pt x="2337" y="1683"/>
                    <a:pt x="2085" y="1226"/>
                  </a:cubicBezTo>
                  <a:cubicBezTo>
                    <a:pt x="1579" y="311"/>
                    <a:pt x="828" y="0"/>
                    <a:pt x="429" y="314"/>
                  </a:cubicBezTo>
                  <a:cubicBezTo>
                    <a:pt x="0" y="652"/>
                    <a:pt x="256" y="1559"/>
                    <a:pt x="824" y="2169"/>
                  </a:cubicBezTo>
                  <a:cubicBezTo>
                    <a:pt x="1260" y="2638"/>
                    <a:pt x="1766" y="2907"/>
                    <a:pt x="2161" y="3000"/>
                  </a:cubicBezTo>
                  <a:cubicBezTo>
                    <a:pt x="1749" y="2664"/>
                    <a:pt x="1295" y="1923"/>
                    <a:pt x="1176" y="1537"/>
                  </a:cubicBezTo>
                  <a:cubicBezTo>
                    <a:pt x="1156" y="1470"/>
                    <a:pt x="1182" y="1471"/>
                    <a:pt x="1220" y="15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4259" y="3774"/>
              <a:ext cx="128" cy="189"/>
            </a:xfrm>
            <a:custGeom>
              <a:avLst/>
              <a:gdLst>
                <a:gd name="T0" fmla="*/ 1678 w 2160"/>
                <a:gd name="T1" fmla="*/ 0 h 3187"/>
                <a:gd name="T2" fmla="*/ 1678 w 2160"/>
                <a:gd name="T3" fmla="*/ 1237 h 3187"/>
                <a:gd name="T4" fmla="*/ 1030 w 2160"/>
                <a:gd name="T5" fmla="*/ 986 h 3187"/>
                <a:gd name="T6" fmla="*/ 0 w 2160"/>
                <a:gd name="T7" fmla="*/ 2089 h 3187"/>
                <a:gd name="T8" fmla="*/ 1030 w 2160"/>
                <a:gd name="T9" fmla="*/ 3187 h 3187"/>
                <a:gd name="T10" fmla="*/ 1703 w 2160"/>
                <a:gd name="T11" fmla="*/ 2910 h 3187"/>
                <a:gd name="T12" fmla="*/ 1743 w 2160"/>
                <a:gd name="T13" fmla="*/ 3142 h 3187"/>
                <a:gd name="T14" fmla="*/ 2160 w 2160"/>
                <a:gd name="T15" fmla="*/ 3142 h 3187"/>
                <a:gd name="T16" fmla="*/ 2160 w 2160"/>
                <a:gd name="T17" fmla="*/ 0 h 3187"/>
                <a:gd name="T18" fmla="*/ 1678 w 2160"/>
                <a:gd name="T19" fmla="*/ 0 h 3187"/>
                <a:gd name="T20" fmla="*/ 1093 w 2160"/>
                <a:gd name="T21" fmla="*/ 2751 h 3187"/>
                <a:gd name="T22" fmla="*/ 482 w 2160"/>
                <a:gd name="T23" fmla="*/ 2089 h 3187"/>
                <a:gd name="T24" fmla="*/ 1093 w 2160"/>
                <a:gd name="T25" fmla="*/ 1422 h 3187"/>
                <a:gd name="T26" fmla="*/ 1710 w 2160"/>
                <a:gd name="T27" fmla="*/ 2089 h 3187"/>
                <a:gd name="T28" fmla="*/ 1093 w 2160"/>
                <a:gd name="T29" fmla="*/ 275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0" h="3187">
                  <a:moveTo>
                    <a:pt x="1678" y="0"/>
                  </a:moveTo>
                  <a:cubicBezTo>
                    <a:pt x="1678" y="1237"/>
                    <a:pt x="1678" y="1237"/>
                    <a:pt x="1678" y="1237"/>
                  </a:cubicBezTo>
                  <a:cubicBezTo>
                    <a:pt x="1514" y="1072"/>
                    <a:pt x="1284" y="986"/>
                    <a:pt x="1030" y="986"/>
                  </a:cubicBezTo>
                  <a:cubicBezTo>
                    <a:pt x="443" y="986"/>
                    <a:pt x="0" y="1460"/>
                    <a:pt x="0" y="2089"/>
                  </a:cubicBezTo>
                  <a:cubicBezTo>
                    <a:pt x="0" y="2715"/>
                    <a:pt x="443" y="3187"/>
                    <a:pt x="1030" y="3187"/>
                  </a:cubicBezTo>
                  <a:cubicBezTo>
                    <a:pt x="1297" y="3187"/>
                    <a:pt x="1536" y="3093"/>
                    <a:pt x="1703" y="2910"/>
                  </a:cubicBezTo>
                  <a:cubicBezTo>
                    <a:pt x="1743" y="3142"/>
                    <a:pt x="1743" y="3142"/>
                    <a:pt x="1743" y="3142"/>
                  </a:cubicBezTo>
                  <a:cubicBezTo>
                    <a:pt x="2160" y="3142"/>
                    <a:pt x="2160" y="3142"/>
                    <a:pt x="2160" y="3142"/>
                  </a:cubicBezTo>
                  <a:cubicBezTo>
                    <a:pt x="2160" y="0"/>
                    <a:pt x="2160" y="0"/>
                    <a:pt x="2160" y="0"/>
                  </a:cubicBezTo>
                  <a:lnTo>
                    <a:pt x="1678" y="0"/>
                  </a:lnTo>
                  <a:close/>
                  <a:moveTo>
                    <a:pt x="1093" y="2751"/>
                  </a:moveTo>
                  <a:cubicBezTo>
                    <a:pt x="745" y="2751"/>
                    <a:pt x="482" y="2466"/>
                    <a:pt x="482" y="2089"/>
                  </a:cubicBezTo>
                  <a:cubicBezTo>
                    <a:pt x="482" y="1709"/>
                    <a:pt x="745" y="1422"/>
                    <a:pt x="1093" y="1422"/>
                  </a:cubicBezTo>
                  <a:cubicBezTo>
                    <a:pt x="1445" y="1422"/>
                    <a:pt x="1710" y="1709"/>
                    <a:pt x="1710" y="2089"/>
                  </a:cubicBezTo>
                  <a:cubicBezTo>
                    <a:pt x="1710" y="2466"/>
                    <a:pt x="1445" y="2751"/>
                    <a:pt x="1093" y="27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noEditPoints="1"/>
            </p:cNvSpPr>
            <p:nvPr userDrawn="1"/>
          </p:nvSpPr>
          <p:spPr bwMode="auto">
            <a:xfrm>
              <a:off x="3769" y="3832"/>
              <a:ext cx="128" cy="182"/>
            </a:xfrm>
            <a:custGeom>
              <a:avLst/>
              <a:gdLst>
                <a:gd name="T0" fmla="*/ 482 w 2161"/>
                <a:gd name="T1" fmla="*/ 1949 h 3066"/>
                <a:gd name="T2" fmla="*/ 1131 w 2161"/>
                <a:gd name="T3" fmla="*/ 2202 h 3066"/>
                <a:gd name="T4" fmla="*/ 2161 w 2161"/>
                <a:gd name="T5" fmla="*/ 1099 h 3066"/>
                <a:gd name="T6" fmla="*/ 1131 w 2161"/>
                <a:gd name="T7" fmla="*/ 0 h 3066"/>
                <a:gd name="T8" fmla="*/ 457 w 2161"/>
                <a:gd name="T9" fmla="*/ 280 h 3066"/>
                <a:gd name="T10" fmla="*/ 418 w 2161"/>
                <a:gd name="T11" fmla="*/ 46 h 3066"/>
                <a:gd name="T12" fmla="*/ 0 w 2161"/>
                <a:gd name="T13" fmla="*/ 46 h 3066"/>
                <a:gd name="T14" fmla="*/ 0 w 2161"/>
                <a:gd name="T15" fmla="*/ 3066 h 3066"/>
                <a:gd name="T16" fmla="*/ 482 w 2161"/>
                <a:gd name="T17" fmla="*/ 3066 h 3066"/>
                <a:gd name="T18" fmla="*/ 482 w 2161"/>
                <a:gd name="T19" fmla="*/ 1949 h 3066"/>
                <a:gd name="T20" fmla="*/ 450 w 2161"/>
                <a:gd name="T21" fmla="*/ 1099 h 3066"/>
                <a:gd name="T22" fmla="*/ 1067 w 2161"/>
                <a:gd name="T23" fmla="*/ 437 h 3066"/>
                <a:gd name="T24" fmla="*/ 1679 w 2161"/>
                <a:gd name="T25" fmla="*/ 1099 h 3066"/>
                <a:gd name="T26" fmla="*/ 1067 w 2161"/>
                <a:gd name="T27" fmla="*/ 1765 h 3066"/>
                <a:gd name="T28" fmla="*/ 450 w 2161"/>
                <a:gd name="T29" fmla="*/ 1099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1" h="3066">
                  <a:moveTo>
                    <a:pt x="482" y="1949"/>
                  </a:moveTo>
                  <a:cubicBezTo>
                    <a:pt x="648" y="2119"/>
                    <a:pt x="880" y="2202"/>
                    <a:pt x="1131" y="2202"/>
                  </a:cubicBezTo>
                  <a:cubicBezTo>
                    <a:pt x="1718" y="2202"/>
                    <a:pt x="2161" y="1728"/>
                    <a:pt x="2161" y="1099"/>
                  </a:cubicBezTo>
                  <a:cubicBezTo>
                    <a:pt x="2161" y="473"/>
                    <a:pt x="1718" y="0"/>
                    <a:pt x="1131" y="0"/>
                  </a:cubicBezTo>
                  <a:cubicBezTo>
                    <a:pt x="870" y="0"/>
                    <a:pt x="626" y="90"/>
                    <a:pt x="457" y="280"/>
                  </a:cubicBezTo>
                  <a:cubicBezTo>
                    <a:pt x="418" y="46"/>
                    <a:pt x="418" y="46"/>
                    <a:pt x="418" y="46"/>
                  </a:cubicBezTo>
                  <a:cubicBezTo>
                    <a:pt x="0" y="46"/>
                    <a:pt x="0" y="46"/>
                    <a:pt x="0" y="46"/>
                  </a:cubicBezTo>
                  <a:cubicBezTo>
                    <a:pt x="0" y="3066"/>
                    <a:pt x="0" y="3066"/>
                    <a:pt x="0" y="3066"/>
                  </a:cubicBezTo>
                  <a:cubicBezTo>
                    <a:pt x="482" y="3066"/>
                    <a:pt x="482" y="3066"/>
                    <a:pt x="482" y="3066"/>
                  </a:cubicBezTo>
                  <a:lnTo>
                    <a:pt x="482" y="1949"/>
                  </a:lnTo>
                  <a:close/>
                  <a:moveTo>
                    <a:pt x="450" y="1099"/>
                  </a:moveTo>
                  <a:cubicBezTo>
                    <a:pt x="450" y="722"/>
                    <a:pt x="715" y="437"/>
                    <a:pt x="1067" y="437"/>
                  </a:cubicBezTo>
                  <a:cubicBezTo>
                    <a:pt x="1416" y="437"/>
                    <a:pt x="1679" y="722"/>
                    <a:pt x="1679" y="1099"/>
                  </a:cubicBezTo>
                  <a:cubicBezTo>
                    <a:pt x="1679" y="1479"/>
                    <a:pt x="1416" y="1765"/>
                    <a:pt x="1067" y="1765"/>
                  </a:cubicBezTo>
                  <a:cubicBezTo>
                    <a:pt x="715" y="1765"/>
                    <a:pt x="450" y="1479"/>
                    <a:pt x="450" y="10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3587" y="3774"/>
              <a:ext cx="153" cy="189"/>
            </a:xfrm>
            <a:custGeom>
              <a:avLst/>
              <a:gdLst>
                <a:gd name="T0" fmla="*/ 2585 w 2585"/>
                <a:gd name="T1" fmla="*/ 0 h 3187"/>
                <a:gd name="T2" fmla="*/ 2085 w 2585"/>
                <a:gd name="T3" fmla="*/ 0 h 3187"/>
                <a:gd name="T4" fmla="*/ 2085 w 2585"/>
                <a:gd name="T5" fmla="*/ 1889 h 3187"/>
                <a:gd name="T6" fmla="*/ 1290 w 2585"/>
                <a:gd name="T7" fmla="*/ 2724 h 3187"/>
                <a:gd name="T8" fmla="*/ 500 w 2585"/>
                <a:gd name="T9" fmla="*/ 1889 h 3187"/>
                <a:gd name="T10" fmla="*/ 500 w 2585"/>
                <a:gd name="T11" fmla="*/ 0 h 3187"/>
                <a:gd name="T12" fmla="*/ 0 w 2585"/>
                <a:gd name="T13" fmla="*/ 0 h 3187"/>
                <a:gd name="T14" fmla="*/ 0 w 2585"/>
                <a:gd name="T15" fmla="*/ 1898 h 3187"/>
                <a:gd name="T16" fmla="*/ 1290 w 2585"/>
                <a:gd name="T17" fmla="*/ 3187 h 3187"/>
                <a:gd name="T18" fmla="*/ 2585 w 2585"/>
                <a:gd name="T19" fmla="*/ 1898 h 3187"/>
                <a:gd name="T20" fmla="*/ 2585 w 2585"/>
                <a:gd name="T21" fmla="*/ 0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5" h="3187">
                  <a:moveTo>
                    <a:pt x="2585" y="0"/>
                  </a:moveTo>
                  <a:cubicBezTo>
                    <a:pt x="2085" y="0"/>
                    <a:pt x="2085" y="0"/>
                    <a:pt x="2085" y="0"/>
                  </a:cubicBezTo>
                  <a:cubicBezTo>
                    <a:pt x="2085" y="1889"/>
                    <a:pt x="2085" y="1889"/>
                    <a:pt x="2085" y="1889"/>
                  </a:cubicBezTo>
                  <a:cubicBezTo>
                    <a:pt x="2085" y="2420"/>
                    <a:pt x="1740" y="2724"/>
                    <a:pt x="1290" y="2724"/>
                  </a:cubicBezTo>
                  <a:cubicBezTo>
                    <a:pt x="841" y="2724"/>
                    <a:pt x="500" y="2420"/>
                    <a:pt x="500" y="1889"/>
                  </a:cubicBezTo>
                  <a:cubicBezTo>
                    <a:pt x="500" y="0"/>
                    <a:pt x="500" y="0"/>
                    <a:pt x="500" y="0"/>
                  </a:cubicBezTo>
                  <a:cubicBezTo>
                    <a:pt x="0" y="0"/>
                    <a:pt x="0" y="0"/>
                    <a:pt x="0" y="0"/>
                  </a:cubicBezTo>
                  <a:cubicBezTo>
                    <a:pt x="0" y="1898"/>
                    <a:pt x="0" y="1898"/>
                    <a:pt x="0" y="1898"/>
                  </a:cubicBezTo>
                  <a:cubicBezTo>
                    <a:pt x="0" y="2693"/>
                    <a:pt x="545" y="3187"/>
                    <a:pt x="1290" y="3187"/>
                  </a:cubicBezTo>
                  <a:cubicBezTo>
                    <a:pt x="2024" y="3187"/>
                    <a:pt x="2585" y="2681"/>
                    <a:pt x="2585" y="1898"/>
                  </a:cubicBezTo>
                  <a:lnTo>
                    <a:pt x="25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2"/>
            <p:cNvSpPr>
              <a:spLocks noChangeArrowheads="1"/>
            </p:cNvSpPr>
            <p:nvPr userDrawn="1"/>
          </p:nvSpPr>
          <p:spPr bwMode="auto">
            <a:xfrm>
              <a:off x="4205" y="3774"/>
              <a:ext cx="29" cy="18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noEditPoints="1"/>
            </p:cNvSpPr>
            <p:nvPr userDrawn="1"/>
          </p:nvSpPr>
          <p:spPr bwMode="auto">
            <a:xfrm>
              <a:off x="4063" y="3832"/>
              <a:ext cx="117" cy="131"/>
            </a:xfrm>
            <a:custGeom>
              <a:avLst/>
              <a:gdLst>
                <a:gd name="T0" fmla="*/ 1724 w 1970"/>
                <a:gd name="T1" fmla="*/ 208 h 2200"/>
                <a:gd name="T2" fmla="*/ 1068 w 1970"/>
                <a:gd name="T3" fmla="*/ 0 h 2200"/>
                <a:gd name="T4" fmla="*/ 0 w 1970"/>
                <a:gd name="T5" fmla="*/ 1111 h 2200"/>
                <a:gd name="T6" fmla="*/ 1098 w 1970"/>
                <a:gd name="T7" fmla="*/ 2200 h 2200"/>
                <a:gd name="T8" fmla="*/ 1970 w 1970"/>
                <a:gd name="T9" fmla="*/ 1850 h 2200"/>
                <a:gd name="T10" fmla="*/ 1679 w 1970"/>
                <a:gd name="T11" fmla="*/ 1530 h 2200"/>
                <a:gd name="T12" fmla="*/ 1099 w 1970"/>
                <a:gd name="T13" fmla="*/ 1776 h 2200"/>
                <a:gd name="T14" fmla="*/ 480 w 1970"/>
                <a:gd name="T15" fmla="*/ 1290 h 2200"/>
                <a:gd name="T16" fmla="*/ 1038 w 1970"/>
                <a:gd name="T17" fmla="*/ 1382 h 2200"/>
                <a:gd name="T18" fmla="*/ 1965 w 1970"/>
                <a:gd name="T19" fmla="*/ 728 h 2200"/>
                <a:gd name="T20" fmla="*/ 1724 w 1970"/>
                <a:gd name="T21" fmla="*/ 208 h 2200"/>
                <a:gd name="T22" fmla="*/ 1000 w 1970"/>
                <a:gd name="T23" fmla="*/ 987 h 2200"/>
                <a:gd name="T24" fmla="*/ 983 w 1970"/>
                <a:gd name="T25" fmla="*/ 987 h 2200"/>
                <a:gd name="T26" fmla="*/ 488 w 1970"/>
                <a:gd name="T27" fmla="*/ 915 h 2200"/>
                <a:gd name="T28" fmla="*/ 1055 w 1970"/>
                <a:gd name="T29" fmla="*/ 427 h 2200"/>
                <a:gd name="T30" fmla="*/ 1057 w 1970"/>
                <a:gd name="T31" fmla="*/ 427 h 2200"/>
                <a:gd name="T32" fmla="*/ 1482 w 1970"/>
                <a:gd name="T33" fmla="*/ 713 h 2200"/>
                <a:gd name="T34" fmla="*/ 1000 w 1970"/>
                <a:gd name="T35" fmla="*/ 98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0" h="2200">
                  <a:moveTo>
                    <a:pt x="1724" y="208"/>
                  </a:moveTo>
                  <a:cubicBezTo>
                    <a:pt x="1561" y="72"/>
                    <a:pt x="1334" y="0"/>
                    <a:pt x="1068" y="0"/>
                  </a:cubicBezTo>
                  <a:cubicBezTo>
                    <a:pt x="550" y="0"/>
                    <a:pt x="0" y="389"/>
                    <a:pt x="0" y="1111"/>
                  </a:cubicBezTo>
                  <a:cubicBezTo>
                    <a:pt x="0" y="1773"/>
                    <a:pt x="431" y="2200"/>
                    <a:pt x="1098" y="2200"/>
                  </a:cubicBezTo>
                  <a:cubicBezTo>
                    <a:pt x="1452" y="2200"/>
                    <a:pt x="1721" y="2092"/>
                    <a:pt x="1970" y="1850"/>
                  </a:cubicBezTo>
                  <a:cubicBezTo>
                    <a:pt x="1679" y="1530"/>
                    <a:pt x="1679" y="1530"/>
                    <a:pt x="1679" y="1530"/>
                  </a:cubicBezTo>
                  <a:cubicBezTo>
                    <a:pt x="1510" y="1695"/>
                    <a:pt x="1320" y="1776"/>
                    <a:pt x="1099" y="1776"/>
                  </a:cubicBezTo>
                  <a:cubicBezTo>
                    <a:pt x="767" y="1776"/>
                    <a:pt x="524" y="1578"/>
                    <a:pt x="480" y="1290"/>
                  </a:cubicBezTo>
                  <a:cubicBezTo>
                    <a:pt x="658" y="1356"/>
                    <a:pt x="854" y="1382"/>
                    <a:pt x="1038" y="1382"/>
                  </a:cubicBezTo>
                  <a:cubicBezTo>
                    <a:pt x="1619" y="1382"/>
                    <a:pt x="1965" y="1138"/>
                    <a:pt x="1965" y="728"/>
                  </a:cubicBezTo>
                  <a:cubicBezTo>
                    <a:pt x="1965" y="523"/>
                    <a:pt x="1879" y="339"/>
                    <a:pt x="1724" y="208"/>
                  </a:cubicBezTo>
                  <a:close/>
                  <a:moveTo>
                    <a:pt x="1000" y="987"/>
                  </a:moveTo>
                  <a:cubicBezTo>
                    <a:pt x="994" y="987"/>
                    <a:pt x="989" y="987"/>
                    <a:pt x="983" y="987"/>
                  </a:cubicBezTo>
                  <a:cubicBezTo>
                    <a:pt x="809" y="987"/>
                    <a:pt x="620" y="961"/>
                    <a:pt x="488" y="915"/>
                  </a:cubicBezTo>
                  <a:cubicBezTo>
                    <a:pt x="536" y="633"/>
                    <a:pt x="768" y="427"/>
                    <a:pt x="1055" y="427"/>
                  </a:cubicBezTo>
                  <a:cubicBezTo>
                    <a:pt x="1057" y="427"/>
                    <a:pt x="1057" y="427"/>
                    <a:pt x="1057" y="427"/>
                  </a:cubicBezTo>
                  <a:cubicBezTo>
                    <a:pt x="1311" y="427"/>
                    <a:pt x="1482" y="542"/>
                    <a:pt x="1482" y="713"/>
                  </a:cubicBezTo>
                  <a:cubicBezTo>
                    <a:pt x="1482" y="892"/>
                    <a:pt x="1320" y="984"/>
                    <a:pt x="1000" y="9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14"/>
            <p:cNvSpPr>
              <a:spLocks noChangeArrowheads="1"/>
            </p:cNvSpPr>
            <p:nvPr userDrawn="1"/>
          </p:nvSpPr>
          <p:spPr bwMode="auto">
            <a:xfrm>
              <a:off x="4009" y="3835"/>
              <a:ext cx="29" cy="1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3905" y="3763"/>
              <a:ext cx="132" cy="197"/>
            </a:xfrm>
            <a:custGeom>
              <a:avLst/>
              <a:gdLst>
                <a:gd name="T0" fmla="*/ 1979 w 2223"/>
                <a:gd name="T1" fmla="*/ 261 h 3316"/>
                <a:gd name="T2" fmla="*/ 1320 w 2223"/>
                <a:gd name="T3" fmla="*/ 0 h 3316"/>
                <a:gd name="T4" fmla="*/ 685 w 2223"/>
                <a:gd name="T5" fmla="*/ 256 h 3316"/>
                <a:gd name="T6" fmla="*/ 424 w 2223"/>
                <a:gd name="T7" fmla="*/ 1056 h 3316"/>
                <a:gd name="T8" fmla="*/ 424 w 2223"/>
                <a:gd name="T9" fmla="*/ 1205 h 3316"/>
                <a:gd name="T10" fmla="*/ 0 w 2223"/>
                <a:gd name="T11" fmla="*/ 1205 h 3316"/>
                <a:gd name="T12" fmla="*/ 0 w 2223"/>
                <a:gd name="T13" fmla="*/ 1630 h 3316"/>
                <a:gd name="T14" fmla="*/ 424 w 2223"/>
                <a:gd name="T15" fmla="*/ 1630 h 3316"/>
                <a:gd name="T16" fmla="*/ 424 w 2223"/>
                <a:gd name="T17" fmla="*/ 3316 h 3316"/>
                <a:gd name="T18" fmla="*/ 906 w 2223"/>
                <a:gd name="T19" fmla="*/ 3316 h 3316"/>
                <a:gd name="T20" fmla="*/ 906 w 2223"/>
                <a:gd name="T21" fmla="*/ 1630 h 3316"/>
                <a:gd name="T22" fmla="*/ 1359 w 2223"/>
                <a:gd name="T23" fmla="*/ 1630 h 3316"/>
                <a:gd name="T24" fmla="*/ 1359 w 2223"/>
                <a:gd name="T25" fmla="*/ 1205 h 3316"/>
                <a:gd name="T26" fmla="*/ 906 w 2223"/>
                <a:gd name="T27" fmla="*/ 1205 h 3316"/>
                <a:gd name="T28" fmla="*/ 906 w 2223"/>
                <a:gd name="T29" fmla="*/ 981 h 3316"/>
                <a:gd name="T30" fmla="*/ 1032 w 2223"/>
                <a:gd name="T31" fmla="*/ 553 h 3316"/>
                <a:gd name="T32" fmla="*/ 1329 w 2223"/>
                <a:gd name="T33" fmla="*/ 436 h 3316"/>
                <a:gd name="T34" fmla="*/ 1616 w 2223"/>
                <a:gd name="T35" fmla="*/ 543 h 3316"/>
                <a:gd name="T36" fmla="*/ 1745 w 2223"/>
                <a:gd name="T37" fmla="*/ 821 h 3316"/>
                <a:gd name="T38" fmla="*/ 2223 w 2223"/>
                <a:gd name="T39" fmla="*/ 821 h 3316"/>
                <a:gd name="T40" fmla="*/ 1979 w 2223"/>
                <a:gd name="T41" fmla="*/ 261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23" h="3316">
                  <a:moveTo>
                    <a:pt x="1979" y="261"/>
                  </a:moveTo>
                  <a:cubicBezTo>
                    <a:pt x="1819" y="93"/>
                    <a:pt x="1604" y="0"/>
                    <a:pt x="1320" y="0"/>
                  </a:cubicBezTo>
                  <a:cubicBezTo>
                    <a:pt x="1060" y="0"/>
                    <a:pt x="838" y="94"/>
                    <a:pt x="685" y="256"/>
                  </a:cubicBezTo>
                  <a:cubicBezTo>
                    <a:pt x="498" y="453"/>
                    <a:pt x="424" y="680"/>
                    <a:pt x="424" y="1056"/>
                  </a:cubicBezTo>
                  <a:cubicBezTo>
                    <a:pt x="424" y="1157"/>
                    <a:pt x="424" y="1200"/>
                    <a:pt x="424" y="1205"/>
                  </a:cubicBezTo>
                  <a:cubicBezTo>
                    <a:pt x="0" y="1205"/>
                    <a:pt x="0" y="1205"/>
                    <a:pt x="0" y="1205"/>
                  </a:cubicBezTo>
                  <a:cubicBezTo>
                    <a:pt x="0" y="1630"/>
                    <a:pt x="0" y="1630"/>
                    <a:pt x="0" y="1630"/>
                  </a:cubicBezTo>
                  <a:cubicBezTo>
                    <a:pt x="424" y="1630"/>
                    <a:pt x="424" y="1630"/>
                    <a:pt x="424" y="1630"/>
                  </a:cubicBezTo>
                  <a:cubicBezTo>
                    <a:pt x="424" y="3316"/>
                    <a:pt x="424" y="3316"/>
                    <a:pt x="424" y="3316"/>
                  </a:cubicBezTo>
                  <a:cubicBezTo>
                    <a:pt x="906" y="3316"/>
                    <a:pt x="906" y="3316"/>
                    <a:pt x="906" y="3316"/>
                  </a:cubicBezTo>
                  <a:cubicBezTo>
                    <a:pt x="906" y="1630"/>
                    <a:pt x="906" y="1630"/>
                    <a:pt x="906" y="1630"/>
                  </a:cubicBezTo>
                  <a:cubicBezTo>
                    <a:pt x="1359" y="1630"/>
                    <a:pt x="1359" y="1630"/>
                    <a:pt x="1359" y="1630"/>
                  </a:cubicBezTo>
                  <a:cubicBezTo>
                    <a:pt x="1359" y="1205"/>
                    <a:pt x="1359" y="1205"/>
                    <a:pt x="1359" y="1205"/>
                  </a:cubicBezTo>
                  <a:cubicBezTo>
                    <a:pt x="906" y="1205"/>
                    <a:pt x="906" y="1205"/>
                    <a:pt x="906" y="1205"/>
                  </a:cubicBezTo>
                  <a:cubicBezTo>
                    <a:pt x="906" y="1200"/>
                    <a:pt x="906" y="1014"/>
                    <a:pt x="906" y="981"/>
                  </a:cubicBezTo>
                  <a:cubicBezTo>
                    <a:pt x="906" y="783"/>
                    <a:pt x="930" y="658"/>
                    <a:pt x="1032" y="553"/>
                  </a:cubicBezTo>
                  <a:cubicBezTo>
                    <a:pt x="1100" y="484"/>
                    <a:pt x="1204" y="436"/>
                    <a:pt x="1329" y="436"/>
                  </a:cubicBezTo>
                  <a:cubicBezTo>
                    <a:pt x="1442" y="436"/>
                    <a:pt x="1546" y="475"/>
                    <a:pt x="1616" y="543"/>
                  </a:cubicBezTo>
                  <a:cubicBezTo>
                    <a:pt x="1693" y="618"/>
                    <a:pt x="1732" y="703"/>
                    <a:pt x="1745" y="821"/>
                  </a:cubicBezTo>
                  <a:cubicBezTo>
                    <a:pt x="2223" y="821"/>
                    <a:pt x="2223" y="821"/>
                    <a:pt x="2223" y="821"/>
                  </a:cubicBezTo>
                  <a:cubicBezTo>
                    <a:pt x="2199" y="606"/>
                    <a:pt x="2128" y="418"/>
                    <a:pt x="1979" y="2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
            <p:cNvSpPr>
              <a:spLocks noEditPoints="1"/>
            </p:cNvSpPr>
            <p:nvPr userDrawn="1"/>
          </p:nvSpPr>
          <p:spPr bwMode="auto">
            <a:xfrm>
              <a:off x="4402" y="3774"/>
              <a:ext cx="44" cy="21"/>
            </a:xfrm>
            <a:custGeom>
              <a:avLst/>
              <a:gdLst>
                <a:gd name="T0" fmla="*/ 0 w 44"/>
                <a:gd name="T1" fmla="*/ 3 h 21"/>
                <a:gd name="T2" fmla="*/ 0 w 44"/>
                <a:gd name="T3" fmla="*/ 0 h 21"/>
                <a:gd name="T4" fmla="*/ 18 w 44"/>
                <a:gd name="T5" fmla="*/ 0 h 21"/>
                <a:gd name="T6" fmla="*/ 18 w 44"/>
                <a:gd name="T7" fmla="*/ 3 h 21"/>
                <a:gd name="T8" fmla="*/ 11 w 44"/>
                <a:gd name="T9" fmla="*/ 3 h 21"/>
                <a:gd name="T10" fmla="*/ 11 w 44"/>
                <a:gd name="T11" fmla="*/ 21 h 21"/>
                <a:gd name="T12" fmla="*/ 7 w 44"/>
                <a:gd name="T13" fmla="*/ 21 h 21"/>
                <a:gd name="T14" fmla="*/ 7 w 44"/>
                <a:gd name="T15" fmla="*/ 3 h 21"/>
                <a:gd name="T16" fmla="*/ 0 w 44"/>
                <a:gd name="T17" fmla="*/ 3 h 21"/>
                <a:gd name="T18" fmla="*/ 28 w 44"/>
                <a:gd name="T19" fmla="*/ 0 h 21"/>
                <a:gd name="T20" fmla="*/ 33 w 44"/>
                <a:gd name="T21" fmla="*/ 15 h 21"/>
                <a:gd name="T22" fmla="*/ 38 w 44"/>
                <a:gd name="T23" fmla="*/ 0 h 21"/>
                <a:gd name="T24" fmla="*/ 44 w 44"/>
                <a:gd name="T25" fmla="*/ 0 h 21"/>
                <a:gd name="T26" fmla="*/ 44 w 44"/>
                <a:gd name="T27" fmla="*/ 21 h 21"/>
                <a:gd name="T28" fmla="*/ 40 w 44"/>
                <a:gd name="T29" fmla="*/ 21 h 21"/>
                <a:gd name="T30" fmla="*/ 40 w 44"/>
                <a:gd name="T31" fmla="*/ 4 h 21"/>
                <a:gd name="T32" fmla="*/ 34 w 44"/>
                <a:gd name="T33" fmla="*/ 21 h 21"/>
                <a:gd name="T34" fmla="*/ 31 w 44"/>
                <a:gd name="T35" fmla="*/ 21 h 21"/>
                <a:gd name="T36" fmla="*/ 25 w 44"/>
                <a:gd name="T37" fmla="*/ 4 h 21"/>
                <a:gd name="T38" fmla="*/ 25 w 44"/>
                <a:gd name="T39" fmla="*/ 21 h 21"/>
                <a:gd name="T40" fmla="*/ 22 w 44"/>
                <a:gd name="T41" fmla="*/ 21 h 21"/>
                <a:gd name="T42" fmla="*/ 22 w 44"/>
                <a:gd name="T43" fmla="*/ 0 h 21"/>
                <a:gd name="T44" fmla="*/ 28 w 44"/>
                <a:gd name="T4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21">
                  <a:moveTo>
                    <a:pt x="0" y="3"/>
                  </a:moveTo>
                  <a:lnTo>
                    <a:pt x="0" y="0"/>
                  </a:lnTo>
                  <a:lnTo>
                    <a:pt x="18" y="0"/>
                  </a:lnTo>
                  <a:lnTo>
                    <a:pt x="18" y="3"/>
                  </a:lnTo>
                  <a:lnTo>
                    <a:pt x="11" y="3"/>
                  </a:lnTo>
                  <a:lnTo>
                    <a:pt x="11" y="21"/>
                  </a:lnTo>
                  <a:lnTo>
                    <a:pt x="7" y="21"/>
                  </a:lnTo>
                  <a:lnTo>
                    <a:pt x="7" y="3"/>
                  </a:lnTo>
                  <a:lnTo>
                    <a:pt x="0" y="3"/>
                  </a:lnTo>
                  <a:close/>
                  <a:moveTo>
                    <a:pt x="28" y="0"/>
                  </a:moveTo>
                  <a:lnTo>
                    <a:pt x="33" y="15"/>
                  </a:lnTo>
                  <a:lnTo>
                    <a:pt x="38" y="0"/>
                  </a:lnTo>
                  <a:lnTo>
                    <a:pt x="44" y="0"/>
                  </a:lnTo>
                  <a:lnTo>
                    <a:pt x="44" y="21"/>
                  </a:lnTo>
                  <a:lnTo>
                    <a:pt x="40" y="21"/>
                  </a:lnTo>
                  <a:lnTo>
                    <a:pt x="40" y="4"/>
                  </a:lnTo>
                  <a:lnTo>
                    <a:pt x="34" y="21"/>
                  </a:lnTo>
                  <a:lnTo>
                    <a:pt x="31" y="21"/>
                  </a:lnTo>
                  <a:lnTo>
                    <a:pt x="25" y="4"/>
                  </a:lnTo>
                  <a:lnTo>
                    <a:pt x="25" y="21"/>
                  </a:lnTo>
                  <a:lnTo>
                    <a:pt x="22" y="21"/>
                  </a:lnTo>
                  <a:lnTo>
                    <a:pt x="22" y="0"/>
                  </a:lnTo>
                  <a:lnTo>
                    <a:pt x="2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679899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pl-PL"/>
              <a:t>Kliknij, aby edytować styl</a:t>
            </a:r>
            <a:endParaRPr lang="en-US"/>
          </a:p>
        </p:txBody>
      </p:sp>
      <p:sp>
        <p:nvSpPr>
          <p:cNvPr id="3" name="Content Placeholder 2"/>
          <p:cNvSpPr>
            <a:spLocks noGrp="1"/>
          </p:cNvSpPr>
          <p:nvPr>
            <p:ph idx="1"/>
          </p:nvPr>
        </p:nvSpPr>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
        <p:nvSpPr>
          <p:cNvPr id="4" name="Date Placeholder 3"/>
          <p:cNvSpPr>
            <a:spLocks noGrp="1"/>
          </p:cNvSpPr>
          <p:nvPr>
            <p:ph type="dt" sz="half" idx="10"/>
          </p:nvPr>
        </p:nvSpPr>
        <p:spPr/>
        <p:txBody>
          <a:bodyPr/>
          <a:lstStyle/>
          <a:p>
            <a:fld id="{B61BEF0D-F0BB-DE4B-95CE-6DB70DBA9567}" type="datetimeFigureOut">
              <a:rPr lang="en-US" dirty="0"/>
              <a:pPr/>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13149456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Nagłówek sekcji">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pl-PL"/>
              <a:t>Kliknij, aby edytować styl</a:t>
            </a:r>
            <a:endParaRPr lang="en-US"/>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Kliknij, aby edytować style wzorca tekstu</a:t>
            </a:r>
          </a:p>
        </p:txBody>
      </p:sp>
      <p:sp>
        <p:nvSpPr>
          <p:cNvPr id="4" name="Date Placeholder 3"/>
          <p:cNvSpPr>
            <a:spLocks noGrp="1"/>
          </p:cNvSpPr>
          <p:nvPr>
            <p:ph type="dt" sz="half" idx="10"/>
          </p:nvPr>
        </p:nvSpPr>
        <p:spPr/>
        <p:txBody>
          <a:bodyPr/>
          <a:lstStyle/>
          <a:p>
            <a:fld id="{B61BEF0D-F0BB-DE4B-95CE-6DB70DBA9567}" type="datetimeFigureOut">
              <a:rPr lang="en-US" dirty="0"/>
              <a:pPr/>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27616764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US"/>
          </a:p>
        </p:txBody>
      </p:sp>
      <p:sp>
        <p:nvSpPr>
          <p:cNvPr id="3" name="Content Placeholder 2"/>
          <p:cNvSpPr>
            <a:spLocks noGrp="1"/>
          </p:cNvSpPr>
          <p:nvPr>
            <p:ph sz="half" idx="1"/>
          </p:nvPr>
        </p:nvSpPr>
        <p:spPr>
          <a:xfrm>
            <a:off x="677334" y="2160589"/>
            <a:ext cx="4184035" cy="3880772"/>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
        <p:nvSpPr>
          <p:cNvPr id="4" name="Content Placeholder 3"/>
          <p:cNvSpPr>
            <a:spLocks noGrp="1"/>
          </p:cNvSpPr>
          <p:nvPr>
            <p:ph sz="half" idx="2"/>
          </p:nvPr>
        </p:nvSpPr>
        <p:spPr>
          <a:xfrm>
            <a:off x="5089970" y="2160589"/>
            <a:ext cx="4184034" cy="3880773"/>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
        <p:nvSpPr>
          <p:cNvPr id="5" name="Date Placeholder 4"/>
          <p:cNvSpPr>
            <a:spLocks noGrp="1"/>
          </p:cNvSpPr>
          <p:nvPr>
            <p:ph type="dt" sz="half" idx="10"/>
          </p:nvPr>
        </p:nvSpPr>
        <p:spPr/>
        <p:txBody>
          <a:bodyPr/>
          <a:lstStyle/>
          <a:p>
            <a:fld id="{EB712588-04B1-427B-82EE-E8DB90309F08}" type="datetimeFigureOut">
              <a:rPr lang="en-US" dirty="0"/>
              <a:t>10/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a:p>
        </p:txBody>
      </p:sp>
    </p:spTree>
    <p:extLst>
      <p:ext uri="{BB962C8B-B14F-4D97-AF65-F5344CB8AC3E}">
        <p14:creationId xmlns:p14="http://schemas.microsoft.com/office/powerpoint/2010/main" val="12207461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Porównani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pl-PL"/>
              <a:t>Kliknij, aby edytować styl</a:t>
            </a:r>
            <a:endParaRPr lang="en-US"/>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
        <p:nvSpPr>
          <p:cNvPr id="7" name="Date Placeholder 6"/>
          <p:cNvSpPr>
            <a:spLocks noGrp="1"/>
          </p:cNvSpPr>
          <p:nvPr>
            <p:ph type="dt" sz="half" idx="10"/>
          </p:nvPr>
        </p:nvSpPr>
        <p:spPr/>
        <p:txBody>
          <a:bodyPr/>
          <a:lstStyle/>
          <a:p>
            <a:fld id="{B61BEF0D-F0BB-DE4B-95CE-6DB70DBA9567}" type="datetimeFigureOut">
              <a:rPr lang="en-US" dirty="0"/>
              <a:pPr/>
              <a:t>10/2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8931259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pl-PL"/>
              <a:t>Kliknij, aby edytować styl</a:t>
            </a:r>
            <a:endParaRPr lang="en-US"/>
          </a:p>
        </p:txBody>
      </p:sp>
      <p:sp>
        <p:nvSpPr>
          <p:cNvPr id="3" name="Date Placeholder 2"/>
          <p:cNvSpPr>
            <a:spLocks noGrp="1"/>
          </p:cNvSpPr>
          <p:nvPr>
            <p:ph type="dt" sz="half" idx="10"/>
          </p:nvPr>
        </p:nvSpPr>
        <p:spPr/>
        <p:txBody>
          <a:bodyPr/>
          <a:lstStyle/>
          <a:p>
            <a:fld id="{B61BEF0D-F0BB-DE4B-95CE-6DB70DBA9567}" type="datetimeFigureOut">
              <a:rPr lang="en-US" dirty="0"/>
              <a:pPr/>
              <a:t>10/2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41707808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Pusty">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0/2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743732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Zawartość z podpisem">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pl-PL"/>
              <a:t>Kliknij, aby edytować styl</a:t>
            </a:r>
            <a:endParaRPr lang="en-US"/>
          </a:p>
        </p:txBody>
      </p:sp>
      <p:sp>
        <p:nvSpPr>
          <p:cNvPr id="3" name="Content Placeholder 2"/>
          <p:cNvSpPr>
            <a:spLocks noGrp="1"/>
          </p:cNvSpPr>
          <p:nvPr>
            <p:ph idx="1"/>
          </p:nvPr>
        </p:nvSpPr>
        <p:spPr>
          <a:xfrm>
            <a:off x="4760461" y="514924"/>
            <a:ext cx="4513541" cy="5526437"/>
          </a:xfrm>
        </p:spPr>
        <p:txBody>
          <a:bodyPr>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pl-PL"/>
              <a:t>Kliknij, aby edytować style wzorca tekstu</a:t>
            </a:r>
          </a:p>
        </p:txBody>
      </p:sp>
      <p:sp>
        <p:nvSpPr>
          <p:cNvPr id="5" name="Date Placeholder 4"/>
          <p:cNvSpPr>
            <a:spLocks noGrp="1"/>
          </p:cNvSpPr>
          <p:nvPr>
            <p:ph type="dt" sz="half" idx="10"/>
          </p:nvPr>
        </p:nvSpPr>
        <p:spPr/>
        <p:txBody>
          <a:bodyPr/>
          <a:lstStyle/>
          <a:p>
            <a:fld id="{42A54C80-263E-416B-A8E0-580EDEADCBDC}" type="datetimeFigureOut">
              <a:rPr lang="en-US" dirty="0"/>
              <a:t>10/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a:p>
        </p:txBody>
      </p:sp>
    </p:spTree>
    <p:extLst>
      <p:ext uri="{BB962C8B-B14F-4D97-AF65-F5344CB8AC3E}">
        <p14:creationId xmlns:p14="http://schemas.microsoft.com/office/powerpoint/2010/main" val="28593623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Obraz z podpisem">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pl-PL"/>
              <a:t>Kliknij, aby edytować styl</a:t>
            </a:r>
            <a:endParaRPr lang="en-US"/>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pl-PL"/>
              <a:t>Kliknij ikonę, aby dodać obraz</a:t>
            </a:r>
            <a:endParaRPr lang="en-US"/>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l-PL"/>
              <a:t>Kliknij, aby edytować style wzorca tekstu</a:t>
            </a:r>
          </a:p>
        </p:txBody>
      </p:sp>
      <p:sp>
        <p:nvSpPr>
          <p:cNvPr id="5" name="Date Placeholder 4"/>
          <p:cNvSpPr>
            <a:spLocks noGrp="1"/>
          </p:cNvSpPr>
          <p:nvPr>
            <p:ph type="dt" sz="half" idx="10"/>
          </p:nvPr>
        </p:nvSpPr>
        <p:spPr/>
        <p:txBody>
          <a:bodyPr/>
          <a:lstStyle/>
          <a:p>
            <a:fld id="{B61BEF0D-F0BB-DE4B-95CE-6DB70DBA9567}" type="datetimeFigureOut">
              <a:rPr lang="en-US" dirty="0"/>
              <a:pPr/>
              <a:t>10/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40096857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ytuł i podpis">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pl-PL"/>
              <a:t>Kliknij, aby edytować styl</a:t>
            </a:r>
            <a:endParaRPr lang="en-US"/>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Kliknij, aby edytować style wzorca tekstu</a:t>
            </a:r>
          </a:p>
        </p:txBody>
      </p:sp>
      <p:sp>
        <p:nvSpPr>
          <p:cNvPr id="4" name="Date Placeholder 3"/>
          <p:cNvSpPr>
            <a:spLocks noGrp="1"/>
          </p:cNvSpPr>
          <p:nvPr>
            <p:ph type="dt" sz="half" idx="10"/>
          </p:nvPr>
        </p:nvSpPr>
        <p:spPr/>
        <p:txBody>
          <a:bodyPr/>
          <a:lstStyle/>
          <a:p>
            <a:fld id="{B61BEF0D-F0BB-DE4B-95CE-6DB70DBA9567}" type="datetimeFigureOut">
              <a:rPr lang="en-US" dirty="0"/>
              <a:pPr/>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803065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ferta z podpisem">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pl-PL"/>
              <a:t>Kliknij, aby edytować styl</a:t>
            </a:r>
            <a:endParaRPr lang="en-US"/>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pl-PL"/>
              <a:t>Kliknij, aby edytować style wzorca tekstu</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Kliknij, aby edytować style wzorca tekstu</a:t>
            </a:r>
          </a:p>
        </p:txBody>
      </p:sp>
      <p:sp>
        <p:nvSpPr>
          <p:cNvPr id="4" name="Date Placeholder 3"/>
          <p:cNvSpPr>
            <a:spLocks noGrp="1"/>
          </p:cNvSpPr>
          <p:nvPr>
            <p:ph type="dt" sz="half" idx="10"/>
          </p:nvPr>
        </p:nvSpPr>
        <p:spPr/>
        <p:txBody>
          <a:bodyPr/>
          <a:lstStyle/>
          <a:p>
            <a:fld id="{B61BEF0D-F0BB-DE4B-95CE-6DB70DBA9567}" type="datetimeFigureOut">
              <a:rPr lang="en-US" dirty="0"/>
              <a:pPr/>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latin typeface="Arial"/>
              </a:rPr>
              <a:t>”</a:t>
            </a:r>
            <a:endParaRPr lang="en-US">
              <a:solidFill>
                <a:schemeClr val="accent1">
                  <a:lumMod val="60000"/>
                  <a:lumOff val="40000"/>
                </a:schemeClr>
              </a:solidFill>
              <a:latin typeface="Arial"/>
            </a:endParaRPr>
          </a:p>
        </p:txBody>
      </p:sp>
    </p:spTree>
    <p:extLst>
      <p:ext uri="{BB962C8B-B14F-4D97-AF65-F5344CB8AC3E}">
        <p14:creationId xmlns:p14="http://schemas.microsoft.com/office/powerpoint/2010/main" val="2160999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image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2722244" y="3429000"/>
            <a:ext cx="9469756"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3189288" y="3860802"/>
            <a:ext cx="8559800" cy="1609969"/>
          </a:xfrm>
        </p:spPr>
        <p:txBody>
          <a:bodyPr anchor="t" anchorCtr="0">
            <a:normAutofit/>
          </a:bodyPr>
          <a:lstStyle>
            <a:lvl1pPr algn="l">
              <a:lnSpc>
                <a:spcPct val="87000"/>
              </a:lnSpc>
              <a:defRPr sz="4000"/>
            </a:lvl1pPr>
          </a:lstStyle>
          <a:p>
            <a:r>
              <a:rPr lang="en-US"/>
              <a:t>Click to edit Master title style</a:t>
            </a:r>
            <a:endParaRPr lang="en-GB"/>
          </a:p>
        </p:txBody>
      </p:sp>
      <p:grpSp>
        <p:nvGrpSpPr>
          <p:cNvPr id="10" name="Group 4"/>
          <p:cNvGrpSpPr>
            <a:grpSpLocks noChangeAspect="1"/>
          </p:cNvGrpSpPr>
          <p:nvPr userDrawn="1"/>
        </p:nvGrpSpPr>
        <p:grpSpPr bwMode="auto">
          <a:xfrm>
            <a:off x="5111749" y="5922963"/>
            <a:ext cx="1946274" cy="452437"/>
            <a:chOff x="3220" y="3731"/>
            <a:chExt cx="1226" cy="285"/>
          </a:xfrm>
          <a:solidFill>
            <a:schemeClr val="tx2"/>
          </a:solidFill>
        </p:grpSpPr>
        <p:sp>
          <p:nvSpPr>
            <p:cNvPr id="12" name="Freeform 5"/>
            <p:cNvSpPr>
              <a:spLocks/>
            </p:cNvSpPr>
            <p:nvPr userDrawn="1"/>
          </p:nvSpPr>
          <p:spPr bwMode="auto">
            <a:xfrm>
              <a:off x="3373" y="3731"/>
              <a:ext cx="139" cy="168"/>
            </a:xfrm>
            <a:custGeom>
              <a:avLst/>
              <a:gdLst>
                <a:gd name="T0" fmla="*/ 1877 w 2346"/>
                <a:gd name="T1" fmla="*/ 256 h 2836"/>
                <a:gd name="T2" fmla="*/ 347 w 2346"/>
                <a:gd name="T3" fmla="*/ 732 h 2836"/>
                <a:gd name="T4" fmla="*/ 198 w 2346"/>
                <a:gd name="T5" fmla="*/ 2836 h 2836"/>
                <a:gd name="T6" fmla="*/ 1952 w 2346"/>
                <a:gd name="T7" fmla="*/ 1423 h 2836"/>
                <a:gd name="T8" fmla="*/ 1877 w 2346"/>
                <a:gd name="T9" fmla="*/ 256 h 2836"/>
              </a:gdLst>
              <a:ahLst/>
              <a:cxnLst>
                <a:cxn ang="0">
                  <a:pos x="T0" y="T1"/>
                </a:cxn>
                <a:cxn ang="0">
                  <a:pos x="T2" y="T3"/>
                </a:cxn>
                <a:cxn ang="0">
                  <a:pos x="T4" y="T5"/>
                </a:cxn>
                <a:cxn ang="0">
                  <a:pos x="T6" y="T7"/>
                </a:cxn>
                <a:cxn ang="0">
                  <a:pos x="T8" y="T9"/>
                </a:cxn>
              </a:cxnLst>
              <a:rect l="0" t="0" r="r" b="b"/>
              <a:pathLst>
                <a:path w="2346" h="2836">
                  <a:moveTo>
                    <a:pt x="1877" y="256"/>
                  </a:moveTo>
                  <a:cubicBezTo>
                    <a:pt x="1440" y="0"/>
                    <a:pt x="754" y="116"/>
                    <a:pt x="347" y="732"/>
                  </a:cubicBezTo>
                  <a:cubicBezTo>
                    <a:pt x="0" y="1257"/>
                    <a:pt x="25" y="2110"/>
                    <a:pt x="198" y="2836"/>
                  </a:cubicBezTo>
                  <a:cubicBezTo>
                    <a:pt x="553" y="1921"/>
                    <a:pt x="1522" y="1777"/>
                    <a:pt x="1952" y="1423"/>
                  </a:cubicBezTo>
                  <a:cubicBezTo>
                    <a:pt x="2346" y="1097"/>
                    <a:pt x="2320" y="515"/>
                    <a:pt x="1877"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3391" y="3857"/>
              <a:ext cx="97" cy="74"/>
            </a:xfrm>
            <a:custGeom>
              <a:avLst/>
              <a:gdLst>
                <a:gd name="T0" fmla="*/ 399 w 1646"/>
                <a:gd name="T1" fmla="*/ 1221 h 1246"/>
                <a:gd name="T2" fmla="*/ 1232 w 1646"/>
                <a:gd name="T3" fmla="*/ 946 h 1246"/>
                <a:gd name="T4" fmla="*/ 1558 w 1646"/>
                <a:gd name="T5" fmla="*/ 281 h 1246"/>
                <a:gd name="T6" fmla="*/ 866 w 1646"/>
                <a:gd name="T7" fmla="*/ 167 h 1246"/>
                <a:gd name="T8" fmla="*/ 135 w 1646"/>
                <a:gd name="T9" fmla="*/ 812 h 1246"/>
                <a:gd name="T10" fmla="*/ 45 w 1646"/>
                <a:gd name="T11" fmla="*/ 1146 h 1246"/>
                <a:gd name="T12" fmla="*/ 399 w 1646"/>
                <a:gd name="T13" fmla="*/ 1221 h 1246"/>
              </a:gdLst>
              <a:ahLst/>
              <a:cxnLst>
                <a:cxn ang="0">
                  <a:pos x="T0" y="T1"/>
                </a:cxn>
                <a:cxn ang="0">
                  <a:pos x="T2" y="T3"/>
                </a:cxn>
                <a:cxn ang="0">
                  <a:pos x="T4" y="T5"/>
                </a:cxn>
                <a:cxn ang="0">
                  <a:pos x="T6" y="T7"/>
                </a:cxn>
                <a:cxn ang="0">
                  <a:pos x="T8" y="T9"/>
                </a:cxn>
                <a:cxn ang="0">
                  <a:pos x="T10" y="T11"/>
                </a:cxn>
                <a:cxn ang="0">
                  <a:pos x="T12" y="T13"/>
                </a:cxn>
              </a:cxnLst>
              <a:rect l="0" t="0" r="r" b="b"/>
              <a:pathLst>
                <a:path w="1646" h="1246">
                  <a:moveTo>
                    <a:pt x="399" y="1221"/>
                  </a:moveTo>
                  <a:cubicBezTo>
                    <a:pt x="630" y="1195"/>
                    <a:pt x="954" y="1100"/>
                    <a:pt x="1232" y="946"/>
                  </a:cubicBezTo>
                  <a:cubicBezTo>
                    <a:pt x="1630" y="726"/>
                    <a:pt x="1646" y="459"/>
                    <a:pt x="1558" y="281"/>
                  </a:cubicBezTo>
                  <a:cubicBezTo>
                    <a:pt x="1459" y="81"/>
                    <a:pt x="1189" y="0"/>
                    <a:pt x="866" y="167"/>
                  </a:cubicBezTo>
                  <a:cubicBezTo>
                    <a:pt x="551" y="330"/>
                    <a:pt x="287" y="584"/>
                    <a:pt x="135" y="812"/>
                  </a:cubicBezTo>
                  <a:cubicBezTo>
                    <a:pt x="35" y="964"/>
                    <a:pt x="0" y="1069"/>
                    <a:pt x="45" y="1146"/>
                  </a:cubicBezTo>
                  <a:cubicBezTo>
                    <a:pt x="87" y="1219"/>
                    <a:pt x="183" y="1246"/>
                    <a:pt x="399" y="1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3235" y="3900"/>
              <a:ext cx="262" cy="116"/>
            </a:xfrm>
            <a:custGeom>
              <a:avLst/>
              <a:gdLst>
                <a:gd name="T0" fmla="*/ 647 w 4416"/>
                <a:gd name="T1" fmla="*/ 324 h 1943"/>
                <a:gd name="T2" fmla="*/ 169 w 4416"/>
                <a:gd name="T3" fmla="*/ 777 h 1943"/>
                <a:gd name="T4" fmla="*/ 1941 w 4416"/>
                <a:gd name="T5" fmla="*/ 1906 h 1943"/>
                <a:gd name="T6" fmla="*/ 4416 w 4416"/>
                <a:gd name="T7" fmla="*/ 193 h 1943"/>
                <a:gd name="T8" fmla="*/ 2422 w 4416"/>
                <a:gd name="T9" fmla="*/ 890 h 1943"/>
                <a:gd name="T10" fmla="*/ 647 w 4416"/>
                <a:gd name="T11" fmla="*/ 324 h 1943"/>
              </a:gdLst>
              <a:ahLst/>
              <a:cxnLst>
                <a:cxn ang="0">
                  <a:pos x="T0" y="T1"/>
                </a:cxn>
                <a:cxn ang="0">
                  <a:pos x="T2" y="T3"/>
                </a:cxn>
                <a:cxn ang="0">
                  <a:pos x="T4" y="T5"/>
                </a:cxn>
                <a:cxn ang="0">
                  <a:pos x="T6" y="T7"/>
                </a:cxn>
                <a:cxn ang="0">
                  <a:pos x="T8" y="T9"/>
                </a:cxn>
                <a:cxn ang="0">
                  <a:pos x="T10" y="T11"/>
                </a:cxn>
              </a:cxnLst>
              <a:rect l="0" t="0" r="r" b="b"/>
              <a:pathLst>
                <a:path w="4416" h="1943">
                  <a:moveTo>
                    <a:pt x="647" y="324"/>
                  </a:moveTo>
                  <a:cubicBezTo>
                    <a:pt x="160" y="0"/>
                    <a:pt x="0" y="335"/>
                    <a:pt x="169" y="777"/>
                  </a:cubicBezTo>
                  <a:cubicBezTo>
                    <a:pt x="423" y="1444"/>
                    <a:pt x="1102" y="1881"/>
                    <a:pt x="1941" y="1906"/>
                  </a:cubicBezTo>
                  <a:cubicBezTo>
                    <a:pt x="3194" y="1943"/>
                    <a:pt x="4101" y="1092"/>
                    <a:pt x="4416" y="193"/>
                  </a:cubicBezTo>
                  <a:cubicBezTo>
                    <a:pt x="4014" y="567"/>
                    <a:pt x="3326" y="913"/>
                    <a:pt x="2422" y="890"/>
                  </a:cubicBezTo>
                  <a:cubicBezTo>
                    <a:pt x="1832" y="875"/>
                    <a:pt x="1221" y="707"/>
                    <a:pt x="647"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3220" y="3747"/>
              <a:ext cx="147" cy="178"/>
            </a:xfrm>
            <a:custGeom>
              <a:avLst/>
              <a:gdLst>
                <a:gd name="T0" fmla="*/ 1220 w 2480"/>
                <a:gd name="T1" fmla="*/ 1524 h 3000"/>
                <a:gd name="T2" fmla="*/ 2475 w 2480"/>
                <a:gd name="T3" fmla="*/ 2898 h 3000"/>
                <a:gd name="T4" fmla="*/ 2085 w 2480"/>
                <a:gd name="T5" fmla="*/ 1226 h 3000"/>
                <a:gd name="T6" fmla="*/ 429 w 2480"/>
                <a:gd name="T7" fmla="*/ 314 h 3000"/>
                <a:gd name="T8" fmla="*/ 824 w 2480"/>
                <a:gd name="T9" fmla="*/ 2169 h 3000"/>
                <a:gd name="T10" fmla="*/ 2161 w 2480"/>
                <a:gd name="T11" fmla="*/ 3000 h 3000"/>
                <a:gd name="T12" fmla="*/ 1176 w 2480"/>
                <a:gd name="T13" fmla="*/ 1537 h 3000"/>
                <a:gd name="T14" fmla="*/ 1220 w 2480"/>
                <a:gd name="T15" fmla="*/ 1524 h 3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0" h="3000">
                  <a:moveTo>
                    <a:pt x="1220" y="1524"/>
                  </a:moveTo>
                  <a:cubicBezTo>
                    <a:pt x="1665" y="2130"/>
                    <a:pt x="2113" y="2617"/>
                    <a:pt x="2475" y="2898"/>
                  </a:cubicBezTo>
                  <a:cubicBezTo>
                    <a:pt x="2480" y="2419"/>
                    <a:pt x="2337" y="1683"/>
                    <a:pt x="2085" y="1226"/>
                  </a:cubicBezTo>
                  <a:cubicBezTo>
                    <a:pt x="1579" y="311"/>
                    <a:pt x="828" y="0"/>
                    <a:pt x="429" y="314"/>
                  </a:cubicBezTo>
                  <a:cubicBezTo>
                    <a:pt x="0" y="652"/>
                    <a:pt x="256" y="1559"/>
                    <a:pt x="824" y="2169"/>
                  </a:cubicBezTo>
                  <a:cubicBezTo>
                    <a:pt x="1260" y="2638"/>
                    <a:pt x="1766" y="2907"/>
                    <a:pt x="2161" y="3000"/>
                  </a:cubicBezTo>
                  <a:cubicBezTo>
                    <a:pt x="1749" y="2664"/>
                    <a:pt x="1295" y="1923"/>
                    <a:pt x="1176" y="1537"/>
                  </a:cubicBezTo>
                  <a:cubicBezTo>
                    <a:pt x="1156" y="1470"/>
                    <a:pt x="1182" y="1471"/>
                    <a:pt x="1220" y="15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4259" y="3774"/>
              <a:ext cx="128" cy="189"/>
            </a:xfrm>
            <a:custGeom>
              <a:avLst/>
              <a:gdLst>
                <a:gd name="T0" fmla="*/ 1678 w 2160"/>
                <a:gd name="T1" fmla="*/ 0 h 3187"/>
                <a:gd name="T2" fmla="*/ 1678 w 2160"/>
                <a:gd name="T3" fmla="*/ 1237 h 3187"/>
                <a:gd name="T4" fmla="*/ 1030 w 2160"/>
                <a:gd name="T5" fmla="*/ 986 h 3187"/>
                <a:gd name="T6" fmla="*/ 0 w 2160"/>
                <a:gd name="T7" fmla="*/ 2089 h 3187"/>
                <a:gd name="T8" fmla="*/ 1030 w 2160"/>
                <a:gd name="T9" fmla="*/ 3187 h 3187"/>
                <a:gd name="T10" fmla="*/ 1703 w 2160"/>
                <a:gd name="T11" fmla="*/ 2910 h 3187"/>
                <a:gd name="T12" fmla="*/ 1743 w 2160"/>
                <a:gd name="T13" fmla="*/ 3142 h 3187"/>
                <a:gd name="T14" fmla="*/ 2160 w 2160"/>
                <a:gd name="T15" fmla="*/ 3142 h 3187"/>
                <a:gd name="T16" fmla="*/ 2160 w 2160"/>
                <a:gd name="T17" fmla="*/ 0 h 3187"/>
                <a:gd name="T18" fmla="*/ 1678 w 2160"/>
                <a:gd name="T19" fmla="*/ 0 h 3187"/>
                <a:gd name="T20" fmla="*/ 1093 w 2160"/>
                <a:gd name="T21" fmla="*/ 2751 h 3187"/>
                <a:gd name="T22" fmla="*/ 482 w 2160"/>
                <a:gd name="T23" fmla="*/ 2089 h 3187"/>
                <a:gd name="T24" fmla="*/ 1093 w 2160"/>
                <a:gd name="T25" fmla="*/ 1422 h 3187"/>
                <a:gd name="T26" fmla="*/ 1710 w 2160"/>
                <a:gd name="T27" fmla="*/ 2089 h 3187"/>
                <a:gd name="T28" fmla="*/ 1093 w 2160"/>
                <a:gd name="T29" fmla="*/ 275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0" h="3187">
                  <a:moveTo>
                    <a:pt x="1678" y="0"/>
                  </a:moveTo>
                  <a:cubicBezTo>
                    <a:pt x="1678" y="1237"/>
                    <a:pt x="1678" y="1237"/>
                    <a:pt x="1678" y="1237"/>
                  </a:cubicBezTo>
                  <a:cubicBezTo>
                    <a:pt x="1514" y="1072"/>
                    <a:pt x="1284" y="986"/>
                    <a:pt x="1030" y="986"/>
                  </a:cubicBezTo>
                  <a:cubicBezTo>
                    <a:pt x="443" y="986"/>
                    <a:pt x="0" y="1460"/>
                    <a:pt x="0" y="2089"/>
                  </a:cubicBezTo>
                  <a:cubicBezTo>
                    <a:pt x="0" y="2715"/>
                    <a:pt x="443" y="3187"/>
                    <a:pt x="1030" y="3187"/>
                  </a:cubicBezTo>
                  <a:cubicBezTo>
                    <a:pt x="1297" y="3187"/>
                    <a:pt x="1536" y="3093"/>
                    <a:pt x="1703" y="2910"/>
                  </a:cubicBezTo>
                  <a:cubicBezTo>
                    <a:pt x="1743" y="3142"/>
                    <a:pt x="1743" y="3142"/>
                    <a:pt x="1743" y="3142"/>
                  </a:cubicBezTo>
                  <a:cubicBezTo>
                    <a:pt x="2160" y="3142"/>
                    <a:pt x="2160" y="3142"/>
                    <a:pt x="2160" y="3142"/>
                  </a:cubicBezTo>
                  <a:cubicBezTo>
                    <a:pt x="2160" y="0"/>
                    <a:pt x="2160" y="0"/>
                    <a:pt x="2160" y="0"/>
                  </a:cubicBezTo>
                  <a:lnTo>
                    <a:pt x="1678" y="0"/>
                  </a:lnTo>
                  <a:close/>
                  <a:moveTo>
                    <a:pt x="1093" y="2751"/>
                  </a:moveTo>
                  <a:cubicBezTo>
                    <a:pt x="745" y="2751"/>
                    <a:pt x="482" y="2466"/>
                    <a:pt x="482" y="2089"/>
                  </a:cubicBezTo>
                  <a:cubicBezTo>
                    <a:pt x="482" y="1709"/>
                    <a:pt x="745" y="1422"/>
                    <a:pt x="1093" y="1422"/>
                  </a:cubicBezTo>
                  <a:cubicBezTo>
                    <a:pt x="1445" y="1422"/>
                    <a:pt x="1710" y="1709"/>
                    <a:pt x="1710" y="2089"/>
                  </a:cubicBezTo>
                  <a:cubicBezTo>
                    <a:pt x="1710" y="2466"/>
                    <a:pt x="1445" y="2751"/>
                    <a:pt x="1093" y="27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noEditPoints="1"/>
            </p:cNvSpPr>
            <p:nvPr userDrawn="1"/>
          </p:nvSpPr>
          <p:spPr bwMode="auto">
            <a:xfrm>
              <a:off x="3769" y="3832"/>
              <a:ext cx="128" cy="182"/>
            </a:xfrm>
            <a:custGeom>
              <a:avLst/>
              <a:gdLst>
                <a:gd name="T0" fmla="*/ 482 w 2161"/>
                <a:gd name="T1" fmla="*/ 1949 h 3066"/>
                <a:gd name="T2" fmla="*/ 1131 w 2161"/>
                <a:gd name="T3" fmla="*/ 2202 h 3066"/>
                <a:gd name="T4" fmla="*/ 2161 w 2161"/>
                <a:gd name="T5" fmla="*/ 1099 h 3066"/>
                <a:gd name="T6" fmla="*/ 1131 w 2161"/>
                <a:gd name="T7" fmla="*/ 0 h 3066"/>
                <a:gd name="T8" fmla="*/ 457 w 2161"/>
                <a:gd name="T9" fmla="*/ 280 h 3066"/>
                <a:gd name="T10" fmla="*/ 418 w 2161"/>
                <a:gd name="T11" fmla="*/ 46 h 3066"/>
                <a:gd name="T12" fmla="*/ 0 w 2161"/>
                <a:gd name="T13" fmla="*/ 46 h 3066"/>
                <a:gd name="T14" fmla="*/ 0 w 2161"/>
                <a:gd name="T15" fmla="*/ 3066 h 3066"/>
                <a:gd name="T16" fmla="*/ 482 w 2161"/>
                <a:gd name="T17" fmla="*/ 3066 h 3066"/>
                <a:gd name="T18" fmla="*/ 482 w 2161"/>
                <a:gd name="T19" fmla="*/ 1949 h 3066"/>
                <a:gd name="T20" fmla="*/ 450 w 2161"/>
                <a:gd name="T21" fmla="*/ 1099 h 3066"/>
                <a:gd name="T22" fmla="*/ 1067 w 2161"/>
                <a:gd name="T23" fmla="*/ 437 h 3066"/>
                <a:gd name="T24" fmla="*/ 1679 w 2161"/>
                <a:gd name="T25" fmla="*/ 1099 h 3066"/>
                <a:gd name="T26" fmla="*/ 1067 w 2161"/>
                <a:gd name="T27" fmla="*/ 1765 h 3066"/>
                <a:gd name="T28" fmla="*/ 450 w 2161"/>
                <a:gd name="T29" fmla="*/ 1099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1" h="3066">
                  <a:moveTo>
                    <a:pt x="482" y="1949"/>
                  </a:moveTo>
                  <a:cubicBezTo>
                    <a:pt x="648" y="2119"/>
                    <a:pt x="880" y="2202"/>
                    <a:pt x="1131" y="2202"/>
                  </a:cubicBezTo>
                  <a:cubicBezTo>
                    <a:pt x="1718" y="2202"/>
                    <a:pt x="2161" y="1728"/>
                    <a:pt x="2161" y="1099"/>
                  </a:cubicBezTo>
                  <a:cubicBezTo>
                    <a:pt x="2161" y="473"/>
                    <a:pt x="1718" y="0"/>
                    <a:pt x="1131" y="0"/>
                  </a:cubicBezTo>
                  <a:cubicBezTo>
                    <a:pt x="870" y="0"/>
                    <a:pt x="626" y="90"/>
                    <a:pt x="457" y="280"/>
                  </a:cubicBezTo>
                  <a:cubicBezTo>
                    <a:pt x="418" y="46"/>
                    <a:pt x="418" y="46"/>
                    <a:pt x="418" y="46"/>
                  </a:cubicBezTo>
                  <a:cubicBezTo>
                    <a:pt x="0" y="46"/>
                    <a:pt x="0" y="46"/>
                    <a:pt x="0" y="46"/>
                  </a:cubicBezTo>
                  <a:cubicBezTo>
                    <a:pt x="0" y="3066"/>
                    <a:pt x="0" y="3066"/>
                    <a:pt x="0" y="3066"/>
                  </a:cubicBezTo>
                  <a:cubicBezTo>
                    <a:pt x="482" y="3066"/>
                    <a:pt x="482" y="3066"/>
                    <a:pt x="482" y="3066"/>
                  </a:cubicBezTo>
                  <a:lnTo>
                    <a:pt x="482" y="1949"/>
                  </a:lnTo>
                  <a:close/>
                  <a:moveTo>
                    <a:pt x="450" y="1099"/>
                  </a:moveTo>
                  <a:cubicBezTo>
                    <a:pt x="450" y="722"/>
                    <a:pt x="715" y="437"/>
                    <a:pt x="1067" y="437"/>
                  </a:cubicBezTo>
                  <a:cubicBezTo>
                    <a:pt x="1416" y="437"/>
                    <a:pt x="1679" y="722"/>
                    <a:pt x="1679" y="1099"/>
                  </a:cubicBezTo>
                  <a:cubicBezTo>
                    <a:pt x="1679" y="1479"/>
                    <a:pt x="1416" y="1765"/>
                    <a:pt x="1067" y="1765"/>
                  </a:cubicBezTo>
                  <a:cubicBezTo>
                    <a:pt x="715" y="1765"/>
                    <a:pt x="450" y="1479"/>
                    <a:pt x="450" y="10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3587" y="3774"/>
              <a:ext cx="153" cy="189"/>
            </a:xfrm>
            <a:custGeom>
              <a:avLst/>
              <a:gdLst>
                <a:gd name="T0" fmla="*/ 2585 w 2585"/>
                <a:gd name="T1" fmla="*/ 0 h 3187"/>
                <a:gd name="T2" fmla="*/ 2085 w 2585"/>
                <a:gd name="T3" fmla="*/ 0 h 3187"/>
                <a:gd name="T4" fmla="*/ 2085 w 2585"/>
                <a:gd name="T5" fmla="*/ 1889 h 3187"/>
                <a:gd name="T6" fmla="*/ 1290 w 2585"/>
                <a:gd name="T7" fmla="*/ 2724 h 3187"/>
                <a:gd name="T8" fmla="*/ 500 w 2585"/>
                <a:gd name="T9" fmla="*/ 1889 h 3187"/>
                <a:gd name="T10" fmla="*/ 500 w 2585"/>
                <a:gd name="T11" fmla="*/ 0 h 3187"/>
                <a:gd name="T12" fmla="*/ 0 w 2585"/>
                <a:gd name="T13" fmla="*/ 0 h 3187"/>
                <a:gd name="T14" fmla="*/ 0 w 2585"/>
                <a:gd name="T15" fmla="*/ 1898 h 3187"/>
                <a:gd name="T16" fmla="*/ 1290 w 2585"/>
                <a:gd name="T17" fmla="*/ 3187 h 3187"/>
                <a:gd name="T18" fmla="*/ 2585 w 2585"/>
                <a:gd name="T19" fmla="*/ 1898 h 3187"/>
                <a:gd name="T20" fmla="*/ 2585 w 2585"/>
                <a:gd name="T21" fmla="*/ 0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5" h="3187">
                  <a:moveTo>
                    <a:pt x="2585" y="0"/>
                  </a:moveTo>
                  <a:cubicBezTo>
                    <a:pt x="2085" y="0"/>
                    <a:pt x="2085" y="0"/>
                    <a:pt x="2085" y="0"/>
                  </a:cubicBezTo>
                  <a:cubicBezTo>
                    <a:pt x="2085" y="1889"/>
                    <a:pt x="2085" y="1889"/>
                    <a:pt x="2085" y="1889"/>
                  </a:cubicBezTo>
                  <a:cubicBezTo>
                    <a:pt x="2085" y="2420"/>
                    <a:pt x="1740" y="2724"/>
                    <a:pt x="1290" y="2724"/>
                  </a:cubicBezTo>
                  <a:cubicBezTo>
                    <a:pt x="841" y="2724"/>
                    <a:pt x="500" y="2420"/>
                    <a:pt x="500" y="1889"/>
                  </a:cubicBezTo>
                  <a:cubicBezTo>
                    <a:pt x="500" y="0"/>
                    <a:pt x="500" y="0"/>
                    <a:pt x="500" y="0"/>
                  </a:cubicBezTo>
                  <a:cubicBezTo>
                    <a:pt x="0" y="0"/>
                    <a:pt x="0" y="0"/>
                    <a:pt x="0" y="0"/>
                  </a:cubicBezTo>
                  <a:cubicBezTo>
                    <a:pt x="0" y="1898"/>
                    <a:pt x="0" y="1898"/>
                    <a:pt x="0" y="1898"/>
                  </a:cubicBezTo>
                  <a:cubicBezTo>
                    <a:pt x="0" y="2693"/>
                    <a:pt x="545" y="3187"/>
                    <a:pt x="1290" y="3187"/>
                  </a:cubicBezTo>
                  <a:cubicBezTo>
                    <a:pt x="2024" y="3187"/>
                    <a:pt x="2585" y="2681"/>
                    <a:pt x="2585" y="1898"/>
                  </a:cubicBezTo>
                  <a:lnTo>
                    <a:pt x="25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2"/>
            <p:cNvSpPr>
              <a:spLocks noChangeArrowheads="1"/>
            </p:cNvSpPr>
            <p:nvPr userDrawn="1"/>
          </p:nvSpPr>
          <p:spPr bwMode="auto">
            <a:xfrm>
              <a:off x="4205" y="3774"/>
              <a:ext cx="29" cy="18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noEditPoints="1"/>
            </p:cNvSpPr>
            <p:nvPr userDrawn="1"/>
          </p:nvSpPr>
          <p:spPr bwMode="auto">
            <a:xfrm>
              <a:off x="4063" y="3832"/>
              <a:ext cx="117" cy="131"/>
            </a:xfrm>
            <a:custGeom>
              <a:avLst/>
              <a:gdLst>
                <a:gd name="T0" fmla="*/ 1724 w 1970"/>
                <a:gd name="T1" fmla="*/ 208 h 2200"/>
                <a:gd name="T2" fmla="*/ 1068 w 1970"/>
                <a:gd name="T3" fmla="*/ 0 h 2200"/>
                <a:gd name="T4" fmla="*/ 0 w 1970"/>
                <a:gd name="T5" fmla="*/ 1111 h 2200"/>
                <a:gd name="T6" fmla="*/ 1098 w 1970"/>
                <a:gd name="T7" fmla="*/ 2200 h 2200"/>
                <a:gd name="T8" fmla="*/ 1970 w 1970"/>
                <a:gd name="T9" fmla="*/ 1850 h 2200"/>
                <a:gd name="T10" fmla="*/ 1679 w 1970"/>
                <a:gd name="T11" fmla="*/ 1530 h 2200"/>
                <a:gd name="T12" fmla="*/ 1099 w 1970"/>
                <a:gd name="T13" fmla="*/ 1776 h 2200"/>
                <a:gd name="T14" fmla="*/ 480 w 1970"/>
                <a:gd name="T15" fmla="*/ 1290 h 2200"/>
                <a:gd name="T16" fmla="*/ 1038 w 1970"/>
                <a:gd name="T17" fmla="*/ 1382 h 2200"/>
                <a:gd name="T18" fmla="*/ 1965 w 1970"/>
                <a:gd name="T19" fmla="*/ 728 h 2200"/>
                <a:gd name="T20" fmla="*/ 1724 w 1970"/>
                <a:gd name="T21" fmla="*/ 208 h 2200"/>
                <a:gd name="T22" fmla="*/ 1000 w 1970"/>
                <a:gd name="T23" fmla="*/ 987 h 2200"/>
                <a:gd name="T24" fmla="*/ 983 w 1970"/>
                <a:gd name="T25" fmla="*/ 987 h 2200"/>
                <a:gd name="T26" fmla="*/ 488 w 1970"/>
                <a:gd name="T27" fmla="*/ 915 h 2200"/>
                <a:gd name="T28" fmla="*/ 1055 w 1970"/>
                <a:gd name="T29" fmla="*/ 427 h 2200"/>
                <a:gd name="T30" fmla="*/ 1057 w 1970"/>
                <a:gd name="T31" fmla="*/ 427 h 2200"/>
                <a:gd name="T32" fmla="*/ 1482 w 1970"/>
                <a:gd name="T33" fmla="*/ 713 h 2200"/>
                <a:gd name="T34" fmla="*/ 1000 w 1970"/>
                <a:gd name="T35" fmla="*/ 98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0" h="2200">
                  <a:moveTo>
                    <a:pt x="1724" y="208"/>
                  </a:moveTo>
                  <a:cubicBezTo>
                    <a:pt x="1561" y="72"/>
                    <a:pt x="1334" y="0"/>
                    <a:pt x="1068" y="0"/>
                  </a:cubicBezTo>
                  <a:cubicBezTo>
                    <a:pt x="550" y="0"/>
                    <a:pt x="0" y="389"/>
                    <a:pt x="0" y="1111"/>
                  </a:cubicBezTo>
                  <a:cubicBezTo>
                    <a:pt x="0" y="1773"/>
                    <a:pt x="431" y="2200"/>
                    <a:pt x="1098" y="2200"/>
                  </a:cubicBezTo>
                  <a:cubicBezTo>
                    <a:pt x="1452" y="2200"/>
                    <a:pt x="1721" y="2092"/>
                    <a:pt x="1970" y="1850"/>
                  </a:cubicBezTo>
                  <a:cubicBezTo>
                    <a:pt x="1679" y="1530"/>
                    <a:pt x="1679" y="1530"/>
                    <a:pt x="1679" y="1530"/>
                  </a:cubicBezTo>
                  <a:cubicBezTo>
                    <a:pt x="1510" y="1695"/>
                    <a:pt x="1320" y="1776"/>
                    <a:pt x="1099" y="1776"/>
                  </a:cubicBezTo>
                  <a:cubicBezTo>
                    <a:pt x="767" y="1776"/>
                    <a:pt x="524" y="1578"/>
                    <a:pt x="480" y="1290"/>
                  </a:cubicBezTo>
                  <a:cubicBezTo>
                    <a:pt x="658" y="1356"/>
                    <a:pt x="854" y="1382"/>
                    <a:pt x="1038" y="1382"/>
                  </a:cubicBezTo>
                  <a:cubicBezTo>
                    <a:pt x="1619" y="1382"/>
                    <a:pt x="1965" y="1138"/>
                    <a:pt x="1965" y="728"/>
                  </a:cubicBezTo>
                  <a:cubicBezTo>
                    <a:pt x="1965" y="523"/>
                    <a:pt x="1879" y="339"/>
                    <a:pt x="1724" y="208"/>
                  </a:cubicBezTo>
                  <a:close/>
                  <a:moveTo>
                    <a:pt x="1000" y="987"/>
                  </a:moveTo>
                  <a:cubicBezTo>
                    <a:pt x="994" y="987"/>
                    <a:pt x="989" y="987"/>
                    <a:pt x="983" y="987"/>
                  </a:cubicBezTo>
                  <a:cubicBezTo>
                    <a:pt x="809" y="987"/>
                    <a:pt x="620" y="961"/>
                    <a:pt x="488" y="915"/>
                  </a:cubicBezTo>
                  <a:cubicBezTo>
                    <a:pt x="536" y="633"/>
                    <a:pt x="768" y="427"/>
                    <a:pt x="1055" y="427"/>
                  </a:cubicBezTo>
                  <a:cubicBezTo>
                    <a:pt x="1057" y="427"/>
                    <a:pt x="1057" y="427"/>
                    <a:pt x="1057" y="427"/>
                  </a:cubicBezTo>
                  <a:cubicBezTo>
                    <a:pt x="1311" y="427"/>
                    <a:pt x="1482" y="542"/>
                    <a:pt x="1482" y="713"/>
                  </a:cubicBezTo>
                  <a:cubicBezTo>
                    <a:pt x="1482" y="892"/>
                    <a:pt x="1320" y="984"/>
                    <a:pt x="1000" y="9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14"/>
            <p:cNvSpPr>
              <a:spLocks noChangeArrowheads="1"/>
            </p:cNvSpPr>
            <p:nvPr userDrawn="1"/>
          </p:nvSpPr>
          <p:spPr bwMode="auto">
            <a:xfrm>
              <a:off x="4009" y="3835"/>
              <a:ext cx="29" cy="1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3905" y="3763"/>
              <a:ext cx="132" cy="197"/>
            </a:xfrm>
            <a:custGeom>
              <a:avLst/>
              <a:gdLst>
                <a:gd name="T0" fmla="*/ 1979 w 2223"/>
                <a:gd name="T1" fmla="*/ 261 h 3316"/>
                <a:gd name="T2" fmla="*/ 1320 w 2223"/>
                <a:gd name="T3" fmla="*/ 0 h 3316"/>
                <a:gd name="T4" fmla="*/ 685 w 2223"/>
                <a:gd name="T5" fmla="*/ 256 h 3316"/>
                <a:gd name="T6" fmla="*/ 424 w 2223"/>
                <a:gd name="T7" fmla="*/ 1056 h 3316"/>
                <a:gd name="T8" fmla="*/ 424 w 2223"/>
                <a:gd name="T9" fmla="*/ 1205 h 3316"/>
                <a:gd name="T10" fmla="*/ 0 w 2223"/>
                <a:gd name="T11" fmla="*/ 1205 h 3316"/>
                <a:gd name="T12" fmla="*/ 0 w 2223"/>
                <a:gd name="T13" fmla="*/ 1630 h 3316"/>
                <a:gd name="T14" fmla="*/ 424 w 2223"/>
                <a:gd name="T15" fmla="*/ 1630 h 3316"/>
                <a:gd name="T16" fmla="*/ 424 w 2223"/>
                <a:gd name="T17" fmla="*/ 3316 h 3316"/>
                <a:gd name="T18" fmla="*/ 906 w 2223"/>
                <a:gd name="T19" fmla="*/ 3316 h 3316"/>
                <a:gd name="T20" fmla="*/ 906 w 2223"/>
                <a:gd name="T21" fmla="*/ 1630 h 3316"/>
                <a:gd name="T22" fmla="*/ 1359 w 2223"/>
                <a:gd name="T23" fmla="*/ 1630 h 3316"/>
                <a:gd name="T24" fmla="*/ 1359 w 2223"/>
                <a:gd name="T25" fmla="*/ 1205 h 3316"/>
                <a:gd name="T26" fmla="*/ 906 w 2223"/>
                <a:gd name="T27" fmla="*/ 1205 h 3316"/>
                <a:gd name="T28" fmla="*/ 906 w 2223"/>
                <a:gd name="T29" fmla="*/ 981 h 3316"/>
                <a:gd name="T30" fmla="*/ 1032 w 2223"/>
                <a:gd name="T31" fmla="*/ 553 h 3316"/>
                <a:gd name="T32" fmla="*/ 1329 w 2223"/>
                <a:gd name="T33" fmla="*/ 436 h 3316"/>
                <a:gd name="T34" fmla="*/ 1616 w 2223"/>
                <a:gd name="T35" fmla="*/ 543 h 3316"/>
                <a:gd name="T36" fmla="*/ 1745 w 2223"/>
                <a:gd name="T37" fmla="*/ 821 h 3316"/>
                <a:gd name="T38" fmla="*/ 2223 w 2223"/>
                <a:gd name="T39" fmla="*/ 821 h 3316"/>
                <a:gd name="T40" fmla="*/ 1979 w 2223"/>
                <a:gd name="T41" fmla="*/ 261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23" h="3316">
                  <a:moveTo>
                    <a:pt x="1979" y="261"/>
                  </a:moveTo>
                  <a:cubicBezTo>
                    <a:pt x="1819" y="93"/>
                    <a:pt x="1604" y="0"/>
                    <a:pt x="1320" y="0"/>
                  </a:cubicBezTo>
                  <a:cubicBezTo>
                    <a:pt x="1060" y="0"/>
                    <a:pt x="838" y="94"/>
                    <a:pt x="685" y="256"/>
                  </a:cubicBezTo>
                  <a:cubicBezTo>
                    <a:pt x="498" y="453"/>
                    <a:pt x="424" y="680"/>
                    <a:pt x="424" y="1056"/>
                  </a:cubicBezTo>
                  <a:cubicBezTo>
                    <a:pt x="424" y="1157"/>
                    <a:pt x="424" y="1200"/>
                    <a:pt x="424" y="1205"/>
                  </a:cubicBezTo>
                  <a:cubicBezTo>
                    <a:pt x="0" y="1205"/>
                    <a:pt x="0" y="1205"/>
                    <a:pt x="0" y="1205"/>
                  </a:cubicBezTo>
                  <a:cubicBezTo>
                    <a:pt x="0" y="1630"/>
                    <a:pt x="0" y="1630"/>
                    <a:pt x="0" y="1630"/>
                  </a:cubicBezTo>
                  <a:cubicBezTo>
                    <a:pt x="424" y="1630"/>
                    <a:pt x="424" y="1630"/>
                    <a:pt x="424" y="1630"/>
                  </a:cubicBezTo>
                  <a:cubicBezTo>
                    <a:pt x="424" y="3316"/>
                    <a:pt x="424" y="3316"/>
                    <a:pt x="424" y="3316"/>
                  </a:cubicBezTo>
                  <a:cubicBezTo>
                    <a:pt x="906" y="3316"/>
                    <a:pt x="906" y="3316"/>
                    <a:pt x="906" y="3316"/>
                  </a:cubicBezTo>
                  <a:cubicBezTo>
                    <a:pt x="906" y="1630"/>
                    <a:pt x="906" y="1630"/>
                    <a:pt x="906" y="1630"/>
                  </a:cubicBezTo>
                  <a:cubicBezTo>
                    <a:pt x="1359" y="1630"/>
                    <a:pt x="1359" y="1630"/>
                    <a:pt x="1359" y="1630"/>
                  </a:cubicBezTo>
                  <a:cubicBezTo>
                    <a:pt x="1359" y="1205"/>
                    <a:pt x="1359" y="1205"/>
                    <a:pt x="1359" y="1205"/>
                  </a:cubicBezTo>
                  <a:cubicBezTo>
                    <a:pt x="906" y="1205"/>
                    <a:pt x="906" y="1205"/>
                    <a:pt x="906" y="1205"/>
                  </a:cubicBezTo>
                  <a:cubicBezTo>
                    <a:pt x="906" y="1200"/>
                    <a:pt x="906" y="1014"/>
                    <a:pt x="906" y="981"/>
                  </a:cubicBezTo>
                  <a:cubicBezTo>
                    <a:pt x="906" y="783"/>
                    <a:pt x="930" y="658"/>
                    <a:pt x="1032" y="553"/>
                  </a:cubicBezTo>
                  <a:cubicBezTo>
                    <a:pt x="1100" y="484"/>
                    <a:pt x="1204" y="436"/>
                    <a:pt x="1329" y="436"/>
                  </a:cubicBezTo>
                  <a:cubicBezTo>
                    <a:pt x="1442" y="436"/>
                    <a:pt x="1546" y="475"/>
                    <a:pt x="1616" y="543"/>
                  </a:cubicBezTo>
                  <a:cubicBezTo>
                    <a:pt x="1693" y="618"/>
                    <a:pt x="1732" y="703"/>
                    <a:pt x="1745" y="821"/>
                  </a:cubicBezTo>
                  <a:cubicBezTo>
                    <a:pt x="2223" y="821"/>
                    <a:pt x="2223" y="821"/>
                    <a:pt x="2223" y="821"/>
                  </a:cubicBezTo>
                  <a:cubicBezTo>
                    <a:pt x="2199" y="606"/>
                    <a:pt x="2128" y="418"/>
                    <a:pt x="1979" y="2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
            <p:cNvSpPr>
              <a:spLocks noEditPoints="1"/>
            </p:cNvSpPr>
            <p:nvPr userDrawn="1"/>
          </p:nvSpPr>
          <p:spPr bwMode="auto">
            <a:xfrm>
              <a:off x="4402" y="3774"/>
              <a:ext cx="44" cy="21"/>
            </a:xfrm>
            <a:custGeom>
              <a:avLst/>
              <a:gdLst>
                <a:gd name="T0" fmla="*/ 0 w 44"/>
                <a:gd name="T1" fmla="*/ 3 h 21"/>
                <a:gd name="T2" fmla="*/ 0 w 44"/>
                <a:gd name="T3" fmla="*/ 0 h 21"/>
                <a:gd name="T4" fmla="*/ 18 w 44"/>
                <a:gd name="T5" fmla="*/ 0 h 21"/>
                <a:gd name="T6" fmla="*/ 18 w 44"/>
                <a:gd name="T7" fmla="*/ 3 h 21"/>
                <a:gd name="T8" fmla="*/ 11 w 44"/>
                <a:gd name="T9" fmla="*/ 3 h 21"/>
                <a:gd name="T10" fmla="*/ 11 w 44"/>
                <a:gd name="T11" fmla="*/ 21 h 21"/>
                <a:gd name="T12" fmla="*/ 7 w 44"/>
                <a:gd name="T13" fmla="*/ 21 h 21"/>
                <a:gd name="T14" fmla="*/ 7 w 44"/>
                <a:gd name="T15" fmla="*/ 3 h 21"/>
                <a:gd name="T16" fmla="*/ 0 w 44"/>
                <a:gd name="T17" fmla="*/ 3 h 21"/>
                <a:gd name="T18" fmla="*/ 28 w 44"/>
                <a:gd name="T19" fmla="*/ 0 h 21"/>
                <a:gd name="T20" fmla="*/ 33 w 44"/>
                <a:gd name="T21" fmla="*/ 15 h 21"/>
                <a:gd name="T22" fmla="*/ 38 w 44"/>
                <a:gd name="T23" fmla="*/ 0 h 21"/>
                <a:gd name="T24" fmla="*/ 44 w 44"/>
                <a:gd name="T25" fmla="*/ 0 h 21"/>
                <a:gd name="T26" fmla="*/ 44 w 44"/>
                <a:gd name="T27" fmla="*/ 21 h 21"/>
                <a:gd name="T28" fmla="*/ 40 w 44"/>
                <a:gd name="T29" fmla="*/ 21 h 21"/>
                <a:gd name="T30" fmla="*/ 40 w 44"/>
                <a:gd name="T31" fmla="*/ 4 h 21"/>
                <a:gd name="T32" fmla="*/ 34 w 44"/>
                <a:gd name="T33" fmla="*/ 21 h 21"/>
                <a:gd name="T34" fmla="*/ 31 w 44"/>
                <a:gd name="T35" fmla="*/ 21 h 21"/>
                <a:gd name="T36" fmla="*/ 25 w 44"/>
                <a:gd name="T37" fmla="*/ 4 h 21"/>
                <a:gd name="T38" fmla="*/ 25 w 44"/>
                <a:gd name="T39" fmla="*/ 21 h 21"/>
                <a:gd name="T40" fmla="*/ 22 w 44"/>
                <a:gd name="T41" fmla="*/ 21 h 21"/>
                <a:gd name="T42" fmla="*/ 22 w 44"/>
                <a:gd name="T43" fmla="*/ 0 h 21"/>
                <a:gd name="T44" fmla="*/ 28 w 44"/>
                <a:gd name="T4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21">
                  <a:moveTo>
                    <a:pt x="0" y="3"/>
                  </a:moveTo>
                  <a:lnTo>
                    <a:pt x="0" y="0"/>
                  </a:lnTo>
                  <a:lnTo>
                    <a:pt x="18" y="0"/>
                  </a:lnTo>
                  <a:lnTo>
                    <a:pt x="18" y="3"/>
                  </a:lnTo>
                  <a:lnTo>
                    <a:pt x="11" y="3"/>
                  </a:lnTo>
                  <a:lnTo>
                    <a:pt x="11" y="21"/>
                  </a:lnTo>
                  <a:lnTo>
                    <a:pt x="7" y="21"/>
                  </a:lnTo>
                  <a:lnTo>
                    <a:pt x="7" y="3"/>
                  </a:lnTo>
                  <a:lnTo>
                    <a:pt x="0" y="3"/>
                  </a:lnTo>
                  <a:close/>
                  <a:moveTo>
                    <a:pt x="28" y="0"/>
                  </a:moveTo>
                  <a:lnTo>
                    <a:pt x="33" y="15"/>
                  </a:lnTo>
                  <a:lnTo>
                    <a:pt x="38" y="0"/>
                  </a:lnTo>
                  <a:lnTo>
                    <a:pt x="44" y="0"/>
                  </a:lnTo>
                  <a:lnTo>
                    <a:pt x="44" y="21"/>
                  </a:lnTo>
                  <a:lnTo>
                    <a:pt x="40" y="21"/>
                  </a:lnTo>
                  <a:lnTo>
                    <a:pt x="40" y="4"/>
                  </a:lnTo>
                  <a:lnTo>
                    <a:pt x="34" y="21"/>
                  </a:lnTo>
                  <a:lnTo>
                    <a:pt x="31" y="21"/>
                  </a:lnTo>
                  <a:lnTo>
                    <a:pt x="25" y="4"/>
                  </a:lnTo>
                  <a:lnTo>
                    <a:pt x="25" y="21"/>
                  </a:lnTo>
                  <a:lnTo>
                    <a:pt x="22" y="21"/>
                  </a:lnTo>
                  <a:lnTo>
                    <a:pt x="22" y="0"/>
                  </a:lnTo>
                  <a:lnTo>
                    <a:pt x="2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961000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Karta nazwy">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pl-PL"/>
              <a:t>Kliknij, aby edytować styl</a:t>
            </a:r>
            <a:endParaRPr lang="en-US"/>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Kliknij, aby edytować style wzorca tekstu</a:t>
            </a:r>
          </a:p>
        </p:txBody>
      </p:sp>
      <p:sp>
        <p:nvSpPr>
          <p:cNvPr id="4" name="Date Placeholder 3"/>
          <p:cNvSpPr>
            <a:spLocks noGrp="1"/>
          </p:cNvSpPr>
          <p:nvPr>
            <p:ph type="dt" sz="half" idx="10"/>
          </p:nvPr>
        </p:nvSpPr>
        <p:spPr/>
        <p:txBody>
          <a:bodyPr/>
          <a:lstStyle/>
          <a:p>
            <a:fld id="{B61BEF0D-F0BB-DE4B-95CE-6DB70DBA9567}" type="datetimeFigureOut">
              <a:rPr lang="en-US" dirty="0"/>
              <a:pPr/>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1071470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Karta nazwy cytatu">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pl-PL"/>
              <a:t>Kliknij, aby edytować styl</a:t>
            </a:r>
            <a:endParaRPr lang="en-US"/>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pl-PL"/>
              <a:t>Kliknij, aby edytować style wzorca tekstu</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Kliknij, aby edytować style wzorca tekstu</a:t>
            </a:r>
          </a:p>
        </p:txBody>
      </p:sp>
      <p:sp>
        <p:nvSpPr>
          <p:cNvPr id="4" name="Date Placeholder 3"/>
          <p:cNvSpPr>
            <a:spLocks noGrp="1"/>
          </p:cNvSpPr>
          <p:nvPr>
            <p:ph type="dt" sz="half" idx="10"/>
          </p:nvPr>
        </p:nvSpPr>
        <p:spPr/>
        <p:txBody>
          <a:bodyPr/>
          <a:lstStyle/>
          <a:p>
            <a:fld id="{B61BEF0D-F0BB-DE4B-95CE-6DB70DBA9567}" type="datetimeFigureOut">
              <a:rPr lang="en-US" dirty="0"/>
              <a:pPr/>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2466132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Prawda lub fałsz">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pl-PL"/>
              <a:t>Kliknij, aby edytować styl</a:t>
            </a:r>
            <a:endParaRPr lang="en-US"/>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pl-PL"/>
              <a:t>Kliknij, aby edytować style wzorca tekstu</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Kliknij, aby edytować style wzorca tekstu</a:t>
            </a:r>
          </a:p>
        </p:txBody>
      </p:sp>
      <p:sp>
        <p:nvSpPr>
          <p:cNvPr id="4" name="Date Placeholder 3"/>
          <p:cNvSpPr>
            <a:spLocks noGrp="1"/>
          </p:cNvSpPr>
          <p:nvPr>
            <p:ph type="dt" sz="half" idx="10"/>
          </p:nvPr>
        </p:nvSpPr>
        <p:spPr/>
        <p:txBody>
          <a:bodyPr/>
          <a:lstStyle/>
          <a:p>
            <a:fld id="{B61BEF0D-F0BB-DE4B-95CE-6DB70DBA9567}" type="datetimeFigureOut">
              <a:rPr lang="en-US" dirty="0"/>
              <a:pPr/>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1203245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ytuł i tekst pionow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US"/>
          </a:p>
        </p:txBody>
      </p:sp>
      <p:sp>
        <p:nvSpPr>
          <p:cNvPr id="3" name="Vertical Text Placeholder 2"/>
          <p:cNvSpPr>
            <a:spLocks noGrp="1"/>
          </p:cNvSpPr>
          <p:nvPr>
            <p:ph type="body" orient="vert" idx="1"/>
          </p:nvPr>
        </p:nvSpPr>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
        <p:nvSpPr>
          <p:cNvPr id="4" name="Date Placeholder 3"/>
          <p:cNvSpPr>
            <a:spLocks noGrp="1"/>
          </p:cNvSpPr>
          <p:nvPr>
            <p:ph type="dt" sz="half" idx="10"/>
          </p:nvPr>
        </p:nvSpPr>
        <p:spPr/>
        <p:txBody>
          <a:bodyPr/>
          <a:lstStyle/>
          <a:p>
            <a:fld id="{55C6B4A9-1611-4792-9094-5F34BCA07E0B}" type="datetimeFigureOut">
              <a:rPr lang="en-US" dirty="0"/>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a:p>
        </p:txBody>
      </p:sp>
    </p:spTree>
    <p:extLst>
      <p:ext uri="{BB962C8B-B14F-4D97-AF65-F5344CB8AC3E}">
        <p14:creationId xmlns:p14="http://schemas.microsoft.com/office/powerpoint/2010/main" val="11716958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Tytuł pionowy i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pl-PL"/>
              <a:t>Kliknij, aby edytować styl</a:t>
            </a:r>
            <a:endParaRPr lang="en-US"/>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
        <p:nvSpPr>
          <p:cNvPr id="4" name="Date Placeholder 3"/>
          <p:cNvSpPr>
            <a:spLocks noGrp="1"/>
          </p:cNvSpPr>
          <p:nvPr>
            <p:ph type="dt" sz="half" idx="10"/>
          </p:nvPr>
        </p:nvSpPr>
        <p:spPr/>
        <p:txBody>
          <a:bodyPr/>
          <a:lstStyle/>
          <a:p>
            <a:fld id="{B61BEF0D-F0BB-DE4B-95CE-6DB70DBA9567}" type="datetimeFigureOut">
              <a:rPr lang="en-US" dirty="0"/>
              <a:pPr/>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29172133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25438" y="317500"/>
            <a:ext cx="11541125" cy="6220800"/>
          </a:xfrm>
          <a:prstGeom prst="rect">
            <a:avLst/>
          </a:prstGeom>
        </p:spPr>
      </p:pic>
      <p:sp>
        <p:nvSpPr>
          <p:cNvPr id="2" name="Title 1"/>
          <p:cNvSpPr>
            <a:spLocks noGrp="1"/>
          </p:cNvSpPr>
          <p:nvPr>
            <p:ph type="title"/>
          </p:nvPr>
        </p:nvSpPr>
        <p:spPr>
          <a:xfrm>
            <a:off x="831850" y="1768793"/>
            <a:ext cx="8460000" cy="2472646"/>
          </a:xfrm>
        </p:spPr>
        <p:txBody>
          <a:bodyPr anchor="ctr" anchorCtr="0">
            <a:normAutofit/>
          </a:bodyPr>
          <a:lstStyle>
            <a:lvl1pPr>
              <a:lnSpc>
                <a:spcPct val="85000"/>
              </a:lnSpc>
              <a:defRPr sz="5000">
                <a:solidFill>
                  <a:schemeClr val="bg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lvl1pPr>
              <a:defRPr>
                <a:solidFill>
                  <a:schemeClr val="bg2"/>
                </a:solidFill>
              </a:defRPr>
            </a:lvl1pPr>
          </a:lstStyle>
          <a:p>
            <a:fld id="{0E5A5CAB-CC29-45C4-B758-44F0DE18F9EE}" type="datetime1">
              <a:rPr lang="en-GB" smtClean="0"/>
              <a:t>21/10/2024</a:t>
            </a:fld>
            <a:endParaRPr lang="en-GB"/>
          </a:p>
        </p:txBody>
      </p:sp>
      <p:sp>
        <p:nvSpPr>
          <p:cNvPr id="5" name="Footer Placeholder 4"/>
          <p:cNvSpPr>
            <a:spLocks noGrp="1"/>
          </p:cNvSpPr>
          <p:nvPr>
            <p:ph type="ftr" sz="quarter" idx="11"/>
          </p:nvPr>
        </p:nvSpPr>
        <p:spPr/>
        <p:txBody>
          <a:bodyPr/>
          <a:lstStyle>
            <a:lvl1pPr>
              <a:defRPr>
                <a:solidFill>
                  <a:schemeClr val="bg2"/>
                </a:solidFill>
              </a:defRPr>
            </a:lvl1pPr>
          </a:lstStyle>
          <a:p>
            <a:r>
              <a:rPr lang="en-GB"/>
              <a:t>Presentation title</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spAutoFit/>
          </a:bodyPr>
          <a:lstStyle/>
          <a:p>
            <a:pPr algn="r"/>
            <a:r>
              <a:rPr lang="en-GB" sz="1350">
                <a:solidFill>
                  <a:schemeClr val="bg2"/>
                </a:solidFill>
              </a:rPr>
              <a:t>www.upfield.com</a:t>
            </a:r>
          </a:p>
        </p:txBody>
      </p:sp>
      <p:sp>
        <p:nvSpPr>
          <p:cNvPr id="9" name="TextBox 8"/>
          <p:cNvSpPr txBox="1"/>
          <p:nvPr userDrawn="1"/>
        </p:nvSpPr>
        <p:spPr>
          <a:xfrm>
            <a:off x="442912" y="6258561"/>
            <a:ext cx="474663" cy="19236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bg2"/>
                </a:solidFill>
              </a:rPr>
              <a:t>Slide  </a:t>
            </a:r>
          </a:p>
        </p:txBody>
      </p:sp>
    </p:spTree>
    <p:extLst>
      <p:ext uri="{BB962C8B-B14F-4D97-AF65-F5344CB8AC3E}">
        <p14:creationId xmlns:p14="http://schemas.microsoft.com/office/powerpoint/2010/main" val="8755566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0533" y="2308542"/>
            <a:ext cx="5157787" cy="571818"/>
          </a:xfrm>
        </p:spPr>
        <p:txBody>
          <a:bodyPr anchor="t" anchorCtr="0">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72200" y="2308542"/>
            <a:ext cx="5183188" cy="571818"/>
          </a:xfrm>
        </p:spPr>
        <p:txBody>
          <a:bodyPr anchor="t" anchorCtr="0">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BDCBB180-CD52-431A-886D-F2CD9206618A}" type="datetime1">
              <a:rPr lang="en-GB" smtClean="0"/>
              <a:t>21/10/2024</a:t>
            </a:fld>
            <a:endParaRPr lang="en-GB"/>
          </a:p>
        </p:txBody>
      </p:sp>
      <p:sp>
        <p:nvSpPr>
          <p:cNvPr id="8" name="Footer Placeholder 7"/>
          <p:cNvSpPr>
            <a:spLocks noGrp="1"/>
          </p:cNvSpPr>
          <p:nvPr>
            <p:ph type="ftr" sz="quarter" idx="11"/>
          </p:nvPr>
        </p:nvSpPr>
        <p:spPr/>
        <p:txBody>
          <a:bodyPr/>
          <a:lstStyle/>
          <a:p>
            <a:r>
              <a:rPr lang="en-GB"/>
              <a:t>Presentation title</a:t>
            </a:r>
          </a:p>
        </p:txBody>
      </p:sp>
      <p:sp>
        <p:nvSpPr>
          <p:cNvPr id="9" name="Slide Number Placeholder 8"/>
          <p:cNvSpPr>
            <a:spLocks noGrp="1"/>
          </p:cNvSpPr>
          <p:nvPr>
            <p:ph type="sldNum" sz="quarter" idx="12"/>
          </p:nvPr>
        </p:nvSpPr>
        <p:spPr/>
        <p:txBody>
          <a:bodyPr/>
          <a:lstStyle/>
          <a:p>
            <a:fld id="{8470F1AB-319E-48AE-9489-D88EBE16142A}" type="slidenum">
              <a:rPr lang="en-GB" smtClean="0"/>
              <a:t>‹#›</a:t>
            </a:fld>
            <a:endParaRPr lang="en-GB"/>
          </a:p>
        </p:txBody>
      </p:sp>
      <p:sp>
        <p:nvSpPr>
          <p:cNvPr id="10" name="Title 9"/>
          <p:cNvSpPr>
            <a:spLocks noGrp="1"/>
          </p:cNvSpPr>
          <p:nvPr>
            <p:ph type="title"/>
          </p:nvPr>
        </p:nvSpPr>
        <p:spPr/>
        <p:txBody>
          <a:bodyPr/>
          <a:lstStyle/>
          <a:p>
            <a:r>
              <a:rPr lang="en-US"/>
              <a:t>Click to edit Master title style</a:t>
            </a:r>
            <a:endParaRPr lang="en-GB"/>
          </a:p>
        </p:txBody>
      </p:sp>
      <p:sp>
        <p:nvSpPr>
          <p:cNvPr id="11" name="Content Placeholder 2"/>
          <p:cNvSpPr>
            <a:spLocks noGrp="1"/>
          </p:cNvSpPr>
          <p:nvPr>
            <p:ph sz="half" idx="13"/>
          </p:nvPr>
        </p:nvSpPr>
        <p:spPr>
          <a:xfrm>
            <a:off x="450533" y="2960370"/>
            <a:ext cx="5181600" cy="3053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p:cNvSpPr>
            <a:spLocks noGrp="1"/>
          </p:cNvSpPr>
          <p:nvPr>
            <p:ph sz="half" idx="2"/>
          </p:nvPr>
        </p:nvSpPr>
        <p:spPr>
          <a:xfrm>
            <a:off x="6172200" y="2960370"/>
            <a:ext cx="5181600" cy="3053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449543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btfpLayoutConfig" hidden="1"/>
          <p:cNvSpPr txBox="1"/>
          <p:nvPr userDrawn="1"/>
        </p:nvSpPr>
        <p:spPr>
          <a:xfrm>
            <a:off x="12700" y="12700"/>
            <a:ext cx="611312" cy="88092"/>
          </a:xfrm>
          <a:prstGeom prst="rect">
            <a:avLst/>
          </a:prstGeom>
          <a:noFill/>
        </p:spPr>
        <p:txBody>
          <a:bodyPr vert="horz" wrap="none" lIns="36000" tIns="36000" rIns="36000" bIns="36000" rtlCol="0">
            <a:spAutoFit/>
          </a:bodyPr>
          <a:lstStyle/>
          <a:p>
            <a:r>
              <a:rPr lang="en-US" sz="100">
                <a:solidFill>
                  <a:srgbClr val="FFFFFF">
                    <a:alpha val="0"/>
                  </a:srgbClr>
                </a:solidFill>
              </a:rPr>
              <a:t>overall_0_131468226384557565 columns_1_131468226384557565 </a:t>
            </a:r>
          </a:p>
        </p:txBody>
      </p:sp>
      <p:pic>
        <p:nvPicPr>
          <p:cNvPr id="25" name="Picture 24" descr="UPF001_Upfield_Logo_Reversed_01-04.png"/>
          <p:cNvPicPr/>
          <p:nvPr userDrawn="1"/>
        </p:nvPicPr>
        <p:blipFill>
          <a:blip r:embed="rId2">
            <a:extLst>
              <a:ext uri="{28A0092B-C50C-407E-A947-70E740481C1C}">
                <a14:useLocalDpi xmlns:a14="http://schemas.microsoft.com/office/drawing/2010/main" val="0"/>
              </a:ext>
            </a:extLst>
          </a:blip>
          <a:stretch>
            <a:fillRect/>
          </a:stretch>
        </p:blipFill>
        <p:spPr>
          <a:xfrm>
            <a:off x="2401825" y="2441072"/>
            <a:ext cx="7388352" cy="1975856"/>
          </a:xfrm>
          <a:prstGeom prst="rect">
            <a:avLst/>
          </a:prstGeom>
        </p:spPr>
      </p:pic>
      <p:sp>
        <p:nvSpPr>
          <p:cNvPr id="3" name="Subtitle"/>
          <p:cNvSpPr>
            <a:spLocks noGrp="1"/>
          </p:cNvSpPr>
          <p:nvPr userDrawn="1">
            <p:ph type="subTitle" idx="1" hasCustomPrompt="1"/>
          </p:nvPr>
        </p:nvSpPr>
        <p:spPr>
          <a:xfrm>
            <a:off x="1916942" y="4964113"/>
            <a:ext cx="9614658" cy="688975"/>
          </a:xfrm>
        </p:spPr>
        <p:txBody>
          <a:bodyPr/>
          <a:lstStyle>
            <a:lvl1pPr marL="0" indent="0" algn="l">
              <a:lnSpc>
                <a:spcPct val="100000"/>
              </a:lnSpc>
              <a:spcBef>
                <a:spcPct val="0"/>
              </a:spcBef>
              <a:buNone/>
              <a:defRPr sz="3600" b="1" baseline="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title style</a:t>
            </a:r>
          </a:p>
        </p:txBody>
      </p:sp>
      <p:sp>
        <p:nvSpPr>
          <p:cNvPr id="7" name="Text Placeholder 6"/>
          <p:cNvSpPr>
            <a:spLocks noGrp="1"/>
          </p:cNvSpPr>
          <p:nvPr>
            <p:ph type="body" sz="quarter" idx="10" hasCustomPrompt="1"/>
          </p:nvPr>
        </p:nvSpPr>
        <p:spPr>
          <a:xfrm>
            <a:off x="1916942" y="5684044"/>
            <a:ext cx="9614658" cy="558800"/>
          </a:xfrm>
        </p:spPr>
        <p:txBody>
          <a:bodyPr/>
          <a:lstStyle>
            <a:lvl1pPr marL="0" indent="0">
              <a:buFontTx/>
              <a:buNone/>
              <a:defRPr sz="2000">
                <a:solidFill>
                  <a:schemeClr val="bg1"/>
                </a:solidFill>
              </a:defRPr>
            </a:lvl1pPr>
          </a:lstStyle>
          <a:p>
            <a:r>
              <a:rPr lang="en-GB"/>
              <a:t>Click to edit Master subtitle style</a:t>
            </a:r>
            <a:endParaRPr lang="en-US"/>
          </a:p>
        </p:txBody>
      </p:sp>
    </p:spTree>
    <p:extLst>
      <p:ext uri="{BB962C8B-B14F-4D97-AF65-F5344CB8AC3E}">
        <p14:creationId xmlns:p14="http://schemas.microsoft.com/office/powerpoint/2010/main" val="347388249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st Page Logo">
    <p:spTree>
      <p:nvGrpSpPr>
        <p:cNvPr id="1" name=""/>
        <p:cNvGrpSpPr/>
        <p:nvPr/>
      </p:nvGrpSpPr>
      <p:grpSpPr>
        <a:xfrm>
          <a:off x="0" y="0"/>
          <a:ext cx="0" cy="0"/>
          <a:chOff x="0" y="0"/>
          <a:chExt cx="0" cy="0"/>
        </a:xfrm>
      </p:grpSpPr>
      <p:sp>
        <p:nvSpPr>
          <p:cNvPr id="3" name="btfpLayoutConfig" hidden="1"/>
          <p:cNvSpPr txBox="1"/>
          <p:nvPr userDrawn="1"/>
        </p:nvSpPr>
        <p:spPr bwMode="gray">
          <a:xfrm>
            <a:off x="12700" y="12700"/>
            <a:ext cx="430173"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744161728240797 columns_1_131744161728240797 </a:t>
            </a:r>
          </a:p>
        </p:txBody>
      </p:sp>
      <p:sp>
        <p:nvSpPr>
          <p:cNvPr id="22" name="Rectangle 21"/>
          <p:cNvSpPr/>
          <p:nvPr userDrawn="1"/>
        </p:nvSpPr>
        <p:spPr bwMode="gray">
          <a:xfrm>
            <a:off x="0" y="0"/>
            <a:ext cx="12192000" cy="685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23" name="Picture 22" descr="UPF001_Upfield_Logo_Reversed_01-04.png"/>
          <p:cNvPicPr/>
          <p:nvPr userDrawn="1"/>
        </p:nvPicPr>
        <p:blipFill>
          <a:blip r:embed="rId2" cstate="print">
            <a:extLst>
              <a:ext uri="{28A0092B-C50C-407E-A947-70E740481C1C}">
                <a14:useLocalDpi xmlns:a14="http://schemas.microsoft.com/office/drawing/2010/main" val="0"/>
              </a:ext>
            </a:extLst>
          </a:blip>
          <a:stretch>
            <a:fillRect/>
          </a:stretch>
        </p:blipFill>
        <p:spPr>
          <a:xfrm>
            <a:off x="1916941" y="2311400"/>
            <a:ext cx="8358119" cy="2235200"/>
          </a:xfrm>
          <a:prstGeom prst="rect">
            <a:avLst/>
          </a:prstGeom>
        </p:spPr>
      </p:pic>
    </p:spTree>
    <p:extLst>
      <p:ext uri="{BB962C8B-B14F-4D97-AF65-F5344CB8AC3E}">
        <p14:creationId xmlns:p14="http://schemas.microsoft.com/office/powerpoint/2010/main" val="22676348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User Image)">
    <p:spTree>
      <p:nvGrpSpPr>
        <p:cNvPr id="1" name=""/>
        <p:cNvGrpSpPr/>
        <p:nvPr/>
      </p:nvGrpSpPr>
      <p:grpSpPr>
        <a:xfrm>
          <a:off x="0" y="0"/>
          <a:ext cx="0" cy="0"/>
          <a:chOff x="0" y="0"/>
          <a:chExt cx="0" cy="0"/>
        </a:xfrm>
      </p:grpSpPr>
      <p:pic>
        <p:nvPicPr>
          <p:cNvPr id="4" name="Picture 3" descr="Food on a table&#10;&#10;Description automatically generated">
            <a:extLst>
              <a:ext uri="{FF2B5EF4-FFF2-40B4-BE49-F238E27FC236}">
                <a16:creationId xmlns:a16="http://schemas.microsoft.com/office/drawing/2014/main" id="{F71EF753-1643-CC4A-BC08-3966F84D4D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978" t="27092" r="20159" b="16158"/>
          <a:stretch/>
        </p:blipFill>
        <p:spPr>
          <a:xfrm flipH="1">
            <a:off x="4216400" y="-1"/>
            <a:ext cx="7975600" cy="6858001"/>
          </a:xfrm>
          <a:prstGeom prst="rect">
            <a:avLst/>
          </a:prstGeom>
        </p:spPr>
      </p:pic>
      <p:pic>
        <p:nvPicPr>
          <p:cNvPr id="10" name="Graphic 9">
            <a:extLst>
              <a:ext uri="{FF2B5EF4-FFF2-40B4-BE49-F238E27FC236}">
                <a16:creationId xmlns:a16="http://schemas.microsoft.com/office/drawing/2014/main" id="{129C7400-C7F4-42AB-93DC-A8F5E8F7F17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9157" y="5707336"/>
            <a:ext cx="2088000" cy="479676"/>
          </a:xfrm>
          <a:prstGeom prst="rect">
            <a:avLst/>
          </a:prstGeom>
        </p:spPr>
      </p:pic>
      <p:sp>
        <p:nvSpPr>
          <p:cNvPr id="7" name="Date Placeholder 3">
            <a:extLst>
              <a:ext uri="{FF2B5EF4-FFF2-40B4-BE49-F238E27FC236}">
                <a16:creationId xmlns:a16="http://schemas.microsoft.com/office/drawing/2014/main" id="{DB61603A-CAE5-4007-81DD-7BDC7635C1F4}"/>
              </a:ext>
            </a:extLst>
          </p:cNvPr>
          <p:cNvSpPr>
            <a:spLocks noGrp="1"/>
          </p:cNvSpPr>
          <p:nvPr>
            <p:ph type="dt" sz="half" idx="2"/>
          </p:nvPr>
        </p:nvSpPr>
        <p:spPr>
          <a:xfrm>
            <a:off x="552000" y="488951"/>
            <a:ext cx="937075" cy="215900"/>
          </a:xfrm>
          <a:prstGeom prst="rect">
            <a:avLst/>
          </a:prstGeom>
        </p:spPr>
        <p:txBody>
          <a:bodyPr vert="horz" lIns="0" tIns="0" rIns="0" bIns="0" rtlCol="0" anchor="ctr"/>
          <a:lstStyle>
            <a:lvl1pPr algn="l">
              <a:lnSpc>
                <a:spcPct val="95000"/>
              </a:lnSpc>
              <a:defRPr sz="1000">
                <a:solidFill>
                  <a:schemeClr val="tx1"/>
                </a:solidFill>
              </a:defRPr>
            </a:lvl1pPr>
          </a:lstStyle>
          <a:p>
            <a:fld id="{02C7F40E-128E-40FD-B48F-147DBEDF18A2}" type="datetime1">
              <a:rPr lang="en-GB" smtClean="0"/>
              <a:t>21/10/2024</a:t>
            </a:fld>
            <a:endParaRPr lang="en-GB"/>
          </a:p>
        </p:txBody>
      </p:sp>
      <p:sp>
        <p:nvSpPr>
          <p:cNvPr id="20" name="TextBox 19">
            <a:extLst>
              <a:ext uri="{FF2B5EF4-FFF2-40B4-BE49-F238E27FC236}">
                <a16:creationId xmlns:a16="http://schemas.microsoft.com/office/drawing/2014/main" id="{8BB9CB9A-8D41-FB4D-A0D0-59326EF6666D}"/>
              </a:ext>
            </a:extLst>
          </p:cNvPr>
          <p:cNvSpPr txBox="1"/>
          <p:nvPr userDrawn="1"/>
        </p:nvSpPr>
        <p:spPr>
          <a:xfrm>
            <a:off x="-1158240" y="1371600"/>
            <a:ext cx="184731" cy="369332"/>
          </a:xfrm>
          <a:prstGeom prst="rect">
            <a:avLst/>
          </a:prstGeom>
          <a:noFill/>
        </p:spPr>
        <p:txBody>
          <a:bodyPr wrap="none" rtlCol="0">
            <a:spAutoFit/>
          </a:bodyPr>
          <a:lstStyle/>
          <a:p>
            <a:endParaRPr lang="en-US"/>
          </a:p>
        </p:txBody>
      </p:sp>
      <p:sp>
        <p:nvSpPr>
          <p:cNvPr id="25" name="Graphic 15">
            <a:extLst>
              <a:ext uri="{FF2B5EF4-FFF2-40B4-BE49-F238E27FC236}">
                <a16:creationId xmlns:a16="http://schemas.microsoft.com/office/drawing/2014/main" id="{EBE11C18-CC52-644E-9E52-65F69809E982}"/>
              </a:ext>
            </a:extLst>
          </p:cNvPr>
          <p:cNvSpPr>
            <a:spLocks noChangeAspect="1"/>
          </p:cNvSpPr>
          <p:nvPr userDrawn="1"/>
        </p:nvSpPr>
        <p:spPr>
          <a:xfrm rot="20871921">
            <a:off x="1230544" y="505199"/>
            <a:ext cx="5758893" cy="5749237"/>
          </a:xfrm>
          <a:custGeom>
            <a:avLst/>
            <a:gdLst>
              <a:gd name="connsiteX0" fmla="*/ 594166 w 773606"/>
              <a:gd name="connsiteY0" fmla="*/ 63077 h 772309"/>
              <a:gd name="connsiteX1" fmla="*/ 255496 w 773606"/>
              <a:gd name="connsiteY1" fmla="*/ 24559 h 772309"/>
              <a:gd name="connsiteX2" fmla="*/ 2249 w 773606"/>
              <a:gd name="connsiteY2" fmla="*/ 418609 h 772309"/>
              <a:gd name="connsiteX3" fmla="*/ 42627 w 773606"/>
              <a:gd name="connsiteY3" fmla="*/ 586219 h 772309"/>
              <a:gd name="connsiteX4" fmla="*/ 60602 w 773606"/>
              <a:gd name="connsiteY4" fmla="*/ 574294 h 772309"/>
              <a:gd name="connsiteX5" fmla="*/ 123947 w 773606"/>
              <a:gd name="connsiteY5" fmla="*/ 561304 h 772309"/>
              <a:gd name="connsiteX6" fmla="*/ 197278 w 773606"/>
              <a:gd name="connsiteY6" fmla="*/ 595417 h 772309"/>
              <a:gd name="connsiteX7" fmla="*/ 223116 w 773606"/>
              <a:gd name="connsiteY7" fmla="*/ 665234 h 772309"/>
              <a:gd name="connsiteX8" fmla="*/ 205220 w 773606"/>
              <a:gd name="connsiteY8" fmla="*/ 726624 h 772309"/>
              <a:gd name="connsiteX9" fmla="*/ 198932 w 773606"/>
              <a:gd name="connsiteY9" fmla="*/ 734486 h 772309"/>
              <a:gd name="connsiteX10" fmla="*/ 530081 w 773606"/>
              <a:gd name="connsiteY10" fmla="*/ 747477 h 772309"/>
              <a:gd name="connsiteX11" fmla="*/ 770290 w 773606"/>
              <a:gd name="connsiteY11" fmla="*/ 500701 h 772309"/>
              <a:gd name="connsiteX12" fmla="*/ 594166 w 773606"/>
              <a:gd name="connsiteY12" fmla="*/ 63077 h 77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3606" h="772309">
                <a:moveTo>
                  <a:pt x="594166" y="63077"/>
                </a:moveTo>
                <a:cubicBezTo>
                  <a:pt x="464048" y="-19563"/>
                  <a:pt x="371431" y="-8028"/>
                  <a:pt x="255496" y="24559"/>
                </a:cubicBezTo>
                <a:cubicBezTo>
                  <a:pt x="115242" y="63983"/>
                  <a:pt x="-19113" y="255658"/>
                  <a:pt x="2249" y="418609"/>
                </a:cubicBezTo>
                <a:cubicBezTo>
                  <a:pt x="11264" y="487400"/>
                  <a:pt x="23714" y="542025"/>
                  <a:pt x="42627" y="586219"/>
                </a:cubicBezTo>
                <a:cubicBezTo>
                  <a:pt x="48828" y="581775"/>
                  <a:pt x="55084" y="578229"/>
                  <a:pt x="60602" y="574294"/>
                </a:cubicBezTo>
                <a:cubicBezTo>
                  <a:pt x="72638" y="565724"/>
                  <a:pt x="97458" y="558760"/>
                  <a:pt x="123947" y="561304"/>
                </a:cubicBezTo>
                <a:cubicBezTo>
                  <a:pt x="150437" y="563848"/>
                  <a:pt x="183151" y="572465"/>
                  <a:pt x="197278" y="595417"/>
                </a:cubicBezTo>
                <a:cubicBezTo>
                  <a:pt x="211763" y="618949"/>
                  <a:pt x="222702" y="641471"/>
                  <a:pt x="223116" y="665234"/>
                </a:cubicBezTo>
                <a:cubicBezTo>
                  <a:pt x="223529" y="688988"/>
                  <a:pt x="216318" y="713308"/>
                  <a:pt x="205220" y="726624"/>
                </a:cubicBezTo>
                <a:cubicBezTo>
                  <a:pt x="203090" y="729176"/>
                  <a:pt x="201015" y="731823"/>
                  <a:pt x="198932" y="734486"/>
                </a:cubicBezTo>
                <a:cubicBezTo>
                  <a:pt x="311210" y="782592"/>
                  <a:pt x="430428" y="782417"/>
                  <a:pt x="530081" y="747477"/>
                </a:cubicBezTo>
                <a:cubicBezTo>
                  <a:pt x="639918" y="708959"/>
                  <a:pt x="756394" y="660448"/>
                  <a:pt x="770290" y="500701"/>
                </a:cubicBezTo>
                <a:cubicBezTo>
                  <a:pt x="786508" y="314361"/>
                  <a:pt x="745645" y="159288"/>
                  <a:pt x="594166" y="63077"/>
                </a:cubicBezTo>
                <a:close/>
              </a:path>
            </a:pathLst>
          </a:custGeom>
          <a:solidFill>
            <a:schemeClr val="accent3"/>
          </a:solidFill>
          <a:ln w="794" cap="flat">
            <a:noFill/>
            <a:prstDash val="solid"/>
            <a:miter/>
          </a:ln>
        </p:spPr>
        <p:txBody>
          <a:bodyPr rtlCol="0" anchor="ctr"/>
          <a:lstStyle/>
          <a:p>
            <a:endParaRPr lang="en-GB"/>
          </a:p>
        </p:txBody>
      </p:sp>
      <p:sp>
        <p:nvSpPr>
          <p:cNvPr id="5" name="Text Placeholder 4">
            <a:extLst>
              <a:ext uri="{FF2B5EF4-FFF2-40B4-BE49-F238E27FC236}">
                <a16:creationId xmlns:a16="http://schemas.microsoft.com/office/drawing/2014/main" id="{D29E67D6-50DD-4D3C-97E8-81CFF1CA6FC3}"/>
              </a:ext>
            </a:extLst>
          </p:cNvPr>
          <p:cNvSpPr>
            <a:spLocks noGrp="1"/>
          </p:cNvSpPr>
          <p:nvPr>
            <p:ph type="body" sz="quarter" idx="11"/>
          </p:nvPr>
        </p:nvSpPr>
        <p:spPr>
          <a:xfrm>
            <a:off x="550863" y="1828800"/>
            <a:ext cx="5400675" cy="3686175"/>
          </a:xfrm>
        </p:spPr>
        <p:txBody>
          <a:bodyPr>
            <a:normAutofit/>
          </a:bodyPr>
          <a:lstStyle>
            <a:lvl1pPr marL="0" indent="0">
              <a:lnSpc>
                <a:spcPct val="85000"/>
              </a:lnSpc>
              <a:spcBef>
                <a:spcPts val="0"/>
              </a:spcBef>
              <a:buNone/>
              <a:defRPr sz="6000" b="1"/>
            </a:lvl1pPr>
            <a:lvl2pPr marL="0" indent="0">
              <a:lnSpc>
                <a:spcPct val="85000"/>
              </a:lnSpc>
              <a:buNone/>
              <a:defRPr sz="20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99695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imag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25326" b="10311"/>
          <a:stretch/>
        </p:blipFill>
        <p:spPr>
          <a:xfrm>
            <a:off x="0" y="0"/>
            <a:ext cx="12191999" cy="6858000"/>
          </a:xfrm>
          <a:prstGeom prst="rect">
            <a:avLst/>
          </a:prstGeom>
        </p:spPr>
      </p:pic>
      <p:sp>
        <p:nvSpPr>
          <p:cNvPr id="24" name="Rectangle 23"/>
          <p:cNvSpPr/>
          <p:nvPr userDrawn="1"/>
        </p:nvSpPr>
        <p:spPr>
          <a:xfrm>
            <a:off x="2722244" y="3429000"/>
            <a:ext cx="9469756"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 name="Group 4"/>
          <p:cNvGrpSpPr>
            <a:grpSpLocks noChangeAspect="1"/>
          </p:cNvGrpSpPr>
          <p:nvPr userDrawn="1"/>
        </p:nvGrpSpPr>
        <p:grpSpPr bwMode="auto">
          <a:xfrm>
            <a:off x="5111749" y="5922963"/>
            <a:ext cx="1946274" cy="452437"/>
            <a:chOff x="3220" y="3731"/>
            <a:chExt cx="1226" cy="285"/>
          </a:xfrm>
          <a:solidFill>
            <a:schemeClr val="tx2"/>
          </a:solidFill>
        </p:grpSpPr>
        <p:sp>
          <p:nvSpPr>
            <p:cNvPr id="12" name="Freeform 5"/>
            <p:cNvSpPr>
              <a:spLocks/>
            </p:cNvSpPr>
            <p:nvPr userDrawn="1"/>
          </p:nvSpPr>
          <p:spPr bwMode="auto">
            <a:xfrm>
              <a:off x="3373" y="3731"/>
              <a:ext cx="139" cy="168"/>
            </a:xfrm>
            <a:custGeom>
              <a:avLst/>
              <a:gdLst>
                <a:gd name="T0" fmla="*/ 1877 w 2346"/>
                <a:gd name="T1" fmla="*/ 256 h 2836"/>
                <a:gd name="T2" fmla="*/ 347 w 2346"/>
                <a:gd name="T3" fmla="*/ 732 h 2836"/>
                <a:gd name="T4" fmla="*/ 198 w 2346"/>
                <a:gd name="T5" fmla="*/ 2836 h 2836"/>
                <a:gd name="T6" fmla="*/ 1952 w 2346"/>
                <a:gd name="T7" fmla="*/ 1423 h 2836"/>
                <a:gd name="T8" fmla="*/ 1877 w 2346"/>
                <a:gd name="T9" fmla="*/ 256 h 2836"/>
              </a:gdLst>
              <a:ahLst/>
              <a:cxnLst>
                <a:cxn ang="0">
                  <a:pos x="T0" y="T1"/>
                </a:cxn>
                <a:cxn ang="0">
                  <a:pos x="T2" y="T3"/>
                </a:cxn>
                <a:cxn ang="0">
                  <a:pos x="T4" y="T5"/>
                </a:cxn>
                <a:cxn ang="0">
                  <a:pos x="T6" y="T7"/>
                </a:cxn>
                <a:cxn ang="0">
                  <a:pos x="T8" y="T9"/>
                </a:cxn>
              </a:cxnLst>
              <a:rect l="0" t="0" r="r" b="b"/>
              <a:pathLst>
                <a:path w="2346" h="2836">
                  <a:moveTo>
                    <a:pt x="1877" y="256"/>
                  </a:moveTo>
                  <a:cubicBezTo>
                    <a:pt x="1440" y="0"/>
                    <a:pt x="754" y="116"/>
                    <a:pt x="347" y="732"/>
                  </a:cubicBezTo>
                  <a:cubicBezTo>
                    <a:pt x="0" y="1257"/>
                    <a:pt x="25" y="2110"/>
                    <a:pt x="198" y="2836"/>
                  </a:cubicBezTo>
                  <a:cubicBezTo>
                    <a:pt x="553" y="1921"/>
                    <a:pt x="1522" y="1777"/>
                    <a:pt x="1952" y="1423"/>
                  </a:cubicBezTo>
                  <a:cubicBezTo>
                    <a:pt x="2346" y="1097"/>
                    <a:pt x="2320" y="515"/>
                    <a:pt x="1877"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3391" y="3857"/>
              <a:ext cx="97" cy="74"/>
            </a:xfrm>
            <a:custGeom>
              <a:avLst/>
              <a:gdLst>
                <a:gd name="T0" fmla="*/ 399 w 1646"/>
                <a:gd name="T1" fmla="*/ 1221 h 1246"/>
                <a:gd name="T2" fmla="*/ 1232 w 1646"/>
                <a:gd name="T3" fmla="*/ 946 h 1246"/>
                <a:gd name="T4" fmla="*/ 1558 w 1646"/>
                <a:gd name="T5" fmla="*/ 281 h 1246"/>
                <a:gd name="T6" fmla="*/ 866 w 1646"/>
                <a:gd name="T7" fmla="*/ 167 h 1246"/>
                <a:gd name="T8" fmla="*/ 135 w 1646"/>
                <a:gd name="T9" fmla="*/ 812 h 1246"/>
                <a:gd name="T10" fmla="*/ 45 w 1646"/>
                <a:gd name="T11" fmla="*/ 1146 h 1246"/>
                <a:gd name="T12" fmla="*/ 399 w 1646"/>
                <a:gd name="T13" fmla="*/ 1221 h 1246"/>
              </a:gdLst>
              <a:ahLst/>
              <a:cxnLst>
                <a:cxn ang="0">
                  <a:pos x="T0" y="T1"/>
                </a:cxn>
                <a:cxn ang="0">
                  <a:pos x="T2" y="T3"/>
                </a:cxn>
                <a:cxn ang="0">
                  <a:pos x="T4" y="T5"/>
                </a:cxn>
                <a:cxn ang="0">
                  <a:pos x="T6" y="T7"/>
                </a:cxn>
                <a:cxn ang="0">
                  <a:pos x="T8" y="T9"/>
                </a:cxn>
                <a:cxn ang="0">
                  <a:pos x="T10" y="T11"/>
                </a:cxn>
                <a:cxn ang="0">
                  <a:pos x="T12" y="T13"/>
                </a:cxn>
              </a:cxnLst>
              <a:rect l="0" t="0" r="r" b="b"/>
              <a:pathLst>
                <a:path w="1646" h="1246">
                  <a:moveTo>
                    <a:pt x="399" y="1221"/>
                  </a:moveTo>
                  <a:cubicBezTo>
                    <a:pt x="630" y="1195"/>
                    <a:pt x="954" y="1100"/>
                    <a:pt x="1232" y="946"/>
                  </a:cubicBezTo>
                  <a:cubicBezTo>
                    <a:pt x="1630" y="726"/>
                    <a:pt x="1646" y="459"/>
                    <a:pt x="1558" y="281"/>
                  </a:cubicBezTo>
                  <a:cubicBezTo>
                    <a:pt x="1459" y="81"/>
                    <a:pt x="1189" y="0"/>
                    <a:pt x="866" y="167"/>
                  </a:cubicBezTo>
                  <a:cubicBezTo>
                    <a:pt x="551" y="330"/>
                    <a:pt x="287" y="584"/>
                    <a:pt x="135" y="812"/>
                  </a:cubicBezTo>
                  <a:cubicBezTo>
                    <a:pt x="35" y="964"/>
                    <a:pt x="0" y="1069"/>
                    <a:pt x="45" y="1146"/>
                  </a:cubicBezTo>
                  <a:cubicBezTo>
                    <a:pt x="87" y="1219"/>
                    <a:pt x="183" y="1246"/>
                    <a:pt x="399" y="1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3235" y="3900"/>
              <a:ext cx="262" cy="116"/>
            </a:xfrm>
            <a:custGeom>
              <a:avLst/>
              <a:gdLst>
                <a:gd name="T0" fmla="*/ 647 w 4416"/>
                <a:gd name="T1" fmla="*/ 324 h 1943"/>
                <a:gd name="T2" fmla="*/ 169 w 4416"/>
                <a:gd name="T3" fmla="*/ 777 h 1943"/>
                <a:gd name="T4" fmla="*/ 1941 w 4416"/>
                <a:gd name="T5" fmla="*/ 1906 h 1943"/>
                <a:gd name="T6" fmla="*/ 4416 w 4416"/>
                <a:gd name="T7" fmla="*/ 193 h 1943"/>
                <a:gd name="T8" fmla="*/ 2422 w 4416"/>
                <a:gd name="T9" fmla="*/ 890 h 1943"/>
                <a:gd name="T10" fmla="*/ 647 w 4416"/>
                <a:gd name="T11" fmla="*/ 324 h 1943"/>
              </a:gdLst>
              <a:ahLst/>
              <a:cxnLst>
                <a:cxn ang="0">
                  <a:pos x="T0" y="T1"/>
                </a:cxn>
                <a:cxn ang="0">
                  <a:pos x="T2" y="T3"/>
                </a:cxn>
                <a:cxn ang="0">
                  <a:pos x="T4" y="T5"/>
                </a:cxn>
                <a:cxn ang="0">
                  <a:pos x="T6" y="T7"/>
                </a:cxn>
                <a:cxn ang="0">
                  <a:pos x="T8" y="T9"/>
                </a:cxn>
                <a:cxn ang="0">
                  <a:pos x="T10" y="T11"/>
                </a:cxn>
              </a:cxnLst>
              <a:rect l="0" t="0" r="r" b="b"/>
              <a:pathLst>
                <a:path w="4416" h="1943">
                  <a:moveTo>
                    <a:pt x="647" y="324"/>
                  </a:moveTo>
                  <a:cubicBezTo>
                    <a:pt x="160" y="0"/>
                    <a:pt x="0" y="335"/>
                    <a:pt x="169" y="777"/>
                  </a:cubicBezTo>
                  <a:cubicBezTo>
                    <a:pt x="423" y="1444"/>
                    <a:pt x="1102" y="1881"/>
                    <a:pt x="1941" y="1906"/>
                  </a:cubicBezTo>
                  <a:cubicBezTo>
                    <a:pt x="3194" y="1943"/>
                    <a:pt x="4101" y="1092"/>
                    <a:pt x="4416" y="193"/>
                  </a:cubicBezTo>
                  <a:cubicBezTo>
                    <a:pt x="4014" y="567"/>
                    <a:pt x="3326" y="913"/>
                    <a:pt x="2422" y="890"/>
                  </a:cubicBezTo>
                  <a:cubicBezTo>
                    <a:pt x="1832" y="875"/>
                    <a:pt x="1221" y="707"/>
                    <a:pt x="647"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3220" y="3747"/>
              <a:ext cx="147" cy="178"/>
            </a:xfrm>
            <a:custGeom>
              <a:avLst/>
              <a:gdLst>
                <a:gd name="T0" fmla="*/ 1220 w 2480"/>
                <a:gd name="T1" fmla="*/ 1524 h 3000"/>
                <a:gd name="T2" fmla="*/ 2475 w 2480"/>
                <a:gd name="T3" fmla="*/ 2898 h 3000"/>
                <a:gd name="T4" fmla="*/ 2085 w 2480"/>
                <a:gd name="T5" fmla="*/ 1226 h 3000"/>
                <a:gd name="T6" fmla="*/ 429 w 2480"/>
                <a:gd name="T7" fmla="*/ 314 h 3000"/>
                <a:gd name="T8" fmla="*/ 824 w 2480"/>
                <a:gd name="T9" fmla="*/ 2169 h 3000"/>
                <a:gd name="T10" fmla="*/ 2161 w 2480"/>
                <a:gd name="T11" fmla="*/ 3000 h 3000"/>
                <a:gd name="T12" fmla="*/ 1176 w 2480"/>
                <a:gd name="T13" fmla="*/ 1537 h 3000"/>
                <a:gd name="T14" fmla="*/ 1220 w 2480"/>
                <a:gd name="T15" fmla="*/ 1524 h 3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0" h="3000">
                  <a:moveTo>
                    <a:pt x="1220" y="1524"/>
                  </a:moveTo>
                  <a:cubicBezTo>
                    <a:pt x="1665" y="2130"/>
                    <a:pt x="2113" y="2617"/>
                    <a:pt x="2475" y="2898"/>
                  </a:cubicBezTo>
                  <a:cubicBezTo>
                    <a:pt x="2480" y="2419"/>
                    <a:pt x="2337" y="1683"/>
                    <a:pt x="2085" y="1226"/>
                  </a:cubicBezTo>
                  <a:cubicBezTo>
                    <a:pt x="1579" y="311"/>
                    <a:pt x="828" y="0"/>
                    <a:pt x="429" y="314"/>
                  </a:cubicBezTo>
                  <a:cubicBezTo>
                    <a:pt x="0" y="652"/>
                    <a:pt x="256" y="1559"/>
                    <a:pt x="824" y="2169"/>
                  </a:cubicBezTo>
                  <a:cubicBezTo>
                    <a:pt x="1260" y="2638"/>
                    <a:pt x="1766" y="2907"/>
                    <a:pt x="2161" y="3000"/>
                  </a:cubicBezTo>
                  <a:cubicBezTo>
                    <a:pt x="1749" y="2664"/>
                    <a:pt x="1295" y="1923"/>
                    <a:pt x="1176" y="1537"/>
                  </a:cubicBezTo>
                  <a:cubicBezTo>
                    <a:pt x="1156" y="1470"/>
                    <a:pt x="1182" y="1471"/>
                    <a:pt x="1220" y="15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4259" y="3774"/>
              <a:ext cx="128" cy="189"/>
            </a:xfrm>
            <a:custGeom>
              <a:avLst/>
              <a:gdLst>
                <a:gd name="T0" fmla="*/ 1678 w 2160"/>
                <a:gd name="T1" fmla="*/ 0 h 3187"/>
                <a:gd name="T2" fmla="*/ 1678 w 2160"/>
                <a:gd name="T3" fmla="*/ 1237 h 3187"/>
                <a:gd name="T4" fmla="*/ 1030 w 2160"/>
                <a:gd name="T5" fmla="*/ 986 h 3187"/>
                <a:gd name="T6" fmla="*/ 0 w 2160"/>
                <a:gd name="T7" fmla="*/ 2089 h 3187"/>
                <a:gd name="T8" fmla="*/ 1030 w 2160"/>
                <a:gd name="T9" fmla="*/ 3187 h 3187"/>
                <a:gd name="T10" fmla="*/ 1703 w 2160"/>
                <a:gd name="T11" fmla="*/ 2910 h 3187"/>
                <a:gd name="T12" fmla="*/ 1743 w 2160"/>
                <a:gd name="T13" fmla="*/ 3142 h 3187"/>
                <a:gd name="T14" fmla="*/ 2160 w 2160"/>
                <a:gd name="T15" fmla="*/ 3142 h 3187"/>
                <a:gd name="T16" fmla="*/ 2160 w 2160"/>
                <a:gd name="T17" fmla="*/ 0 h 3187"/>
                <a:gd name="T18" fmla="*/ 1678 w 2160"/>
                <a:gd name="T19" fmla="*/ 0 h 3187"/>
                <a:gd name="T20" fmla="*/ 1093 w 2160"/>
                <a:gd name="T21" fmla="*/ 2751 h 3187"/>
                <a:gd name="T22" fmla="*/ 482 w 2160"/>
                <a:gd name="T23" fmla="*/ 2089 h 3187"/>
                <a:gd name="T24" fmla="*/ 1093 w 2160"/>
                <a:gd name="T25" fmla="*/ 1422 h 3187"/>
                <a:gd name="T26" fmla="*/ 1710 w 2160"/>
                <a:gd name="T27" fmla="*/ 2089 h 3187"/>
                <a:gd name="T28" fmla="*/ 1093 w 2160"/>
                <a:gd name="T29" fmla="*/ 275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0" h="3187">
                  <a:moveTo>
                    <a:pt x="1678" y="0"/>
                  </a:moveTo>
                  <a:cubicBezTo>
                    <a:pt x="1678" y="1237"/>
                    <a:pt x="1678" y="1237"/>
                    <a:pt x="1678" y="1237"/>
                  </a:cubicBezTo>
                  <a:cubicBezTo>
                    <a:pt x="1514" y="1072"/>
                    <a:pt x="1284" y="986"/>
                    <a:pt x="1030" y="986"/>
                  </a:cubicBezTo>
                  <a:cubicBezTo>
                    <a:pt x="443" y="986"/>
                    <a:pt x="0" y="1460"/>
                    <a:pt x="0" y="2089"/>
                  </a:cubicBezTo>
                  <a:cubicBezTo>
                    <a:pt x="0" y="2715"/>
                    <a:pt x="443" y="3187"/>
                    <a:pt x="1030" y="3187"/>
                  </a:cubicBezTo>
                  <a:cubicBezTo>
                    <a:pt x="1297" y="3187"/>
                    <a:pt x="1536" y="3093"/>
                    <a:pt x="1703" y="2910"/>
                  </a:cubicBezTo>
                  <a:cubicBezTo>
                    <a:pt x="1743" y="3142"/>
                    <a:pt x="1743" y="3142"/>
                    <a:pt x="1743" y="3142"/>
                  </a:cubicBezTo>
                  <a:cubicBezTo>
                    <a:pt x="2160" y="3142"/>
                    <a:pt x="2160" y="3142"/>
                    <a:pt x="2160" y="3142"/>
                  </a:cubicBezTo>
                  <a:cubicBezTo>
                    <a:pt x="2160" y="0"/>
                    <a:pt x="2160" y="0"/>
                    <a:pt x="2160" y="0"/>
                  </a:cubicBezTo>
                  <a:lnTo>
                    <a:pt x="1678" y="0"/>
                  </a:lnTo>
                  <a:close/>
                  <a:moveTo>
                    <a:pt x="1093" y="2751"/>
                  </a:moveTo>
                  <a:cubicBezTo>
                    <a:pt x="745" y="2751"/>
                    <a:pt x="482" y="2466"/>
                    <a:pt x="482" y="2089"/>
                  </a:cubicBezTo>
                  <a:cubicBezTo>
                    <a:pt x="482" y="1709"/>
                    <a:pt x="745" y="1422"/>
                    <a:pt x="1093" y="1422"/>
                  </a:cubicBezTo>
                  <a:cubicBezTo>
                    <a:pt x="1445" y="1422"/>
                    <a:pt x="1710" y="1709"/>
                    <a:pt x="1710" y="2089"/>
                  </a:cubicBezTo>
                  <a:cubicBezTo>
                    <a:pt x="1710" y="2466"/>
                    <a:pt x="1445" y="2751"/>
                    <a:pt x="1093" y="27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noEditPoints="1"/>
            </p:cNvSpPr>
            <p:nvPr userDrawn="1"/>
          </p:nvSpPr>
          <p:spPr bwMode="auto">
            <a:xfrm>
              <a:off x="3769" y="3832"/>
              <a:ext cx="128" cy="182"/>
            </a:xfrm>
            <a:custGeom>
              <a:avLst/>
              <a:gdLst>
                <a:gd name="T0" fmla="*/ 482 w 2161"/>
                <a:gd name="T1" fmla="*/ 1949 h 3066"/>
                <a:gd name="T2" fmla="*/ 1131 w 2161"/>
                <a:gd name="T3" fmla="*/ 2202 h 3066"/>
                <a:gd name="T4" fmla="*/ 2161 w 2161"/>
                <a:gd name="T5" fmla="*/ 1099 h 3066"/>
                <a:gd name="T6" fmla="*/ 1131 w 2161"/>
                <a:gd name="T7" fmla="*/ 0 h 3066"/>
                <a:gd name="T8" fmla="*/ 457 w 2161"/>
                <a:gd name="T9" fmla="*/ 280 h 3066"/>
                <a:gd name="T10" fmla="*/ 418 w 2161"/>
                <a:gd name="T11" fmla="*/ 46 h 3066"/>
                <a:gd name="T12" fmla="*/ 0 w 2161"/>
                <a:gd name="T13" fmla="*/ 46 h 3066"/>
                <a:gd name="T14" fmla="*/ 0 w 2161"/>
                <a:gd name="T15" fmla="*/ 3066 h 3066"/>
                <a:gd name="T16" fmla="*/ 482 w 2161"/>
                <a:gd name="T17" fmla="*/ 3066 h 3066"/>
                <a:gd name="T18" fmla="*/ 482 w 2161"/>
                <a:gd name="T19" fmla="*/ 1949 h 3066"/>
                <a:gd name="T20" fmla="*/ 450 w 2161"/>
                <a:gd name="T21" fmla="*/ 1099 h 3066"/>
                <a:gd name="T22" fmla="*/ 1067 w 2161"/>
                <a:gd name="T23" fmla="*/ 437 h 3066"/>
                <a:gd name="T24" fmla="*/ 1679 w 2161"/>
                <a:gd name="T25" fmla="*/ 1099 h 3066"/>
                <a:gd name="T26" fmla="*/ 1067 w 2161"/>
                <a:gd name="T27" fmla="*/ 1765 h 3066"/>
                <a:gd name="T28" fmla="*/ 450 w 2161"/>
                <a:gd name="T29" fmla="*/ 1099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1" h="3066">
                  <a:moveTo>
                    <a:pt x="482" y="1949"/>
                  </a:moveTo>
                  <a:cubicBezTo>
                    <a:pt x="648" y="2119"/>
                    <a:pt x="880" y="2202"/>
                    <a:pt x="1131" y="2202"/>
                  </a:cubicBezTo>
                  <a:cubicBezTo>
                    <a:pt x="1718" y="2202"/>
                    <a:pt x="2161" y="1728"/>
                    <a:pt x="2161" y="1099"/>
                  </a:cubicBezTo>
                  <a:cubicBezTo>
                    <a:pt x="2161" y="473"/>
                    <a:pt x="1718" y="0"/>
                    <a:pt x="1131" y="0"/>
                  </a:cubicBezTo>
                  <a:cubicBezTo>
                    <a:pt x="870" y="0"/>
                    <a:pt x="626" y="90"/>
                    <a:pt x="457" y="280"/>
                  </a:cubicBezTo>
                  <a:cubicBezTo>
                    <a:pt x="418" y="46"/>
                    <a:pt x="418" y="46"/>
                    <a:pt x="418" y="46"/>
                  </a:cubicBezTo>
                  <a:cubicBezTo>
                    <a:pt x="0" y="46"/>
                    <a:pt x="0" y="46"/>
                    <a:pt x="0" y="46"/>
                  </a:cubicBezTo>
                  <a:cubicBezTo>
                    <a:pt x="0" y="3066"/>
                    <a:pt x="0" y="3066"/>
                    <a:pt x="0" y="3066"/>
                  </a:cubicBezTo>
                  <a:cubicBezTo>
                    <a:pt x="482" y="3066"/>
                    <a:pt x="482" y="3066"/>
                    <a:pt x="482" y="3066"/>
                  </a:cubicBezTo>
                  <a:lnTo>
                    <a:pt x="482" y="1949"/>
                  </a:lnTo>
                  <a:close/>
                  <a:moveTo>
                    <a:pt x="450" y="1099"/>
                  </a:moveTo>
                  <a:cubicBezTo>
                    <a:pt x="450" y="722"/>
                    <a:pt x="715" y="437"/>
                    <a:pt x="1067" y="437"/>
                  </a:cubicBezTo>
                  <a:cubicBezTo>
                    <a:pt x="1416" y="437"/>
                    <a:pt x="1679" y="722"/>
                    <a:pt x="1679" y="1099"/>
                  </a:cubicBezTo>
                  <a:cubicBezTo>
                    <a:pt x="1679" y="1479"/>
                    <a:pt x="1416" y="1765"/>
                    <a:pt x="1067" y="1765"/>
                  </a:cubicBezTo>
                  <a:cubicBezTo>
                    <a:pt x="715" y="1765"/>
                    <a:pt x="450" y="1479"/>
                    <a:pt x="450" y="10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3587" y="3774"/>
              <a:ext cx="153" cy="189"/>
            </a:xfrm>
            <a:custGeom>
              <a:avLst/>
              <a:gdLst>
                <a:gd name="T0" fmla="*/ 2585 w 2585"/>
                <a:gd name="T1" fmla="*/ 0 h 3187"/>
                <a:gd name="T2" fmla="*/ 2085 w 2585"/>
                <a:gd name="T3" fmla="*/ 0 h 3187"/>
                <a:gd name="T4" fmla="*/ 2085 w 2585"/>
                <a:gd name="T5" fmla="*/ 1889 h 3187"/>
                <a:gd name="T6" fmla="*/ 1290 w 2585"/>
                <a:gd name="T7" fmla="*/ 2724 h 3187"/>
                <a:gd name="T8" fmla="*/ 500 w 2585"/>
                <a:gd name="T9" fmla="*/ 1889 h 3187"/>
                <a:gd name="T10" fmla="*/ 500 w 2585"/>
                <a:gd name="T11" fmla="*/ 0 h 3187"/>
                <a:gd name="T12" fmla="*/ 0 w 2585"/>
                <a:gd name="T13" fmla="*/ 0 h 3187"/>
                <a:gd name="T14" fmla="*/ 0 w 2585"/>
                <a:gd name="T15" fmla="*/ 1898 h 3187"/>
                <a:gd name="T16" fmla="*/ 1290 w 2585"/>
                <a:gd name="T17" fmla="*/ 3187 h 3187"/>
                <a:gd name="T18" fmla="*/ 2585 w 2585"/>
                <a:gd name="T19" fmla="*/ 1898 h 3187"/>
                <a:gd name="T20" fmla="*/ 2585 w 2585"/>
                <a:gd name="T21" fmla="*/ 0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5" h="3187">
                  <a:moveTo>
                    <a:pt x="2585" y="0"/>
                  </a:moveTo>
                  <a:cubicBezTo>
                    <a:pt x="2085" y="0"/>
                    <a:pt x="2085" y="0"/>
                    <a:pt x="2085" y="0"/>
                  </a:cubicBezTo>
                  <a:cubicBezTo>
                    <a:pt x="2085" y="1889"/>
                    <a:pt x="2085" y="1889"/>
                    <a:pt x="2085" y="1889"/>
                  </a:cubicBezTo>
                  <a:cubicBezTo>
                    <a:pt x="2085" y="2420"/>
                    <a:pt x="1740" y="2724"/>
                    <a:pt x="1290" y="2724"/>
                  </a:cubicBezTo>
                  <a:cubicBezTo>
                    <a:pt x="841" y="2724"/>
                    <a:pt x="500" y="2420"/>
                    <a:pt x="500" y="1889"/>
                  </a:cubicBezTo>
                  <a:cubicBezTo>
                    <a:pt x="500" y="0"/>
                    <a:pt x="500" y="0"/>
                    <a:pt x="500" y="0"/>
                  </a:cubicBezTo>
                  <a:cubicBezTo>
                    <a:pt x="0" y="0"/>
                    <a:pt x="0" y="0"/>
                    <a:pt x="0" y="0"/>
                  </a:cubicBezTo>
                  <a:cubicBezTo>
                    <a:pt x="0" y="1898"/>
                    <a:pt x="0" y="1898"/>
                    <a:pt x="0" y="1898"/>
                  </a:cubicBezTo>
                  <a:cubicBezTo>
                    <a:pt x="0" y="2693"/>
                    <a:pt x="545" y="3187"/>
                    <a:pt x="1290" y="3187"/>
                  </a:cubicBezTo>
                  <a:cubicBezTo>
                    <a:pt x="2024" y="3187"/>
                    <a:pt x="2585" y="2681"/>
                    <a:pt x="2585" y="1898"/>
                  </a:cubicBezTo>
                  <a:lnTo>
                    <a:pt x="25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2"/>
            <p:cNvSpPr>
              <a:spLocks noChangeArrowheads="1"/>
            </p:cNvSpPr>
            <p:nvPr userDrawn="1"/>
          </p:nvSpPr>
          <p:spPr bwMode="auto">
            <a:xfrm>
              <a:off x="4205" y="3774"/>
              <a:ext cx="29" cy="18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noEditPoints="1"/>
            </p:cNvSpPr>
            <p:nvPr userDrawn="1"/>
          </p:nvSpPr>
          <p:spPr bwMode="auto">
            <a:xfrm>
              <a:off x="4063" y="3832"/>
              <a:ext cx="117" cy="131"/>
            </a:xfrm>
            <a:custGeom>
              <a:avLst/>
              <a:gdLst>
                <a:gd name="T0" fmla="*/ 1724 w 1970"/>
                <a:gd name="T1" fmla="*/ 208 h 2200"/>
                <a:gd name="T2" fmla="*/ 1068 w 1970"/>
                <a:gd name="T3" fmla="*/ 0 h 2200"/>
                <a:gd name="T4" fmla="*/ 0 w 1970"/>
                <a:gd name="T5" fmla="*/ 1111 h 2200"/>
                <a:gd name="T6" fmla="*/ 1098 w 1970"/>
                <a:gd name="T7" fmla="*/ 2200 h 2200"/>
                <a:gd name="T8" fmla="*/ 1970 w 1970"/>
                <a:gd name="T9" fmla="*/ 1850 h 2200"/>
                <a:gd name="T10" fmla="*/ 1679 w 1970"/>
                <a:gd name="T11" fmla="*/ 1530 h 2200"/>
                <a:gd name="T12" fmla="*/ 1099 w 1970"/>
                <a:gd name="T13" fmla="*/ 1776 h 2200"/>
                <a:gd name="T14" fmla="*/ 480 w 1970"/>
                <a:gd name="T15" fmla="*/ 1290 h 2200"/>
                <a:gd name="T16" fmla="*/ 1038 w 1970"/>
                <a:gd name="T17" fmla="*/ 1382 h 2200"/>
                <a:gd name="T18" fmla="*/ 1965 w 1970"/>
                <a:gd name="T19" fmla="*/ 728 h 2200"/>
                <a:gd name="T20" fmla="*/ 1724 w 1970"/>
                <a:gd name="T21" fmla="*/ 208 h 2200"/>
                <a:gd name="T22" fmla="*/ 1000 w 1970"/>
                <a:gd name="T23" fmla="*/ 987 h 2200"/>
                <a:gd name="T24" fmla="*/ 983 w 1970"/>
                <a:gd name="T25" fmla="*/ 987 h 2200"/>
                <a:gd name="T26" fmla="*/ 488 w 1970"/>
                <a:gd name="T27" fmla="*/ 915 h 2200"/>
                <a:gd name="T28" fmla="*/ 1055 w 1970"/>
                <a:gd name="T29" fmla="*/ 427 h 2200"/>
                <a:gd name="T30" fmla="*/ 1057 w 1970"/>
                <a:gd name="T31" fmla="*/ 427 h 2200"/>
                <a:gd name="T32" fmla="*/ 1482 w 1970"/>
                <a:gd name="T33" fmla="*/ 713 h 2200"/>
                <a:gd name="T34" fmla="*/ 1000 w 1970"/>
                <a:gd name="T35" fmla="*/ 98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0" h="2200">
                  <a:moveTo>
                    <a:pt x="1724" y="208"/>
                  </a:moveTo>
                  <a:cubicBezTo>
                    <a:pt x="1561" y="72"/>
                    <a:pt x="1334" y="0"/>
                    <a:pt x="1068" y="0"/>
                  </a:cubicBezTo>
                  <a:cubicBezTo>
                    <a:pt x="550" y="0"/>
                    <a:pt x="0" y="389"/>
                    <a:pt x="0" y="1111"/>
                  </a:cubicBezTo>
                  <a:cubicBezTo>
                    <a:pt x="0" y="1773"/>
                    <a:pt x="431" y="2200"/>
                    <a:pt x="1098" y="2200"/>
                  </a:cubicBezTo>
                  <a:cubicBezTo>
                    <a:pt x="1452" y="2200"/>
                    <a:pt x="1721" y="2092"/>
                    <a:pt x="1970" y="1850"/>
                  </a:cubicBezTo>
                  <a:cubicBezTo>
                    <a:pt x="1679" y="1530"/>
                    <a:pt x="1679" y="1530"/>
                    <a:pt x="1679" y="1530"/>
                  </a:cubicBezTo>
                  <a:cubicBezTo>
                    <a:pt x="1510" y="1695"/>
                    <a:pt x="1320" y="1776"/>
                    <a:pt x="1099" y="1776"/>
                  </a:cubicBezTo>
                  <a:cubicBezTo>
                    <a:pt x="767" y="1776"/>
                    <a:pt x="524" y="1578"/>
                    <a:pt x="480" y="1290"/>
                  </a:cubicBezTo>
                  <a:cubicBezTo>
                    <a:pt x="658" y="1356"/>
                    <a:pt x="854" y="1382"/>
                    <a:pt x="1038" y="1382"/>
                  </a:cubicBezTo>
                  <a:cubicBezTo>
                    <a:pt x="1619" y="1382"/>
                    <a:pt x="1965" y="1138"/>
                    <a:pt x="1965" y="728"/>
                  </a:cubicBezTo>
                  <a:cubicBezTo>
                    <a:pt x="1965" y="523"/>
                    <a:pt x="1879" y="339"/>
                    <a:pt x="1724" y="208"/>
                  </a:cubicBezTo>
                  <a:close/>
                  <a:moveTo>
                    <a:pt x="1000" y="987"/>
                  </a:moveTo>
                  <a:cubicBezTo>
                    <a:pt x="994" y="987"/>
                    <a:pt x="989" y="987"/>
                    <a:pt x="983" y="987"/>
                  </a:cubicBezTo>
                  <a:cubicBezTo>
                    <a:pt x="809" y="987"/>
                    <a:pt x="620" y="961"/>
                    <a:pt x="488" y="915"/>
                  </a:cubicBezTo>
                  <a:cubicBezTo>
                    <a:pt x="536" y="633"/>
                    <a:pt x="768" y="427"/>
                    <a:pt x="1055" y="427"/>
                  </a:cubicBezTo>
                  <a:cubicBezTo>
                    <a:pt x="1057" y="427"/>
                    <a:pt x="1057" y="427"/>
                    <a:pt x="1057" y="427"/>
                  </a:cubicBezTo>
                  <a:cubicBezTo>
                    <a:pt x="1311" y="427"/>
                    <a:pt x="1482" y="542"/>
                    <a:pt x="1482" y="713"/>
                  </a:cubicBezTo>
                  <a:cubicBezTo>
                    <a:pt x="1482" y="892"/>
                    <a:pt x="1320" y="984"/>
                    <a:pt x="1000" y="9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14"/>
            <p:cNvSpPr>
              <a:spLocks noChangeArrowheads="1"/>
            </p:cNvSpPr>
            <p:nvPr userDrawn="1"/>
          </p:nvSpPr>
          <p:spPr bwMode="auto">
            <a:xfrm>
              <a:off x="4009" y="3835"/>
              <a:ext cx="29" cy="1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3905" y="3763"/>
              <a:ext cx="132" cy="197"/>
            </a:xfrm>
            <a:custGeom>
              <a:avLst/>
              <a:gdLst>
                <a:gd name="T0" fmla="*/ 1979 w 2223"/>
                <a:gd name="T1" fmla="*/ 261 h 3316"/>
                <a:gd name="T2" fmla="*/ 1320 w 2223"/>
                <a:gd name="T3" fmla="*/ 0 h 3316"/>
                <a:gd name="T4" fmla="*/ 685 w 2223"/>
                <a:gd name="T5" fmla="*/ 256 h 3316"/>
                <a:gd name="T6" fmla="*/ 424 w 2223"/>
                <a:gd name="T7" fmla="*/ 1056 h 3316"/>
                <a:gd name="T8" fmla="*/ 424 w 2223"/>
                <a:gd name="T9" fmla="*/ 1205 h 3316"/>
                <a:gd name="T10" fmla="*/ 0 w 2223"/>
                <a:gd name="T11" fmla="*/ 1205 h 3316"/>
                <a:gd name="T12" fmla="*/ 0 w 2223"/>
                <a:gd name="T13" fmla="*/ 1630 h 3316"/>
                <a:gd name="T14" fmla="*/ 424 w 2223"/>
                <a:gd name="T15" fmla="*/ 1630 h 3316"/>
                <a:gd name="T16" fmla="*/ 424 w 2223"/>
                <a:gd name="T17" fmla="*/ 3316 h 3316"/>
                <a:gd name="T18" fmla="*/ 906 w 2223"/>
                <a:gd name="T19" fmla="*/ 3316 h 3316"/>
                <a:gd name="T20" fmla="*/ 906 w 2223"/>
                <a:gd name="T21" fmla="*/ 1630 h 3316"/>
                <a:gd name="T22" fmla="*/ 1359 w 2223"/>
                <a:gd name="T23" fmla="*/ 1630 h 3316"/>
                <a:gd name="T24" fmla="*/ 1359 w 2223"/>
                <a:gd name="T25" fmla="*/ 1205 h 3316"/>
                <a:gd name="T26" fmla="*/ 906 w 2223"/>
                <a:gd name="T27" fmla="*/ 1205 h 3316"/>
                <a:gd name="T28" fmla="*/ 906 w 2223"/>
                <a:gd name="T29" fmla="*/ 981 h 3316"/>
                <a:gd name="T30" fmla="*/ 1032 w 2223"/>
                <a:gd name="T31" fmla="*/ 553 h 3316"/>
                <a:gd name="T32" fmla="*/ 1329 w 2223"/>
                <a:gd name="T33" fmla="*/ 436 h 3316"/>
                <a:gd name="T34" fmla="*/ 1616 w 2223"/>
                <a:gd name="T35" fmla="*/ 543 h 3316"/>
                <a:gd name="T36" fmla="*/ 1745 w 2223"/>
                <a:gd name="T37" fmla="*/ 821 h 3316"/>
                <a:gd name="T38" fmla="*/ 2223 w 2223"/>
                <a:gd name="T39" fmla="*/ 821 h 3316"/>
                <a:gd name="T40" fmla="*/ 1979 w 2223"/>
                <a:gd name="T41" fmla="*/ 261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23" h="3316">
                  <a:moveTo>
                    <a:pt x="1979" y="261"/>
                  </a:moveTo>
                  <a:cubicBezTo>
                    <a:pt x="1819" y="93"/>
                    <a:pt x="1604" y="0"/>
                    <a:pt x="1320" y="0"/>
                  </a:cubicBezTo>
                  <a:cubicBezTo>
                    <a:pt x="1060" y="0"/>
                    <a:pt x="838" y="94"/>
                    <a:pt x="685" y="256"/>
                  </a:cubicBezTo>
                  <a:cubicBezTo>
                    <a:pt x="498" y="453"/>
                    <a:pt x="424" y="680"/>
                    <a:pt x="424" y="1056"/>
                  </a:cubicBezTo>
                  <a:cubicBezTo>
                    <a:pt x="424" y="1157"/>
                    <a:pt x="424" y="1200"/>
                    <a:pt x="424" y="1205"/>
                  </a:cubicBezTo>
                  <a:cubicBezTo>
                    <a:pt x="0" y="1205"/>
                    <a:pt x="0" y="1205"/>
                    <a:pt x="0" y="1205"/>
                  </a:cubicBezTo>
                  <a:cubicBezTo>
                    <a:pt x="0" y="1630"/>
                    <a:pt x="0" y="1630"/>
                    <a:pt x="0" y="1630"/>
                  </a:cubicBezTo>
                  <a:cubicBezTo>
                    <a:pt x="424" y="1630"/>
                    <a:pt x="424" y="1630"/>
                    <a:pt x="424" y="1630"/>
                  </a:cubicBezTo>
                  <a:cubicBezTo>
                    <a:pt x="424" y="3316"/>
                    <a:pt x="424" y="3316"/>
                    <a:pt x="424" y="3316"/>
                  </a:cubicBezTo>
                  <a:cubicBezTo>
                    <a:pt x="906" y="3316"/>
                    <a:pt x="906" y="3316"/>
                    <a:pt x="906" y="3316"/>
                  </a:cubicBezTo>
                  <a:cubicBezTo>
                    <a:pt x="906" y="1630"/>
                    <a:pt x="906" y="1630"/>
                    <a:pt x="906" y="1630"/>
                  </a:cubicBezTo>
                  <a:cubicBezTo>
                    <a:pt x="1359" y="1630"/>
                    <a:pt x="1359" y="1630"/>
                    <a:pt x="1359" y="1630"/>
                  </a:cubicBezTo>
                  <a:cubicBezTo>
                    <a:pt x="1359" y="1205"/>
                    <a:pt x="1359" y="1205"/>
                    <a:pt x="1359" y="1205"/>
                  </a:cubicBezTo>
                  <a:cubicBezTo>
                    <a:pt x="906" y="1205"/>
                    <a:pt x="906" y="1205"/>
                    <a:pt x="906" y="1205"/>
                  </a:cubicBezTo>
                  <a:cubicBezTo>
                    <a:pt x="906" y="1200"/>
                    <a:pt x="906" y="1014"/>
                    <a:pt x="906" y="981"/>
                  </a:cubicBezTo>
                  <a:cubicBezTo>
                    <a:pt x="906" y="783"/>
                    <a:pt x="930" y="658"/>
                    <a:pt x="1032" y="553"/>
                  </a:cubicBezTo>
                  <a:cubicBezTo>
                    <a:pt x="1100" y="484"/>
                    <a:pt x="1204" y="436"/>
                    <a:pt x="1329" y="436"/>
                  </a:cubicBezTo>
                  <a:cubicBezTo>
                    <a:pt x="1442" y="436"/>
                    <a:pt x="1546" y="475"/>
                    <a:pt x="1616" y="543"/>
                  </a:cubicBezTo>
                  <a:cubicBezTo>
                    <a:pt x="1693" y="618"/>
                    <a:pt x="1732" y="703"/>
                    <a:pt x="1745" y="821"/>
                  </a:cubicBezTo>
                  <a:cubicBezTo>
                    <a:pt x="2223" y="821"/>
                    <a:pt x="2223" y="821"/>
                    <a:pt x="2223" y="821"/>
                  </a:cubicBezTo>
                  <a:cubicBezTo>
                    <a:pt x="2199" y="606"/>
                    <a:pt x="2128" y="418"/>
                    <a:pt x="1979" y="2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
            <p:cNvSpPr>
              <a:spLocks noEditPoints="1"/>
            </p:cNvSpPr>
            <p:nvPr userDrawn="1"/>
          </p:nvSpPr>
          <p:spPr bwMode="auto">
            <a:xfrm>
              <a:off x="4402" y="3774"/>
              <a:ext cx="44" cy="21"/>
            </a:xfrm>
            <a:custGeom>
              <a:avLst/>
              <a:gdLst>
                <a:gd name="T0" fmla="*/ 0 w 44"/>
                <a:gd name="T1" fmla="*/ 3 h 21"/>
                <a:gd name="T2" fmla="*/ 0 w 44"/>
                <a:gd name="T3" fmla="*/ 0 h 21"/>
                <a:gd name="T4" fmla="*/ 18 w 44"/>
                <a:gd name="T5" fmla="*/ 0 h 21"/>
                <a:gd name="T6" fmla="*/ 18 w 44"/>
                <a:gd name="T7" fmla="*/ 3 h 21"/>
                <a:gd name="T8" fmla="*/ 11 w 44"/>
                <a:gd name="T9" fmla="*/ 3 h 21"/>
                <a:gd name="T10" fmla="*/ 11 w 44"/>
                <a:gd name="T11" fmla="*/ 21 h 21"/>
                <a:gd name="T12" fmla="*/ 7 w 44"/>
                <a:gd name="T13" fmla="*/ 21 h 21"/>
                <a:gd name="T14" fmla="*/ 7 w 44"/>
                <a:gd name="T15" fmla="*/ 3 h 21"/>
                <a:gd name="T16" fmla="*/ 0 w 44"/>
                <a:gd name="T17" fmla="*/ 3 h 21"/>
                <a:gd name="T18" fmla="*/ 28 w 44"/>
                <a:gd name="T19" fmla="*/ 0 h 21"/>
                <a:gd name="T20" fmla="*/ 33 w 44"/>
                <a:gd name="T21" fmla="*/ 15 h 21"/>
                <a:gd name="T22" fmla="*/ 38 w 44"/>
                <a:gd name="T23" fmla="*/ 0 h 21"/>
                <a:gd name="T24" fmla="*/ 44 w 44"/>
                <a:gd name="T25" fmla="*/ 0 h 21"/>
                <a:gd name="T26" fmla="*/ 44 w 44"/>
                <a:gd name="T27" fmla="*/ 21 h 21"/>
                <a:gd name="T28" fmla="*/ 40 w 44"/>
                <a:gd name="T29" fmla="*/ 21 h 21"/>
                <a:gd name="T30" fmla="*/ 40 w 44"/>
                <a:gd name="T31" fmla="*/ 4 h 21"/>
                <a:gd name="T32" fmla="*/ 34 w 44"/>
                <a:gd name="T33" fmla="*/ 21 h 21"/>
                <a:gd name="T34" fmla="*/ 31 w 44"/>
                <a:gd name="T35" fmla="*/ 21 h 21"/>
                <a:gd name="T36" fmla="*/ 25 w 44"/>
                <a:gd name="T37" fmla="*/ 4 h 21"/>
                <a:gd name="T38" fmla="*/ 25 w 44"/>
                <a:gd name="T39" fmla="*/ 21 h 21"/>
                <a:gd name="T40" fmla="*/ 22 w 44"/>
                <a:gd name="T41" fmla="*/ 21 h 21"/>
                <a:gd name="T42" fmla="*/ 22 w 44"/>
                <a:gd name="T43" fmla="*/ 0 h 21"/>
                <a:gd name="T44" fmla="*/ 28 w 44"/>
                <a:gd name="T4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21">
                  <a:moveTo>
                    <a:pt x="0" y="3"/>
                  </a:moveTo>
                  <a:lnTo>
                    <a:pt x="0" y="0"/>
                  </a:lnTo>
                  <a:lnTo>
                    <a:pt x="18" y="0"/>
                  </a:lnTo>
                  <a:lnTo>
                    <a:pt x="18" y="3"/>
                  </a:lnTo>
                  <a:lnTo>
                    <a:pt x="11" y="3"/>
                  </a:lnTo>
                  <a:lnTo>
                    <a:pt x="11" y="21"/>
                  </a:lnTo>
                  <a:lnTo>
                    <a:pt x="7" y="21"/>
                  </a:lnTo>
                  <a:lnTo>
                    <a:pt x="7" y="3"/>
                  </a:lnTo>
                  <a:lnTo>
                    <a:pt x="0" y="3"/>
                  </a:lnTo>
                  <a:close/>
                  <a:moveTo>
                    <a:pt x="28" y="0"/>
                  </a:moveTo>
                  <a:lnTo>
                    <a:pt x="33" y="15"/>
                  </a:lnTo>
                  <a:lnTo>
                    <a:pt x="38" y="0"/>
                  </a:lnTo>
                  <a:lnTo>
                    <a:pt x="44" y="0"/>
                  </a:lnTo>
                  <a:lnTo>
                    <a:pt x="44" y="21"/>
                  </a:lnTo>
                  <a:lnTo>
                    <a:pt x="40" y="21"/>
                  </a:lnTo>
                  <a:lnTo>
                    <a:pt x="40" y="4"/>
                  </a:lnTo>
                  <a:lnTo>
                    <a:pt x="34" y="21"/>
                  </a:lnTo>
                  <a:lnTo>
                    <a:pt x="31" y="21"/>
                  </a:lnTo>
                  <a:lnTo>
                    <a:pt x="25" y="4"/>
                  </a:lnTo>
                  <a:lnTo>
                    <a:pt x="25" y="21"/>
                  </a:lnTo>
                  <a:lnTo>
                    <a:pt x="22" y="21"/>
                  </a:lnTo>
                  <a:lnTo>
                    <a:pt x="22" y="0"/>
                  </a:lnTo>
                  <a:lnTo>
                    <a:pt x="2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 name="Title 1"/>
          <p:cNvSpPr>
            <a:spLocks noGrp="1"/>
          </p:cNvSpPr>
          <p:nvPr>
            <p:ph type="ctrTitle"/>
          </p:nvPr>
        </p:nvSpPr>
        <p:spPr>
          <a:xfrm>
            <a:off x="3189288" y="3860802"/>
            <a:ext cx="8559800" cy="1609969"/>
          </a:xfrm>
        </p:spPr>
        <p:txBody>
          <a:bodyPr anchor="t" anchorCtr="0">
            <a:normAutofit/>
          </a:bodyPr>
          <a:lstStyle>
            <a:lvl1pPr algn="l">
              <a:lnSpc>
                <a:spcPct val="87000"/>
              </a:lnSpc>
              <a:defRPr sz="4000"/>
            </a:lvl1pPr>
          </a:lstStyle>
          <a:p>
            <a:r>
              <a:rPr lang="en-US"/>
              <a:t>Click to edit Master title style</a:t>
            </a:r>
            <a:endParaRPr lang="en-GB"/>
          </a:p>
        </p:txBody>
      </p:sp>
    </p:spTree>
    <p:extLst>
      <p:ext uri="{BB962C8B-B14F-4D97-AF65-F5344CB8AC3E}">
        <p14:creationId xmlns:p14="http://schemas.microsoft.com/office/powerpoint/2010/main" val="22664836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User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1EF753-1643-CC4A-BC08-3966F84D4D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108" r="20096" b="19291"/>
          <a:stretch/>
        </p:blipFill>
        <p:spPr>
          <a:xfrm flipH="1">
            <a:off x="4216400" y="-1"/>
            <a:ext cx="7975600" cy="6858001"/>
          </a:xfrm>
          <a:prstGeom prst="rect">
            <a:avLst/>
          </a:prstGeom>
        </p:spPr>
      </p:pic>
      <p:pic>
        <p:nvPicPr>
          <p:cNvPr id="10" name="Graphic 9">
            <a:extLst>
              <a:ext uri="{FF2B5EF4-FFF2-40B4-BE49-F238E27FC236}">
                <a16:creationId xmlns:a16="http://schemas.microsoft.com/office/drawing/2014/main" id="{129C7400-C7F4-42AB-93DC-A8F5E8F7F17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9157" y="5707336"/>
            <a:ext cx="2088000" cy="479676"/>
          </a:xfrm>
          <a:prstGeom prst="rect">
            <a:avLst/>
          </a:prstGeom>
        </p:spPr>
      </p:pic>
      <p:sp>
        <p:nvSpPr>
          <p:cNvPr id="7" name="Date Placeholder 3">
            <a:extLst>
              <a:ext uri="{FF2B5EF4-FFF2-40B4-BE49-F238E27FC236}">
                <a16:creationId xmlns:a16="http://schemas.microsoft.com/office/drawing/2014/main" id="{DB61603A-CAE5-4007-81DD-7BDC7635C1F4}"/>
              </a:ext>
            </a:extLst>
          </p:cNvPr>
          <p:cNvSpPr>
            <a:spLocks noGrp="1"/>
          </p:cNvSpPr>
          <p:nvPr>
            <p:ph type="dt" sz="half" idx="2"/>
          </p:nvPr>
        </p:nvSpPr>
        <p:spPr>
          <a:xfrm>
            <a:off x="552000" y="488951"/>
            <a:ext cx="937075" cy="215900"/>
          </a:xfrm>
          <a:prstGeom prst="rect">
            <a:avLst/>
          </a:prstGeom>
        </p:spPr>
        <p:txBody>
          <a:bodyPr vert="horz" lIns="0" tIns="0" rIns="0" bIns="0" rtlCol="0" anchor="ctr"/>
          <a:lstStyle>
            <a:lvl1pPr algn="l">
              <a:lnSpc>
                <a:spcPct val="95000"/>
              </a:lnSpc>
              <a:defRPr sz="1000">
                <a:solidFill>
                  <a:schemeClr val="tx1"/>
                </a:solidFill>
              </a:defRPr>
            </a:lvl1pPr>
          </a:lstStyle>
          <a:p>
            <a:fld id="{02C7F40E-128E-40FD-B48F-147DBEDF18A2}" type="datetime1">
              <a:rPr lang="en-GB" smtClean="0"/>
              <a:t>21/10/2024</a:t>
            </a:fld>
            <a:endParaRPr lang="en-GB"/>
          </a:p>
        </p:txBody>
      </p:sp>
      <p:sp>
        <p:nvSpPr>
          <p:cNvPr id="20" name="TextBox 19">
            <a:extLst>
              <a:ext uri="{FF2B5EF4-FFF2-40B4-BE49-F238E27FC236}">
                <a16:creationId xmlns:a16="http://schemas.microsoft.com/office/drawing/2014/main" id="{8BB9CB9A-8D41-FB4D-A0D0-59326EF6666D}"/>
              </a:ext>
            </a:extLst>
          </p:cNvPr>
          <p:cNvSpPr txBox="1"/>
          <p:nvPr userDrawn="1"/>
        </p:nvSpPr>
        <p:spPr>
          <a:xfrm>
            <a:off x="-1158240" y="1371600"/>
            <a:ext cx="184731" cy="369332"/>
          </a:xfrm>
          <a:prstGeom prst="rect">
            <a:avLst/>
          </a:prstGeom>
          <a:noFill/>
        </p:spPr>
        <p:txBody>
          <a:bodyPr wrap="none" rtlCol="0">
            <a:spAutoFit/>
          </a:bodyPr>
          <a:lstStyle/>
          <a:p>
            <a:endParaRPr lang="en-US"/>
          </a:p>
        </p:txBody>
      </p:sp>
      <p:sp>
        <p:nvSpPr>
          <p:cNvPr id="8" name="Freeform: Shape 1">
            <a:extLst>
              <a:ext uri="{FF2B5EF4-FFF2-40B4-BE49-F238E27FC236}">
                <a16:creationId xmlns:a16="http://schemas.microsoft.com/office/drawing/2014/main" id="{7D75EA20-7367-6F4B-A4BA-0F9B1EA7CDB0}"/>
              </a:ext>
            </a:extLst>
          </p:cNvPr>
          <p:cNvSpPr>
            <a:spLocks noChangeAspect="1"/>
          </p:cNvSpPr>
          <p:nvPr userDrawn="1"/>
        </p:nvSpPr>
        <p:spPr>
          <a:xfrm rot="3610516">
            <a:off x="1450636" y="1073594"/>
            <a:ext cx="6015581" cy="5597240"/>
          </a:xfrm>
          <a:custGeom>
            <a:avLst/>
            <a:gdLst>
              <a:gd name="connsiteX0" fmla="*/ 454287 w 6015581"/>
              <a:gd name="connsiteY0" fmla="*/ 605550 h 5597240"/>
              <a:gd name="connsiteX1" fmla="*/ 663211 w 6015581"/>
              <a:gd name="connsiteY1" fmla="*/ 293502 h 5597240"/>
              <a:gd name="connsiteX2" fmla="*/ 731203 w 6015581"/>
              <a:gd name="connsiteY2" fmla="*/ 200150 h 5597240"/>
              <a:gd name="connsiteX3" fmla="*/ 815661 w 6015581"/>
              <a:gd name="connsiteY3" fmla="*/ 97081 h 5597240"/>
              <a:gd name="connsiteX4" fmla="*/ 1141208 w 6015581"/>
              <a:gd name="connsiteY4" fmla="*/ 8211 h 5597240"/>
              <a:gd name="connsiteX5" fmla="*/ 1355713 w 6015581"/>
              <a:gd name="connsiteY5" fmla="*/ 110578 h 5597240"/>
              <a:gd name="connsiteX6" fmla="*/ 3731190 w 6015581"/>
              <a:gd name="connsiteY6" fmla="*/ 1785219 h 5597240"/>
              <a:gd name="connsiteX7" fmla="*/ 4897028 w 6015581"/>
              <a:gd name="connsiteY7" fmla="*/ 2703848 h 5597240"/>
              <a:gd name="connsiteX8" fmla="*/ 5916524 w 6015581"/>
              <a:gd name="connsiteY8" fmla="*/ 3478113 h 5597240"/>
              <a:gd name="connsiteX9" fmla="*/ 6015581 w 6015581"/>
              <a:gd name="connsiteY9" fmla="*/ 3555385 h 5597240"/>
              <a:gd name="connsiteX10" fmla="*/ 5079725 w 6015581"/>
              <a:gd name="connsiteY10" fmla="*/ 5187847 h 5597240"/>
              <a:gd name="connsiteX11" fmla="*/ 4979644 w 6015581"/>
              <a:gd name="connsiteY11" fmla="*/ 5253149 h 5597240"/>
              <a:gd name="connsiteX12" fmla="*/ 4626215 w 6015581"/>
              <a:gd name="connsiteY12" fmla="*/ 5400939 h 5597240"/>
              <a:gd name="connsiteX13" fmla="*/ 4439799 w 6015581"/>
              <a:gd name="connsiteY13" fmla="*/ 4934581 h 5597240"/>
              <a:gd name="connsiteX14" fmla="*/ 3903236 w 6015581"/>
              <a:gd name="connsiteY14" fmla="*/ 4685001 h 5597240"/>
              <a:gd name="connsiteX15" fmla="*/ 3439789 w 6015581"/>
              <a:gd name="connsiteY15" fmla="*/ 4780047 h 5597240"/>
              <a:gd name="connsiteX16" fmla="*/ 3235633 w 6015581"/>
              <a:gd name="connsiteY16" fmla="*/ 4927721 h 5597240"/>
              <a:gd name="connsiteX17" fmla="*/ 3082311 w 6015581"/>
              <a:gd name="connsiteY17" fmla="*/ 5174624 h 5597240"/>
              <a:gd name="connsiteX18" fmla="*/ 3010419 w 6015581"/>
              <a:gd name="connsiteY18" fmla="*/ 5477305 h 5597240"/>
              <a:gd name="connsiteX19" fmla="*/ 3009606 w 6015581"/>
              <a:gd name="connsiteY19" fmla="*/ 5597240 h 5597240"/>
              <a:gd name="connsiteX20" fmla="*/ 1501824 w 6015581"/>
              <a:gd name="connsiteY20" fmla="*/ 5048932 h 5597240"/>
              <a:gd name="connsiteX21" fmla="*/ 1116078 w 6015581"/>
              <a:gd name="connsiteY21" fmla="*/ 4737408 h 5597240"/>
              <a:gd name="connsiteX22" fmla="*/ 767154 w 6015581"/>
              <a:gd name="connsiteY22" fmla="*/ 4435832 h 5597240"/>
              <a:gd name="connsiteX23" fmla="*/ 205289 w 6015581"/>
              <a:gd name="connsiteY23" fmla="*/ 3492833 h 5597240"/>
              <a:gd name="connsiteX24" fmla="*/ 39052 w 6015581"/>
              <a:gd name="connsiteY24" fmla="*/ 2711700 h 5597240"/>
              <a:gd name="connsiteX25" fmla="*/ 68082 w 6015581"/>
              <a:gd name="connsiteY25" fmla="*/ 1563206 h 5597240"/>
              <a:gd name="connsiteX26" fmla="*/ 282878 w 6015581"/>
              <a:gd name="connsiteY26" fmla="*/ 932776 h 5597240"/>
              <a:gd name="connsiteX27" fmla="*/ 454287 w 6015581"/>
              <a:gd name="connsiteY27" fmla="*/ 605550 h 559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15581" h="5597240">
                <a:moveTo>
                  <a:pt x="454287" y="605550"/>
                </a:moveTo>
                <a:cubicBezTo>
                  <a:pt x="518034" y="498587"/>
                  <a:pt x="588034" y="394154"/>
                  <a:pt x="663211" y="293502"/>
                </a:cubicBezTo>
                <a:cubicBezTo>
                  <a:pt x="684501" y="264361"/>
                  <a:pt x="709922" y="229291"/>
                  <a:pt x="731203" y="200150"/>
                </a:cubicBezTo>
                <a:cubicBezTo>
                  <a:pt x="756796" y="165543"/>
                  <a:pt x="783260" y="125179"/>
                  <a:pt x="815661" y="97081"/>
                </a:cubicBezTo>
                <a:cubicBezTo>
                  <a:pt x="902385" y="18330"/>
                  <a:pt x="1026155" y="-17441"/>
                  <a:pt x="1141208" y="8211"/>
                </a:cubicBezTo>
                <a:cubicBezTo>
                  <a:pt x="1215598" y="24788"/>
                  <a:pt x="1315289" y="81325"/>
                  <a:pt x="1355713" y="110578"/>
                </a:cubicBezTo>
                <a:cubicBezTo>
                  <a:pt x="2136736" y="637888"/>
                  <a:pt x="2961561" y="1241392"/>
                  <a:pt x="3731190" y="1785219"/>
                </a:cubicBezTo>
                <a:cubicBezTo>
                  <a:pt x="4021779" y="2014143"/>
                  <a:pt x="4606498" y="2474916"/>
                  <a:pt x="4897028" y="2703848"/>
                </a:cubicBezTo>
                <a:cubicBezTo>
                  <a:pt x="5197094" y="2930797"/>
                  <a:pt x="5615644" y="3252440"/>
                  <a:pt x="5916524" y="3478113"/>
                </a:cubicBezTo>
                <a:lnTo>
                  <a:pt x="6015581" y="3555385"/>
                </a:lnTo>
                <a:lnTo>
                  <a:pt x="5079725" y="5187847"/>
                </a:lnTo>
                <a:lnTo>
                  <a:pt x="4979644" y="5253149"/>
                </a:lnTo>
                <a:cubicBezTo>
                  <a:pt x="4865074" y="5319439"/>
                  <a:pt x="4747442" y="5363900"/>
                  <a:pt x="4626215" y="5400939"/>
                </a:cubicBezTo>
                <a:cubicBezTo>
                  <a:pt x="4611733" y="5243317"/>
                  <a:pt x="4536702" y="5092033"/>
                  <a:pt x="4439799" y="4934581"/>
                </a:cubicBezTo>
                <a:cubicBezTo>
                  <a:pt x="4336386" y="4766668"/>
                  <a:pt x="4097042" y="4703614"/>
                  <a:pt x="3903236" y="4685001"/>
                </a:cubicBezTo>
                <a:cubicBezTo>
                  <a:pt x="3709439" y="4666390"/>
                  <a:pt x="3527847" y="4717342"/>
                  <a:pt x="3439789" y="4780047"/>
                </a:cubicBezTo>
                <a:cubicBezTo>
                  <a:pt x="3377434" y="4824481"/>
                  <a:pt x="3302290" y="4861765"/>
                  <a:pt x="3235633" y="4927721"/>
                </a:cubicBezTo>
                <a:cubicBezTo>
                  <a:pt x="3168975" y="4993677"/>
                  <a:pt x="3110811" y="5073711"/>
                  <a:pt x="3082311" y="5174624"/>
                </a:cubicBezTo>
                <a:cubicBezTo>
                  <a:pt x="3053811" y="5275538"/>
                  <a:pt x="3021411" y="5377786"/>
                  <a:pt x="3010419" y="5477305"/>
                </a:cubicBezTo>
                <a:cubicBezTo>
                  <a:pt x="3005945" y="5517847"/>
                  <a:pt x="3005304" y="5557861"/>
                  <a:pt x="3009606" y="5597240"/>
                </a:cubicBezTo>
                <a:cubicBezTo>
                  <a:pt x="2464379" y="5526915"/>
                  <a:pt x="1918099" y="5336430"/>
                  <a:pt x="1501824" y="5048932"/>
                </a:cubicBezTo>
                <a:cubicBezTo>
                  <a:pt x="1417718" y="4990478"/>
                  <a:pt x="1191050" y="4810112"/>
                  <a:pt x="1116078" y="4737408"/>
                </a:cubicBezTo>
                <a:cubicBezTo>
                  <a:pt x="987595" y="4613930"/>
                  <a:pt x="860387" y="4540525"/>
                  <a:pt x="767154" y="4435832"/>
                </a:cubicBezTo>
                <a:cubicBezTo>
                  <a:pt x="526526" y="4166304"/>
                  <a:pt x="330111" y="3868859"/>
                  <a:pt x="205289" y="3492833"/>
                </a:cubicBezTo>
                <a:cubicBezTo>
                  <a:pt x="137640" y="3274661"/>
                  <a:pt x="78604" y="2924869"/>
                  <a:pt x="39052" y="2711700"/>
                </a:cubicBezTo>
                <a:cubicBezTo>
                  <a:pt x="-35569" y="2274312"/>
                  <a:pt x="9508" y="1995882"/>
                  <a:pt x="68082" y="1563206"/>
                </a:cubicBezTo>
                <a:cubicBezTo>
                  <a:pt x="95359" y="1338696"/>
                  <a:pt x="189525" y="1137683"/>
                  <a:pt x="282878" y="932776"/>
                </a:cubicBezTo>
                <a:cubicBezTo>
                  <a:pt x="333045" y="822005"/>
                  <a:pt x="390540" y="712512"/>
                  <a:pt x="454287" y="605550"/>
                </a:cubicBezTo>
                <a:close/>
              </a:path>
            </a:pathLst>
          </a:custGeom>
          <a:solidFill>
            <a:schemeClr val="accent4"/>
          </a:solidFill>
          <a:ln w="778" cap="flat">
            <a:noFill/>
            <a:prstDash val="solid"/>
            <a:miter/>
          </a:ln>
        </p:spPr>
        <p:txBody>
          <a:bodyPr wrap="square" rtlCol="0" anchor="ctr">
            <a:noAutofit/>
          </a:bodyPr>
          <a:lstStyle/>
          <a:p>
            <a:endParaRPr lang="en-GB"/>
          </a:p>
        </p:txBody>
      </p:sp>
      <p:sp>
        <p:nvSpPr>
          <p:cNvPr id="5" name="Text Placeholder 4">
            <a:extLst>
              <a:ext uri="{FF2B5EF4-FFF2-40B4-BE49-F238E27FC236}">
                <a16:creationId xmlns:a16="http://schemas.microsoft.com/office/drawing/2014/main" id="{D29E67D6-50DD-4D3C-97E8-81CFF1CA6FC3}"/>
              </a:ext>
            </a:extLst>
          </p:cNvPr>
          <p:cNvSpPr>
            <a:spLocks noGrp="1"/>
          </p:cNvSpPr>
          <p:nvPr>
            <p:ph type="body" sz="quarter" idx="11"/>
          </p:nvPr>
        </p:nvSpPr>
        <p:spPr>
          <a:xfrm>
            <a:off x="550863" y="1828800"/>
            <a:ext cx="5400675" cy="3686175"/>
          </a:xfrm>
        </p:spPr>
        <p:txBody>
          <a:bodyPr>
            <a:normAutofit/>
          </a:bodyPr>
          <a:lstStyle>
            <a:lvl1pPr marL="0" indent="0">
              <a:lnSpc>
                <a:spcPct val="85000"/>
              </a:lnSpc>
              <a:spcBef>
                <a:spcPts val="0"/>
              </a:spcBef>
              <a:buNone/>
              <a:defRPr sz="6000" b="1"/>
            </a:lvl1pPr>
            <a:lvl2pPr marL="0" indent="0">
              <a:lnSpc>
                <a:spcPct val="85000"/>
              </a:lnSpc>
              <a:buNone/>
              <a:defRPr sz="2000"/>
            </a:lvl2pPr>
          </a:lstStyle>
          <a:p>
            <a:pPr lvl="0"/>
            <a:r>
              <a:rPr lang="en-US"/>
              <a:t>Click to edit Master text styles</a:t>
            </a:r>
          </a:p>
          <a:p>
            <a:pPr lvl="1"/>
            <a:r>
              <a:rPr lang="en-US"/>
              <a:t>Second level</a:t>
            </a:r>
          </a:p>
        </p:txBody>
      </p:sp>
      <p:sp>
        <p:nvSpPr>
          <p:cNvPr id="2" name="TextBox 1">
            <a:extLst>
              <a:ext uri="{FF2B5EF4-FFF2-40B4-BE49-F238E27FC236}">
                <a16:creationId xmlns:a16="http://schemas.microsoft.com/office/drawing/2014/main" id="{C5C76C4F-FBD5-3447-ACDB-3E7553698E17}"/>
              </a:ext>
            </a:extLst>
          </p:cNvPr>
          <p:cNvSpPr txBox="1"/>
          <p:nvPr userDrawn="1"/>
        </p:nvSpPr>
        <p:spPr>
          <a:xfrm>
            <a:off x="659757" y="8634714"/>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8936016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Slide (User Image)">
    <p:spTree>
      <p:nvGrpSpPr>
        <p:cNvPr id="1" name=""/>
        <p:cNvGrpSpPr/>
        <p:nvPr/>
      </p:nvGrpSpPr>
      <p:grpSpPr>
        <a:xfrm>
          <a:off x="0" y="0"/>
          <a:ext cx="0" cy="0"/>
          <a:chOff x="0" y="0"/>
          <a:chExt cx="0" cy="0"/>
        </a:xfrm>
      </p:grpSpPr>
      <p:pic>
        <p:nvPicPr>
          <p:cNvPr id="14" name="Picture 13" descr="A person eating a piece of fruit&#10;&#10;Description automatically generated">
            <a:extLst>
              <a:ext uri="{FF2B5EF4-FFF2-40B4-BE49-F238E27FC236}">
                <a16:creationId xmlns:a16="http://schemas.microsoft.com/office/drawing/2014/main" id="{B7B0A956-75E3-4CA0-B838-59FD8FE22FC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9276" b="13324"/>
          <a:stretch/>
        </p:blipFill>
        <p:spPr>
          <a:xfrm>
            <a:off x="4226819" y="0"/>
            <a:ext cx="7965181" cy="6858000"/>
          </a:xfrm>
          <a:prstGeom prst="rect">
            <a:avLst/>
          </a:prstGeom>
        </p:spPr>
      </p:pic>
      <p:pic>
        <p:nvPicPr>
          <p:cNvPr id="10" name="Graphic 9">
            <a:extLst>
              <a:ext uri="{FF2B5EF4-FFF2-40B4-BE49-F238E27FC236}">
                <a16:creationId xmlns:a16="http://schemas.microsoft.com/office/drawing/2014/main" id="{129C7400-C7F4-42AB-93DC-A8F5E8F7F17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9157" y="5707336"/>
            <a:ext cx="2088000" cy="479676"/>
          </a:xfrm>
          <a:prstGeom prst="rect">
            <a:avLst/>
          </a:prstGeom>
        </p:spPr>
      </p:pic>
      <p:sp>
        <p:nvSpPr>
          <p:cNvPr id="7" name="Date Placeholder 3">
            <a:extLst>
              <a:ext uri="{FF2B5EF4-FFF2-40B4-BE49-F238E27FC236}">
                <a16:creationId xmlns:a16="http://schemas.microsoft.com/office/drawing/2014/main" id="{DB61603A-CAE5-4007-81DD-7BDC7635C1F4}"/>
              </a:ext>
            </a:extLst>
          </p:cNvPr>
          <p:cNvSpPr>
            <a:spLocks noGrp="1"/>
          </p:cNvSpPr>
          <p:nvPr>
            <p:ph type="dt" sz="half" idx="2"/>
          </p:nvPr>
        </p:nvSpPr>
        <p:spPr>
          <a:xfrm>
            <a:off x="552000" y="488951"/>
            <a:ext cx="937075" cy="215900"/>
          </a:xfrm>
          <a:prstGeom prst="rect">
            <a:avLst/>
          </a:prstGeom>
        </p:spPr>
        <p:txBody>
          <a:bodyPr vert="horz" lIns="0" tIns="0" rIns="0" bIns="0" rtlCol="0" anchor="ctr"/>
          <a:lstStyle>
            <a:lvl1pPr algn="l">
              <a:lnSpc>
                <a:spcPct val="95000"/>
              </a:lnSpc>
              <a:defRPr sz="1000">
                <a:solidFill>
                  <a:schemeClr val="tx1"/>
                </a:solidFill>
              </a:defRPr>
            </a:lvl1pPr>
          </a:lstStyle>
          <a:p>
            <a:fld id="{02C7F40E-128E-40FD-B48F-147DBEDF18A2}" type="datetime1">
              <a:rPr lang="en-GB" smtClean="0"/>
              <a:t>21/10/2024</a:t>
            </a:fld>
            <a:endParaRPr lang="en-GB"/>
          </a:p>
        </p:txBody>
      </p:sp>
      <p:sp>
        <p:nvSpPr>
          <p:cNvPr id="6" name="Freeform: Shape 21">
            <a:extLst>
              <a:ext uri="{FF2B5EF4-FFF2-40B4-BE49-F238E27FC236}">
                <a16:creationId xmlns:a16="http://schemas.microsoft.com/office/drawing/2014/main" id="{66C973E3-680C-2546-ADE9-FBBDFCA3A53E}"/>
              </a:ext>
            </a:extLst>
          </p:cNvPr>
          <p:cNvSpPr>
            <a:spLocks noChangeAspect="1"/>
          </p:cNvSpPr>
          <p:nvPr userDrawn="1"/>
        </p:nvSpPr>
        <p:spPr>
          <a:xfrm rot="5400000" flipV="1">
            <a:off x="563400" y="774507"/>
            <a:ext cx="6557574" cy="5008564"/>
          </a:xfrm>
          <a:custGeom>
            <a:avLst/>
            <a:gdLst>
              <a:gd name="connsiteX0" fmla="*/ 0 w 6543647"/>
              <a:gd name="connsiteY0" fmla="*/ 1472324 h 5008564"/>
              <a:gd name="connsiteX1" fmla="*/ 0 w 6543647"/>
              <a:gd name="connsiteY1" fmla="*/ 3421336 h 5008564"/>
              <a:gd name="connsiteX2" fmla="*/ 36961 w 6543647"/>
              <a:gd name="connsiteY2" fmla="*/ 3520186 h 5008564"/>
              <a:gd name="connsiteX3" fmla="*/ 416286 w 6543647"/>
              <a:gd name="connsiteY3" fmla="*/ 4220115 h 5008564"/>
              <a:gd name="connsiteX4" fmla="*/ 928515 w 6543647"/>
              <a:gd name="connsiteY4" fmla="*/ 4609907 h 5008564"/>
              <a:gd name="connsiteX5" fmla="*/ 1553211 w 6543647"/>
              <a:gd name="connsiteY5" fmla="*/ 4851353 h 5008564"/>
              <a:gd name="connsiteX6" fmla="*/ 2365734 w 6543647"/>
              <a:gd name="connsiteY6" fmla="*/ 4995895 h 5008564"/>
              <a:gd name="connsiteX7" fmla="*/ 3241598 w 6543647"/>
              <a:gd name="connsiteY7" fmla="*/ 4995025 h 5008564"/>
              <a:gd name="connsiteX8" fmla="*/ 4041104 w 6543647"/>
              <a:gd name="connsiteY8" fmla="*/ 4988797 h 5008564"/>
              <a:gd name="connsiteX9" fmla="*/ 4799761 w 6543647"/>
              <a:gd name="connsiteY9" fmla="*/ 4866675 h 5008564"/>
              <a:gd name="connsiteX10" fmla="*/ 5513452 w 6543647"/>
              <a:gd name="connsiteY10" fmla="*/ 4630144 h 5008564"/>
              <a:gd name="connsiteX11" fmla="*/ 6009670 w 6543647"/>
              <a:gd name="connsiteY11" fmla="*/ 4239046 h 5008564"/>
              <a:gd name="connsiteX12" fmla="*/ 6310339 w 6543647"/>
              <a:gd name="connsiteY12" fmla="*/ 3671083 h 5008564"/>
              <a:gd name="connsiteX13" fmla="*/ 6499104 w 6543647"/>
              <a:gd name="connsiteY13" fmla="*/ 3014379 h 5008564"/>
              <a:gd name="connsiteX14" fmla="*/ 6526439 w 6543647"/>
              <a:gd name="connsiteY14" fmla="*/ 2809983 h 5008564"/>
              <a:gd name="connsiteX15" fmla="*/ 6539269 w 6543647"/>
              <a:gd name="connsiteY15" fmla="*/ 2589336 h 5008564"/>
              <a:gd name="connsiteX16" fmla="*/ 6542511 w 6543647"/>
              <a:gd name="connsiteY16" fmla="*/ 2346705 h 5008564"/>
              <a:gd name="connsiteX17" fmla="*/ 6489388 w 6543647"/>
              <a:gd name="connsiteY17" fmla="*/ 1943032 h 5008564"/>
              <a:gd name="connsiteX18" fmla="*/ 6448285 w 6543647"/>
              <a:gd name="connsiteY18" fmla="*/ 1627724 h 5008564"/>
              <a:gd name="connsiteX19" fmla="*/ 6335250 w 6543647"/>
              <a:gd name="connsiteY19" fmla="*/ 1727929 h 5008564"/>
              <a:gd name="connsiteX20" fmla="*/ 5863695 w 6543647"/>
              <a:gd name="connsiteY20" fmla="*/ 1857150 h 5008564"/>
              <a:gd name="connsiteX21" fmla="*/ 5373329 w 6543647"/>
              <a:gd name="connsiteY21" fmla="*/ 1655876 h 5008564"/>
              <a:gd name="connsiteX22" fmla="*/ 5087037 w 6543647"/>
              <a:gd name="connsiteY22" fmla="*/ 1279035 h 5008564"/>
              <a:gd name="connsiteX23" fmla="*/ 5026696 w 6543647"/>
              <a:gd name="connsiteY23" fmla="*/ 972446 h 5008564"/>
              <a:gd name="connsiteX24" fmla="*/ 5103671 w 6543647"/>
              <a:gd name="connsiteY24" fmla="*/ 648360 h 5008564"/>
              <a:gd name="connsiteX25" fmla="*/ 5267827 w 6543647"/>
              <a:gd name="connsiteY25" fmla="*/ 383998 h 5008564"/>
              <a:gd name="connsiteX26" fmla="*/ 5367035 w 6543647"/>
              <a:gd name="connsiteY26" fmla="*/ 304345 h 5008564"/>
              <a:gd name="connsiteX27" fmla="*/ 4948723 w 6543647"/>
              <a:gd name="connsiteY27" fmla="*/ 174186 h 5008564"/>
              <a:gd name="connsiteX28" fmla="*/ 4148280 w 6543647"/>
              <a:gd name="connsiteY28" fmla="*/ 35182 h 5008564"/>
              <a:gd name="connsiteX29" fmla="*/ 3307484 w 6543647"/>
              <a:gd name="connsiteY29" fmla="*/ 14075 h 5008564"/>
              <a:gd name="connsiteX30" fmla="*/ 2398185 w 6543647"/>
              <a:gd name="connsiteY30" fmla="*/ 10024 h 5008564"/>
              <a:gd name="connsiteX31" fmla="*/ 1598117 w 6543647"/>
              <a:gd name="connsiteY31" fmla="*/ 103941 h 5008564"/>
              <a:gd name="connsiteX32" fmla="*/ 968245 w 6543647"/>
              <a:gd name="connsiteY32" fmla="*/ 319103 h 5008564"/>
              <a:gd name="connsiteX33" fmla="*/ 407072 w 6543647"/>
              <a:gd name="connsiteY33" fmla="*/ 766002 h 5008564"/>
              <a:gd name="connsiteX34" fmla="*/ 37771 w 6543647"/>
              <a:gd name="connsiteY34" fmla="*/ 1367280 h 5008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543647" h="5008564">
                <a:moveTo>
                  <a:pt x="0" y="1472324"/>
                </a:moveTo>
                <a:lnTo>
                  <a:pt x="0" y="3421336"/>
                </a:lnTo>
                <a:lnTo>
                  <a:pt x="36961" y="3520186"/>
                </a:lnTo>
                <a:cubicBezTo>
                  <a:pt x="138974" y="3788973"/>
                  <a:pt x="241851" y="4011676"/>
                  <a:pt x="416286" y="4220115"/>
                </a:cubicBezTo>
                <a:cubicBezTo>
                  <a:pt x="525712" y="4350896"/>
                  <a:pt x="717705" y="4492760"/>
                  <a:pt x="928515" y="4609907"/>
                </a:cubicBezTo>
                <a:cubicBezTo>
                  <a:pt x="1139318" y="4727048"/>
                  <a:pt x="1368811" y="4819532"/>
                  <a:pt x="1553211" y="4851353"/>
                </a:cubicBezTo>
                <a:cubicBezTo>
                  <a:pt x="1807547" y="4895255"/>
                  <a:pt x="2080446" y="4964884"/>
                  <a:pt x="2365734" y="4995895"/>
                </a:cubicBezTo>
                <a:cubicBezTo>
                  <a:pt x="2651028" y="5026913"/>
                  <a:pt x="2952193" y="4990665"/>
                  <a:pt x="3241598" y="4995025"/>
                </a:cubicBezTo>
                <a:cubicBezTo>
                  <a:pt x="3512750" y="4999136"/>
                  <a:pt x="3767334" y="5011029"/>
                  <a:pt x="4041104" y="4988797"/>
                </a:cubicBezTo>
                <a:cubicBezTo>
                  <a:pt x="4314874" y="4966565"/>
                  <a:pt x="4551277" y="4902608"/>
                  <a:pt x="4799761" y="4866675"/>
                </a:cubicBezTo>
                <a:cubicBezTo>
                  <a:pt x="5061504" y="4828806"/>
                  <a:pt x="5289504" y="4773755"/>
                  <a:pt x="5513452" y="4630144"/>
                </a:cubicBezTo>
                <a:cubicBezTo>
                  <a:pt x="5677300" y="4525084"/>
                  <a:pt x="5881507" y="4383340"/>
                  <a:pt x="6009670" y="4239046"/>
                </a:cubicBezTo>
                <a:cubicBezTo>
                  <a:pt x="6154647" y="4075761"/>
                  <a:pt x="6232995" y="3861529"/>
                  <a:pt x="6310339" y="3671083"/>
                </a:cubicBezTo>
                <a:cubicBezTo>
                  <a:pt x="6394727" y="3463206"/>
                  <a:pt x="6472573" y="3275693"/>
                  <a:pt x="6499104" y="3014379"/>
                </a:cubicBezTo>
                <a:cubicBezTo>
                  <a:pt x="6506263" y="2943571"/>
                  <a:pt x="6522080" y="2881789"/>
                  <a:pt x="6526439" y="2809983"/>
                </a:cubicBezTo>
                <a:cubicBezTo>
                  <a:pt x="6530799" y="2738178"/>
                  <a:pt x="6538151" y="2661517"/>
                  <a:pt x="6539269" y="2589336"/>
                </a:cubicBezTo>
                <a:cubicBezTo>
                  <a:pt x="6540455" y="2509689"/>
                  <a:pt x="6545999" y="2428107"/>
                  <a:pt x="6542511" y="2346705"/>
                </a:cubicBezTo>
                <a:cubicBezTo>
                  <a:pt x="6539082" y="2265250"/>
                  <a:pt x="6496801" y="2024735"/>
                  <a:pt x="6489388" y="1943032"/>
                </a:cubicBezTo>
                <a:cubicBezTo>
                  <a:pt x="6471200" y="1829561"/>
                  <a:pt x="6467276" y="1735771"/>
                  <a:pt x="6448285" y="1627724"/>
                </a:cubicBezTo>
                <a:cubicBezTo>
                  <a:pt x="6414776" y="1663349"/>
                  <a:pt x="6378100" y="1697474"/>
                  <a:pt x="6335250" y="1727929"/>
                </a:cubicBezTo>
                <a:cubicBezTo>
                  <a:pt x="6213502" y="1814494"/>
                  <a:pt x="6046788" y="1857150"/>
                  <a:pt x="5863695" y="1857150"/>
                </a:cubicBezTo>
                <a:cubicBezTo>
                  <a:pt x="5680601" y="1857150"/>
                  <a:pt x="5506474" y="1776317"/>
                  <a:pt x="5373329" y="1655876"/>
                </a:cubicBezTo>
                <a:cubicBezTo>
                  <a:pt x="5240178" y="1535427"/>
                  <a:pt x="5148008" y="1375376"/>
                  <a:pt x="5087037" y="1279035"/>
                </a:cubicBezTo>
                <a:cubicBezTo>
                  <a:pt x="5026006" y="1182693"/>
                  <a:pt x="5014924" y="1079006"/>
                  <a:pt x="5026696" y="972446"/>
                </a:cubicBezTo>
                <a:cubicBezTo>
                  <a:pt x="5038462" y="865893"/>
                  <a:pt x="5073156" y="756413"/>
                  <a:pt x="5103671" y="648360"/>
                </a:cubicBezTo>
                <a:cubicBezTo>
                  <a:pt x="5134187" y="540313"/>
                  <a:pt x="5196464" y="454619"/>
                  <a:pt x="5267827" y="383998"/>
                </a:cubicBezTo>
                <a:cubicBezTo>
                  <a:pt x="5299776" y="352425"/>
                  <a:pt x="5333472" y="327139"/>
                  <a:pt x="5367035" y="304345"/>
                </a:cubicBezTo>
                <a:cubicBezTo>
                  <a:pt x="5235008" y="243809"/>
                  <a:pt x="5095388" y="198970"/>
                  <a:pt x="4948723" y="174186"/>
                </a:cubicBezTo>
                <a:cubicBezTo>
                  <a:pt x="4717054" y="134952"/>
                  <a:pt x="4415514" y="62276"/>
                  <a:pt x="4148280" y="35182"/>
                </a:cubicBezTo>
                <a:cubicBezTo>
                  <a:pt x="3881053" y="8095"/>
                  <a:pt x="3596013" y="18434"/>
                  <a:pt x="3307484" y="14075"/>
                </a:cubicBezTo>
                <a:cubicBezTo>
                  <a:pt x="3020074" y="9716"/>
                  <a:pt x="2684905" y="-12704"/>
                  <a:pt x="2398185" y="10024"/>
                </a:cubicBezTo>
                <a:cubicBezTo>
                  <a:pt x="2111457" y="32758"/>
                  <a:pt x="1855440" y="67318"/>
                  <a:pt x="1598117" y="103941"/>
                </a:cubicBezTo>
                <a:cubicBezTo>
                  <a:pt x="1378903" y="135140"/>
                  <a:pt x="1165106" y="210802"/>
                  <a:pt x="968245" y="319103"/>
                </a:cubicBezTo>
                <a:cubicBezTo>
                  <a:pt x="756879" y="435373"/>
                  <a:pt x="565067" y="589257"/>
                  <a:pt x="407072" y="766002"/>
                </a:cubicBezTo>
                <a:cubicBezTo>
                  <a:pt x="251695" y="939815"/>
                  <a:pt x="128072" y="1143212"/>
                  <a:pt x="37771" y="1367280"/>
                </a:cubicBezTo>
                <a:close/>
              </a:path>
            </a:pathLst>
          </a:custGeom>
          <a:solidFill>
            <a:schemeClr val="accent1"/>
          </a:solidFill>
          <a:ln w="929" cap="flat">
            <a:noFill/>
            <a:prstDash val="solid"/>
            <a:miter/>
          </a:ln>
        </p:spPr>
        <p:txBody>
          <a:bodyPr wrap="square" rtlCol="0" anchor="ctr">
            <a:noAutofit/>
          </a:bodyPr>
          <a:lstStyle/>
          <a:p>
            <a:endParaRPr lang="en-GB"/>
          </a:p>
        </p:txBody>
      </p:sp>
      <p:sp>
        <p:nvSpPr>
          <p:cNvPr id="5" name="Text Placeholder 4">
            <a:extLst>
              <a:ext uri="{FF2B5EF4-FFF2-40B4-BE49-F238E27FC236}">
                <a16:creationId xmlns:a16="http://schemas.microsoft.com/office/drawing/2014/main" id="{D29E67D6-50DD-4D3C-97E8-81CFF1CA6FC3}"/>
              </a:ext>
            </a:extLst>
          </p:cNvPr>
          <p:cNvSpPr>
            <a:spLocks noGrp="1"/>
          </p:cNvSpPr>
          <p:nvPr>
            <p:ph type="body" sz="quarter" idx="11"/>
          </p:nvPr>
        </p:nvSpPr>
        <p:spPr>
          <a:xfrm>
            <a:off x="550863" y="1828800"/>
            <a:ext cx="5400675" cy="3686175"/>
          </a:xfrm>
        </p:spPr>
        <p:txBody>
          <a:bodyPr>
            <a:normAutofit/>
          </a:bodyPr>
          <a:lstStyle>
            <a:lvl1pPr marL="0" indent="0">
              <a:lnSpc>
                <a:spcPct val="85000"/>
              </a:lnSpc>
              <a:spcBef>
                <a:spcPts val="0"/>
              </a:spcBef>
              <a:buNone/>
              <a:defRPr sz="6000" b="1"/>
            </a:lvl1pPr>
            <a:lvl2pPr marL="0" indent="0">
              <a:lnSpc>
                <a:spcPct val="85000"/>
              </a:lnSpc>
              <a:buNone/>
              <a:defRPr sz="2000"/>
            </a:lvl2pPr>
          </a:lstStyle>
          <a:p>
            <a:pPr lvl="0"/>
            <a:r>
              <a:rPr lang="en-US"/>
              <a:t>Click to edit Master text styles</a:t>
            </a:r>
          </a:p>
          <a:p>
            <a:pPr lvl="1"/>
            <a:r>
              <a:rPr lang="en-US"/>
              <a:t>Second level</a:t>
            </a:r>
          </a:p>
        </p:txBody>
      </p:sp>
      <p:sp>
        <p:nvSpPr>
          <p:cNvPr id="20" name="TextBox 19">
            <a:extLst>
              <a:ext uri="{FF2B5EF4-FFF2-40B4-BE49-F238E27FC236}">
                <a16:creationId xmlns:a16="http://schemas.microsoft.com/office/drawing/2014/main" id="{8BB9CB9A-8D41-FB4D-A0D0-59326EF6666D}"/>
              </a:ext>
            </a:extLst>
          </p:cNvPr>
          <p:cNvSpPr txBox="1"/>
          <p:nvPr userDrawn="1"/>
        </p:nvSpPr>
        <p:spPr>
          <a:xfrm>
            <a:off x="-1158240" y="1371600"/>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18201337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Slide (User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1EF753-1643-CC4A-BC08-3966F84D4D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402" t="12251" r="18532"/>
          <a:stretch/>
        </p:blipFill>
        <p:spPr>
          <a:xfrm flipH="1">
            <a:off x="4216400" y="-1"/>
            <a:ext cx="7975600" cy="6858001"/>
          </a:xfrm>
          <a:prstGeom prst="rect">
            <a:avLst/>
          </a:prstGeom>
        </p:spPr>
      </p:pic>
      <p:pic>
        <p:nvPicPr>
          <p:cNvPr id="10" name="Graphic 9">
            <a:extLst>
              <a:ext uri="{FF2B5EF4-FFF2-40B4-BE49-F238E27FC236}">
                <a16:creationId xmlns:a16="http://schemas.microsoft.com/office/drawing/2014/main" id="{129C7400-C7F4-42AB-93DC-A8F5E8F7F17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9157" y="5707336"/>
            <a:ext cx="2088000" cy="479676"/>
          </a:xfrm>
          <a:prstGeom prst="rect">
            <a:avLst/>
          </a:prstGeom>
        </p:spPr>
      </p:pic>
      <p:sp>
        <p:nvSpPr>
          <p:cNvPr id="7" name="Date Placeholder 3">
            <a:extLst>
              <a:ext uri="{FF2B5EF4-FFF2-40B4-BE49-F238E27FC236}">
                <a16:creationId xmlns:a16="http://schemas.microsoft.com/office/drawing/2014/main" id="{DB61603A-CAE5-4007-81DD-7BDC7635C1F4}"/>
              </a:ext>
            </a:extLst>
          </p:cNvPr>
          <p:cNvSpPr>
            <a:spLocks noGrp="1"/>
          </p:cNvSpPr>
          <p:nvPr>
            <p:ph type="dt" sz="half" idx="2"/>
          </p:nvPr>
        </p:nvSpPr>
        <p:spPr>
          <a:xfrm>
            <a:off x="552000" y="488951"/>
            <a:ext cx="937075" cy="215900"/>
          </a:xfrm>
          <a:prstGeom prst="rect">
            <a:avLst/>
          </a:prstGeom>
        </p:spPr>
        <p:txBody>
          <a:bodyPr vert="horz" lIns="0" tIns="0" rIns="0" bIns="0" rtlCol="0" anchor="ctr"/>
          <a:lstStyle>
            <a:lvl1pPr algn="l">
              <a:lnSpc>
                <a:spcPct val="95000"/>
              </a:lnSpc>
              <a:defRPr sz="1000">
                <a:solidFill>
                  <a:schemeClr val="tx1"/>
                </a:solidFill>
              </a:defRPr>
            </a:lvl1pPr>
          </a:lstStyle>
          <a:p>
            <a:fld id="{02C7F40E-128E-40FD-B48F-147DBEDF18A2}" type="datetime1">
              <a:rPr lang="en-GB" smtClean="0"/>
              <a:t>21/10/2024</a:t>
            </a:fld>
            <a:endParaRPr lang="en-GB"/>
          </a:p>
        </p:txBody>
      </p:sp>
      <p:sp>
        <p:nvSpPr>
          <p:cNvPr id="20" name="TextBox 19">
            <a:extLst>
              <a:ext uri="{FF2B5EF4-FFF2-40B4-BE49-F238E27FC236}">
                <a16:creationId xmlns:a16="http://schemas.microsoft.com/office/drawing/2014/main" id="{8BB9CB9A-8D41-FB4D-A0D0-59326EF6666D}"/>
              </a:ext>
            </a:extLst>
          </p:cNvPr>
          <p:cNvSpPr txBox="1"/>
          <p:nvPr userDrawn="1"/>
        </p:nvSpPr>
        <p:spPr>
          <a:xfrm>
            <a:off x="-1158240" y="1371600"/>
            <a:ext cx="184731" cy="369332"/>
          </a:xfrm>
          <a:prstGeom prst="rect">
            <a:avLst/>
          </a:prstGeom>
          <a:noFill/>
        </p:spPr>
        <p:txBody>
          <a:bodyPr wrap="none" rtlCol="0">
            <a:spAutoFit/>
          </a:bodyPr>
          <a:lstStyle/>
          <a:p>
            <a:endParaRPr lang="en-US"/>
          </a:p>
        </p:txBody>
      </p:sp>
      <p:sp>
        <p:nvSpPr>
          <p:cNvPr id="12" name="Graphic 15">
            <a:extLst>
              <a:ext uri="{FF2B5EF4-FFF2-40B4-BE49-F238E27FC236}">
                <a16:creationId xmlns:a16="http://schemas.microsoft.com/office/drawing/2014/main" id="{8D164E64-618A-A645-A7BE-2F365EBA729D}"/>
              </a:ext>
            </a:extLst>
          </p:cNvPr>
          <p:cNvSpPr>
            <a:spLocks noChangeAspect="1"/>
          </p:cNvSpPr>
          <p:nvPr userDrawn="1"/>
        </p:nvSpPr>
        <p:spPr>
          <a:xfrm rot="20871921">
            <a:off x="1230544" y="505199"/>
            <a:ext cx="5758893" cy="5749237"/>
          </a:xfrm>
          <a:custGeom>
            <a:avLst/>
            <a:gdLst>
              <a:gd name="connsiteX0" fmla="*/ 594166 w 773606"/>
              <a:gd name="connsiteY0" fmla="*/ 63077 h 772309"/>
              <a:gd name="connsiteX1" fmla="*/ 255496 w 773606"/>
              <a:gd name="connsiteY1" fmla="*/ 24559 h 772309"/>
              <a:gd name="connsiteX2" fmla="*/ 2249 w 773606"/>
              <a:gd name="connsiteY2" fmla="*/ 418609 h 772309"/>
              <a:gd name="connsiteX3" fmla="*/ 42627 w 773606"/>
              <a:gd name="connsiteY3" fmla="*/ 586219 h 772309"/>
              <a:gd name="connsiteX4" fmla="*/ 60602 w 773606"/>
              <a:gd name="connsiteY4" fmla="*/ 574294 h 772309"/>
              <a:gd name="connsiteX5" fmla="*/ 123947 w 773606"/>
              <a:gd name="connsiteY5" fmla="*/ 561304 h 772309"/>
              <a:gd name="connsiteX6" fmla="*/ 197278 w 773606"/>
              <a:gd name="connsiteY6" fmla="*/ 595417 h 772309"/>
              <a:gd name="connsiteX7" fmla="*/ 223116 w 773606"/>
              <a:gd name="connsiteY7" fmla="*/ 665234 h 772309"/>
              <a:gd name="connsiteX8" fmla="*/ 205220 w 773606"/>
              <a:gd name="connsiteY8" fmla="*/ 726624 h 772309"/>
              <a:gd name="connsiteX9" fmla="*/ 198932 w 773606"/>
              <a:gd name="connsiteY9" fmla="*/ 734486 h 772309"/>
              <a:gd name="connsiteX10" fmla="*/ 530081 w 773606"/>
              <a:gd name="connsiteY10" fmla="*/ 747477 h 772309"/>
              <a:gd name="connsiteX11" fmla="*/ 770290 w 773606"/>
              <a:gd name="connsiteY11" fmla="*/ 500701 h 772309"/>
              <a:gd name="connsiteX12" fmla="*/ 594166 w 773606"/>
              <a:gd name="connsiteY12" fmla="*/ 63077 h 77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3606" h="772309">
                <a:moveTo>
                  <a:pt x="594166" y="63077"/>
                </a:moveTo>
                <a:cubicBezTo>
                  <a:pt x="464048" y="-19563"/>
                  <a:pt x="371431" y="-8028"/>
                  <a:pt x="255496" y="24559"/>
                </a:cubicBezTo>
                <a:cubicBezTo>
                  <a:pt x="115242" y="63983"/>
                  <a:pt x="-19113" y="255658"/>
                  <a:pt x="2249" y="418609"/>
                </a:cubicBezTo>
                <a:cubicBezTo>
                  <a:pt x="11264" y="487400"/>
                  <a:pt x="23714" y="542025"/>
                  <a:pt x="42627" y="586219"/>
                </a:cubicBezTo>
                <a:cubicBezTo>
                  <a:pt x="48828" y="581775"/>
                  <a:pt x="55084" y="578229"/>
                  <a:pt x="60602" y="574294"/>
                </a:cubicBezTo>
                <a:cubicBezTo>
                  <a:pt x="72638" y="565724"/>
                  <a:pt x="97458" y="558760"/>
                  <a:pt x="123947" y="561304"/>
                </a:cubicBezTo>
                <a:cubicBezTo>
                  <a:pt x="150437" y="563848"/>
                  <a:pt x="183151" y="572465"/>
                  <a:pt x="197278" y="595417"/>
                </a:cubicBezTo>
                <a:cubicBezTo>
                  <a:pt x="211763" y="618949"/>
                  <a:pt x="222702" y="641471"/>
                  <a:pt x="223116" y="665234"/>
                </a:cubicBezTo>
                <a:cubicBezTo>
                  <a:pt x="223529" y="688988"/>
                  <a:pt x="216318" y="713308"/>
                  <a:pt x="205220" y="726624"/>
                </a:cubicBezTo>
                <a:cubicBezTo>
                  <a:pt x="203090" y="729176"/>
                  <a:pt x="201015" y="731823"/>
                  <a:pt x="198932" y="734486"/>
                </a:cubicBezTo>
                <a:cubicBezTo>
                  <a:pt x="311210" y="782592"/>
                  <a:pt x="430428" y="782417"/>
                  <a:pt x="530081" y="747477"/>
                </a:cubicBezTo>
                <a:cubicBezTo>
                  <a:pt x="639918" y="708959"/>
                  <a:pt x="756394" y="660448"/>
                  <a:pt x="770290" y="500701"/>
                </a:cubicBezTo>
                <a:cubicBezTo>
                  <a:pt x="786508" y="314361"/>
                  <a:pt x="745645" y="159288"/>
                  <a:pt x="594166" y="63077"/>
                </a:cubicBezTo>
                <a:close/>
              </a:path>
            </a:pathLst>
          </a:custGeom>
          <a:solidFill>
            <a:schemeClr val="accent4"/>
          </a:solidFill>
          <a:ln w="794" cap="flat">
            <a:noFill/>
            <a:prstDash val="solid"/>
            <a:miter/>
          </a:ln>
        </p:spPr>
        <p:txBody>
          <a:bodyPr rtlCol="0" anchor="ctr"/>
          <a:lstStyle/>
          <a:p>
            <a:endParaRPr lang="en-GB"/>
          </a:p>
        </p:txBody>
      </p:sp>
      <p:sp>
        <p:nvSpPr>
          <p:cNvPr id="5" name="Text Placeholder 4">
            <a:extLst>
              <a:ext uri="{FF2B5EF4-FFF2-40B4-BE49-F238E27FC236}">
                <a16:creationId xmlns:a16="http://schemas.microsoft.com/office/drawing/2014/main" id="{D29E67D6-50DD-4D3C-97E8-81CFF1CA6FC3}"/>
              </a:ext>
            </a:extLst>
          </p:cNvPr>
          <p:cNvSpPr>
            <a:spLocks noGrp="1"/>
          </p:cNvSpPr>
          <p:nvPr>
            <p:ph type="body" sz="quarter" idx="11"/>
          </p:nvPr>
        </p:nvSpPr>
        <p:spPr>
          <a:xfrm>
            <a:off x="550863" y="1828800"/>
            <a:ext cx="5400675" cy="3686175"/>
          </a:xfrm>
        </p:spPr>
        <p:txBody>
          <a:bodyPr>
            <a:normAutofit/>
          </a:bodyPr>
          <a:lstStyle>
            <a:lvl1pPr marL="0" indent="0">
              <a:lnSpc>
                <a:spcPct val="85000"/>
              </a:lnSpc>
              <a:spcBef>
                <a:spcPts val="0"/>
              </a:spcBef>
              <a:buNone/>
              <a:defRPr sz="6000" b="1"/>
            </a:lvl1pPr>
            <a:lvl2pPr marL="0" indent="0">
              <a:lnSpc>
                <a:spcPct val="85000"/>
              </a:lnSpc>
              <a:buNone/>
              <a:defRPr sz="20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643956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Title Slide (User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1EF753-1643-CC4A-BC08-3966F84D4D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402" t="12251" r="18532"/>
          <a:stretch/>
        </p:blipFill>
        <p:spPr>
          <a:xfrm flipH="1">
            <a:off x="4216400" y="-1"/>
            <a:ext cx="7975600" cy="6858001"/>
          </a:xfrm>
          <a:prstGeom prst="rect">
            <a:avLst/>
          </a:prstGeom>
        </p:spPr>
      </p:pic>
      <p:pic>
        <p:nvPicPr>
          <p:cNvPr id="10" name="Graphic 9">
            <a:extLst>
              <a:ext uri="{FF2B5EF4-FFF2-40B4-BE49-F238E27FC236}">
                <a16:creationId xmlns:a16="http://schemas.microsoft.com/office/drawing/2014/main" id="{129C7400-C7F4-42AB-93DC-A8F5E8F7F17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9157" y="5707336"/>
            <a:ext cx="2088000" cy="479676"/>
          </a:xfrm>
          <a:prstGeom prst="rect">
            <a:avLst/>
          </a:prstGeom>
        </p:spPr>
      </p:pic>
      <p:sp>
        <p:nvSpPr>
          <p:cNvPr id="7" name="Date Placeholder 3">
            <a:extLst>
              <a:ext uri="{FF2B5EF4-FFF2-40B4-BE49-F238E27FC236}">
                <a16:creationId xmlns:a16="http://schemas.microsoft.com/office/drawing/2014/main" id="{DB61603A-CAE5-4007-81DD-7BDC7635C1F4}"/>
              </a:ext>
            </a:extLst>
          </p:cNvPr>
          <p:cNvSpPr>
            <a:spLocks noGrp="1"/>
          </p:cNvSpPr>
          <p:nvPr>
            <p:ph type="dt" sz="half" idx="2"/>
          </p:nvPr>
        </p:nvSpPr>
        <p:spPr>
          <a:xfrm>
            <a:off x="552000" y="488951"/>
            <a:ext cx="937075" cy="215900"/>
          </a:xfrm>
          <a:prstGeom prst="rect">
            <a:avLst/>
          </a:prstGeom>
        </p:spPr>
        <p:txBody>
          <a:bodyPr vert="horz" lIns="0" tIns="0" rIns="0" bIns="0" rtlCol="0" anchor="ctr"/>
          <a:lstStyle>
            <a:lvl1pPr algn="l">
              <a:lnSpc>
                <a:spcPct val="95000"/>
              </a:lnSpc>
              <a:defRPr sz="1000">
                <a:solidFill>
                  <a:schemeClr val="tx1"/>
                </a:solidFill>
              </a:defRPr>
            </a:lvl1pPr>
          </a:lstStyle>
          <a:p>
            <a:fld id="{02C7F40E-128E-40FD-B48F-147DBEDF18A2}" type="datetime1">
              <a:rPr lang="en-GB" smtClean="0"/>
              <a:t>21/10/2024</a:t>
            </a:fld>
            <a:endParaRPr lang="en-GB"/>
          </a:p>
        </p:txBody>
      </p:sp>
      <p:sp>
        <p:nvSpPr>
          <p:cNvPr id="20" name="TextBox 19">
            <a:extLst>
              <a:ext uri="{FF2B5EF4-FFF2-40B4-BE49-F238E27FC236}">
                <a16:creationId xmlns:a16="http://schemas.microsoft.com/office/drawing/2014/main" id="{8BB9CB9A-8D41-FB4D-A0D0-59326EF6666D}"/>
              </a:ext>
            </a:extLst>
          </p:cNvPr>
          <p:cNvSpPr txBox="1"/>
          <p:nvPr userDrawn="1"/>
        </p:nvSpPr>
        <p:spPr>
          <a:xfrm>
            <a:off x="-1158240" y="1371600"/>
            <a:ext cx="184731" cy="369332"/>
          </a:xfrm>
          <a:prstGeom prst="rect">
            <a:avLst/>
          </a:prstGeom>
          <a:noFill/>
        </p:spPr>
        <p:txBody>
          <a:bodyPr wrap="none" rtlCol="0">
            <a:spAutoFit/>
          </a:bodyPr>
          <a:lstStyle/>
          <a:p>
            <a:endParaRPr lang="en-US"/>
          </a:p>
        </p:txBody>
      </p:sp>
      <p:sp>
        <p:nvSpPr>
          <p:cNvPr id="12" name="Graphic 15">
            <a:extLst>
              <a:ext uri="{FF2B5EF4-FFF2-40B4-BE49-F238E27FC236}">
                <a16:creationId xmlns:a16="http://schemas.microsoft.com/office/drawing/2014/main" id="{8D164E64-618A-A645-A7BE-2F365EBA729D}"/>
              </a:ext>
            </a:extLst>
          </p:cNvPr>
          <p:cNvSpPr>
            <a:spLocks noChangeAspect="1"/>
          </p:cNvSpPr>
          <p:nvPr userDrawn="1"/>
        </p:nvSpPr>
        <p:spPr>
          <a:xfrm rot="20871921">
            <a:off x="1230544" y="505199"/>
            <a:ext cx="5758893" cy="5749237"/>
          </a:xfrm>
          <a:custGeom>
            <a:avLst/>
            <a:gdLst>
              <a:gd name="connsiteX0" fmla="*/ 594166 w 773606"/>
              <a:gd name="connsiteY0" fmla="*/ 63077 h 772309"/>
              <a:gd name="connsiteX1" fmla="*/ 255496 w 773606"/>
              <a:gd name="connsiteY1" fmla="*/ 24559 h 772309"/>
              <a:gd name="connsiteX2" fmla="*/ 2249 w 773606"/>
              <a:gd name="connsiteY2" fmla="*/ 418609 h 772309"/>
              <a:gd name="connsiteX3" fmla="*/ 42627 w 773606"/>
              <a:gd name="connsiteY3" fmla="*/ 586219 h 772309"/>
              <a:gd name="connsiteX4" fmla="*/ 60602 w 773606"/>
              <a:gd name="connsiteY4" fmla="*/ 574294 h 772309"/>
              <a:gd name="connsiteX5" fmla="*/ 123947 w 773606"/>
              <a:gd name="connsiteY5" fmla="*/ 561304 h 772309"/>
              <a:gd name="connsiteX6" fmla="*/ 197278 w 773606"/>
              <a:gd name="connsiteY6" fmla="*/ 595417 h 772309"/>
              <a:gd name="connsiteX7" fmla="*/ 223116 w 773606"/>
              <a:gd name="connsiteY7" fmla="*/ 665234 h 772309"/>
              <a:gd name="connsiteX8" fmla="*/ 205220 w 773606"/>
              <a:gd name="connsiteY8" fmla="*/ 726624 h 772309"/>
              <a:gd name="connsiteX9" fmla="*/ 198932 w 773606"/>
              <a:gd name="connsiteY9" fmla="*/ 734486 h 772309"/>
              <a:gd name="connsiteX10" fmla="*/ 530081 w 773606"/>
              <a:gd name="connsiteY10" fmla="*/ 747477 h 772309"/>
              <a:gd name="connsiteX11" fmla="*/ 770290 w 773606"/>
              <a:gd name="connsiteY11" fmla="*/ 500701 h 772309"/>
              <a:gd name="connsiteX12" fmla="*/ 594166 w 773606"/>
              <a:gd name="connsiteY12" fmla="*/ 63077 h 77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3606" h="772309">
                <a:moveTo>
                  <a:pt x="594166" y="63077"/>
                </a:moveTo>
                <a:cubicBezTo>
                  <a:pt x="464048" y="-19563"/>
                  <a:pt x="371431" y="-8028"/>
                  <a:pt x="255496" y="24559"/>
                </a:cubicBezTo>
                <a:cubicBezTo>
                  <a:pt x="115242" y="63983"/>
                  <a:pt x="-19113" y="255658"/>
                  <a:pt x="2249" y="418609"/>
                </a:cubicBezTo>
                <a:cubicBezTo>
                  <a:pt x="11264" y="487400"/>
                  <a:pt x="23714" y="542025"/>
                  <a:pt x="42627" y="586219"/>
                </a:cubicBezTo>
                <a:cubicBezTo>
                  <a:pt x="48828" y="581775"/>
                  <a:pt x="55084" y="578229"/>
                  <a:pt x="60602" y="574294"/>
                </a:cubicBezTo>
                <a:cubicBezTo>
                  <a:pt x="72638" y="565724"/>
                  <a:pt x="97458" y="558760"/>
                  <a:pt x="123947" y="561304"/>
                </a:cubicBezTo>
                <a:cubicBezTo>
                  <a:pt x="150437" y="563848"/>
                  <a:pt x="183151" y="572465"/>
                  <a:pt x="197278" y="595417"/>
                </a:cubicBezTo>
                <a:cubicBezTo>
                  <a:pt x="211763" y="618949"/>
                  <a:pt x="222702" y="641471"/>
                  <a:pt x="223116" y="665234"/>
                </a:cubicBezTo>
                <a:cubicBezTo>
                  <a:pt x="223529" y="688988"/>
                  <a:pt x="216318" y="713308"/>
                  <a:pt x="205220" y="726624"/>
                </a:cubicBezTo>
                <a:cubicBezTo>
                  <a:pt x="203090" y="729176"/>
                  <a:pt x="201015" y="731823"/>
                  <a:pt x="198932" y="734486"/>
                </a:cubicBezTo>
                <a:cubicBezTo>
                  <a:pt x="311210" y="782592"/>
                  <a:pt x="430428" y="782417"/>
                  <a:pt x="530081" y="747477"/>
                </a:cubicBezTo>
                <a:cubicBezTo>
                  <a:pt x="639918" y="708959"/>
                  <a:pt x="756394" y="660448"/>
                  <a:pt x="770290" y="500701"/>
                </a:cubicBezTo>
                <a:cubicBezTo>
                  <a:pt x="786508" y="314361"/>
                  <a:pt x="745645" y="159288"/>
                  <a:pt x="594166" y="63077"/>
                </a:cubicBezTo>
                <a:close/>
              </a:path>
            </a:pathLst>
          </a:custGeom>
          <a:solidFill>
            <a:schemeClr val="accent1"/>
          </a:solidFill>
          <a:ln w="794" cap="flat">
            <a:noFill/>
            <a:prstDash val="solid"/>
            <a:miter/>
          </a:ln>
        </p:spPr>
        <p:txBody>
          <a:bodyPr rtlCol="0" anchor="ctr"/>
          <a:lstStyle/>
          <a:p>
            <a:endParaRPr lang="en-GB"/>
          </a:p>
        </p:txBody>
      </p:sp>
      <p:sp>
        <p:nvSpPr>
          <p:cNvPr id="5" name="Text Placeholder 4">
            <a:extLst>
              <a:ext uri="{FF2B5EF4-FFF2-40B4-BE49-F238E27FC236}">
                <a16:creationId xmlns:a16="http://schemas.microsoft.com/office/drawing/2014/main" id="{D29E67D6-50DD-4D3C-97E8-81CFF1CA6FC3}"/>
              </a:ext>
            </a:extLst>
          </p:cNvPr>
          <p:cNvSpPr>
            <a:spLocks noGrp="1"/>
          </p:cNvSpPr>
          <p:nvPr>
            <p:ph type="body" sz="quarter" idx="11"/>
          </p:nvPr>
        </p:nvSpPr>
        <p:spPr>
          <a:xfrm>
            <a:off x="550863" y="1828800"/>
            <a:ext cx="5400675" cy="3686175"/>
          </a:xfrm>
        </p:spPr>
        <p:txBody>
          <a:bodyPr>
            <a:normAutofit/>
          </a:bodyPr>
          <a:lstStyle>
            <a:lvl1pPr marL="0" indent="0">
              <a:lnSpc>
                <a:spcPct val="85000"/>
              </a:lnSpc>
              <a:spcBef>
                <a:spcPts val="0"/>
              </a:spcBef>
              <a:buNone/>
              <a:defRPr sz="6000" b="1"/>
            </a:lvl1pPr>
            <a:lvl2pPr marL="0" indent="0">
              <a:lnSpc>
                <a:spcPct val="85000"/>
              </a:lnSpc>
              <a:buNone/>
              <a:defRPr sz="20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680996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Title Slide (User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1EF753-1643-CC4A-BC08-3966F84D4D24}"/>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5000"/>
                    </a14:imgEffect>
                  </a14:imgLayer>
                </a14:imgProps>
              </a:ext>
              <a:ext uri="{28A0092B-C50C-407E-A947-70E740481C1C}">
                <a14:useLocalDpi xmlns:a14="http://schemas.microsoft.com/office/drawing/2010/main" val="0"/>
              </a:ext>
            </a:extLst>
          </a:blip>
          <a:srcRect l="1400" t="19723" b="23728"/>
          <a:stretch/>
        </p:blipFill>
        <p:spPr>
          <a:xfrm flipH="1">
            <a:off x="4216400" y="-1"/>
            <a:ext cx="7975600" cy="6858001"/>
          </a:xfrm>
          <a:prstGeom prst="rect">
            <a:avLst/>
          </a:prstGeom>
        </p:spPr>
      </p:pic>
      <p:pic>
        <p:nvPicPr>
          <p:cNvPr id="10" name="Graphic 9">
            <a:extLst>
              <a:ext uri="{FF2B5EF4-FFF2-40B4-BE49-F238E27FC236}">
                <a16:creationId xmlns:a16="http://schemas.microsoft.com/office/drawing/2014/main" id="{129C7400-C7F4-42AB-93DC-A8F5E8F7F17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9157" y="5707336"/>
            <a:ext cx="2088000" cy="479676"/>
          </a:xfrm>
          <a:prstGeom prst="rect">
            <a:avLst/>
          </a:prstGeom>
        </p:spPr>
      </p:pic>
      <p:sp>
        <p:nvSpPr>
          <p:cNvPr id="7" name="Date Placeholder 3">
            <a:extLst>
              <a:ext uri="{FF2B5EF4-FFF2-40B4-BE49-F238E27FC236}">
                <a16:creationId xmlns:a16="http://schemas.microsoft.com/office/drawing/2014/main" id="{DB61603A-CAE5-4007-81DD-7BDC7635C1F4}"/>
              </a:ext>
            </a:extLst>
          </p:cNvPr>
          <p:cNvSpPr>
            <a:spLocks noGrp="1"/>
          </p:cNvSpPr>
          <p:nvPr>
            <p:ph type="dt" sz="half" idx="2"/>
          </p:nvPr>
        </p:nvSpPr>
        <p:spPr>
          <a:xfrm>
            <a:off x="552000" y="488951"/>
            <a:ext cx="937075" cy="215900"/>
          </a:xfrm>
          <a:prstGeom prst="rect">
            <a:avLst/>
          </a:prstGeom>
        </p:spPr>
        <p:txBody>
          <a:bodyPr vert="horz" lIns="0" tIns="0" rIns="0" bIns="0" rtlCol="0" anchor="ctr"/>
          <a:lstStyle>
            <a:lvl1pPr algn="l">
              <a:lnSpc>
                <a:spcPct val="95000"/>
              </a:lnSpc>
              <a:defRPr sz="1000">
                <a:solidFill>
                  <a:schemeClr val="tx1"/>
                </a:solidFill>
              </a:defRPr>
            </a:lvl1pPr>
          </a:lstStyle>
          <a:p>
            <a:fld id="{02C7F40E-128E-40FD-B48F-147DBEDF18A2}" type="datetime1">
              <a:rPr lang="en-GB" smtClean="0"/>
              <a:t>21/10/2024</a:t>
            </a:fld>
            <a:endParaRPr lang="en-GB"/>
          </a:p>
        </p:txBody>
      </p:sp>
      <p:sp>
        <p:nvSpPr>
          <p:cNvPr id="6" name="Freeform: Shape 21">
            <a:extLst>
              <a:ext uri="{FF2B5EF4-FFF2-40B4-BE49-F238E27FC236}">
                <a16:creationId xmlns:a16="http://schemas.microsoft.com/office/drawing/2014/main" id="{66C973E3-680C-2546-ADE9-FBBDFCA3A53E}"/>
              </a:ext>
            </a:extLst>
          </p:cNvPr>
          <p:cNvSpPr>
            <a:spLocks noChangeAspect="1"/>
          </p:cNvSpPr>
          <p:nvPr userDrawn="1"/>
        </p:nvSpPr>
        <p:spPr>
          <a:xfrm rot="5400000" flipV="1">
            <a:off x="563400" y="774507"/>
            <a:ext cx="6557574" cy="5008564"/>
          </a:xfrm>
          <a:custGeom>
            <a:avLst/>
            <a:gdLst>
              <a:gd name="connsiteX0" fmla="*/ 0 w 6543647"/>
              <a:gd name="connsiteY0" fmla="*/ 1472324 h 5008564"/>
              <a:gd name="connsiteX1" fmla="*/ 0 w 6543647"/>
              <a:gd name="connsiteY1" fmla="*/ 3421336 h 5008564"/>
              <a:gd name="connsiteX2" fmla="*/ 36961 w 6543647"/>
              <a:gd name="connsiteY2" fmla="*/ 3520186 h 5008564"/>
              <a:gd name="connsiteX3" fmla="*/ 416286 w 6543647"/>
              <a:gd name="connsiteY3" fmla="*/ 4220115 h 5008564"/>
              <a:gd name="connsiteX4" fmla="*/ 928515 w 6543647"/>
              <a:gd name="connsiteY4" fmla="*/ 4609907 h 5008564"/>
              <a:gd name="connsiteX5" fmla="*/ 1553211 w 6543647"/>
              <a:gd name="connsiteY5" fmla="*/ 4851353 h 5008564"/>
              <a:gd name="connsiteX6" fmla="*/ 2365734 w 6543647"/>
              <a:gd name="connsiteY6" fmla="*/ 4995895 h 5008564"/>
              <a:gd name="connsiteX7" fmla="*/ 3241598 w 6543647"/>
              <a:gd name="connsiteY7" fmla="*/ 4995025 h 5008564"/>
              <a:gd name="connsiteX8" fmla="*/ 4041104 w 6543647"/>
              <a:gd name="connsiteY8" fmla="*/ 4988797 h 5008564"/>
              <a:gd name="connsiteX9" fmla="*/ 4799761 w 6543647"/>
              <a:gd name="connsiteY9" fmla="*/ 4866675 h 5008564"/>
              <a:gd name="connsiteX10" fmla="*/ 5513452 w 6543647"/>
              <a:gd name="connsiteY10" fmla="*/ 4630144 h 5008564"/>
              <a:gd name="connsiteX11" fmla="*/ 6009670 w 6543647"/>
              <a:gd name="connsiteY11" fmla="*/ 4239046 h 5008564"/>
              <a:gd name="connsiteX12" fmla="*/ 6310339 w 6543647"/>
              <a:gd name="connsiteY12" fmla="*/ 3671083 h 5008564"/>
              <a:gd name="connsiteX13" fmla="*/ 6499104 w 6543647"/>
              <a:gd name="connsiteY13" fmla="*/ 3014379 h 5008564"/>
              <a:gd name="connsiteX14" fmla="*/ 6526439 w 6543647"/>
              <a:gd name="connsiteY14" fmla="*/ 2809983 h 5008564"/>
              <a:gd name="connsiteX15" fmla="*/ 6539269 w 6543647"/>
              <a:gd name="connsiteY15" fmla="*/ 2589336 h 5008564"/>
              <a:gd name="connsiteX16" fmla="*/ 6542511 w 6543647"/>
              <a:gd name="connsiteY16" fmla="*/ 2346705 h 5008564"/>
              <a:gd name="connsiteX17" fmla="*/ 6489388 w 6543647"/>
              <a:gd name="connsiteY17" fmla="*/ 1943032 h 5008564"/>
              <a:gd name="connsiteX18" fmla="*/ 6448285 w 6543647"/>
              <a:gd name="connsiteY18" fmla="*/ 1627724 h 5008564"/>
              <a:gd name="connsiteX19" fmla="*/ 6335250 w 6543647"/>
              <a:gd name="connsiteY19" fmla="*/ 1727929 h 5008564"/>
              <a:gd name="connsiteX20" fmla="*/ 5863695 w 6543647"/>
              <a:gd name="connsiteY20" fmla="*/ 1857150 h 5008564"/>
              <a:gd name="connsiteX21" fmla="*/ 5373329 w 6543647"/>
              <a:gd name="connsiteY21" fmla="*/ 1655876 h 5008564"/>
              <a:gd name="connsiteX22" fmla="*/ 5087037 w 6543647"/>
              <a:gd name="connsiteY22" fmla="*/ 1279035 h 5008564"/>
              <a:gd name="connsiteX23" fmla="*/ 5026696 w 6543647"/>
              <a:gd name="connsiteY23" fmla="*/ 972446 h 5008564"/>
              <a:gd name="connsiteX24" fmla="*/ 5103671 w 6543647"/>
              <a:gd name="connsiteY24" fmla="*/ 648360 h 5008564"/>
              <a:gd name="connsiteX25" fmla="*/ 5267827 w 6543647"/>
              <a:gd name="connsiteY25" fmla="*/ 383998 h 5008564"/>
              <a:gd name="connsiteX26" fmla="*/ 5367035 w 6543647"/>
              <a:gd name="connsiteY26" fmla="*/ 304345 h 5008564"/>
              <a:gd name="connsiteX27" fmla="*/ 4948723 w 6543647"/>
              <a:gd name="connsiteY27" fmla="*/ 174186 h 5008564"/>
              <a:gd name="connsiteX28" fmla="*/ 4148280 w 6543647"/>
              <a:gd name="connsiteY28" fmla="*/ 35182 h 5008564"/>
              <a:gd name="connsiteX29" fmla="*/ 3307484 w 6543647"/>
              <a:gd name="connsiteY29" fmla="*/ 14075 h 5008564"/>
              <a:gd name="connsiteX30" fmla="*/ 2398185 w 6543647"/>
              <a:gd name="connsiteY30" fmla="*/ 10024 h 5008564"/>
              <a:gd name="connsiteX31" fmla="*/ 1598117 w 6543647"/>
              <a:gd name="connsiteY31" fmla="*/ 103941 h 5008564"/>
              <a:gd name="connsiteX32" fmla="*/ 968245 w 6543647"/>
              <a:gd name="connsiteY32" fmla="*/ 319103 h 5008564"/>
              <a:gd name="connsiteX33" fmla="*/ 407072 w 6543647"/>
              <a:gd name="connsiteY33" fmla="*/ 766002 h 5008564"/>
              <a:gd name="connsiteX34" fmla="*/ 37771 w 6543647"/>
              <a:gd name="connsiteY34" fmla="*/ 1367280 h 5008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543647" h="5008564">
                <a:moveTo>
                  <a:pt x="0" y="1472324"/>
                </a:moveTo>
                <a:lnTo>
                  <a:pt x="0" y="3421336"/>
                </a:lnTo>
                <a:lnTo>
                  <a:pt x="36961" y="3520186"/>
                </a:lnTo>
                <a:cubicBezTo>
                  <a:pt x="138974" y="3788973"/>
                  <a:pt x="241851" y="4011676"/>
                  <a:pt x="416286" y="4220115"/>
                </a:cubicBezTo>
                <a:cubicBezTo>
                  <a:pt x="525712" y="4350896"/>
                  <a:pt x="717705" y="4492760"/>
                  <a:pt x="928515" y="4609907"/>
                </a:cubicBezTo>
                <a:cubicBezTo>
                  <a:pt x="1139318" y="4727048"/>
                  <a:pt x="1368811" y="4819532"/>
                  <a:pt x="1553211" y="4851353"/>
                </a:cubicBezTo>
                <a:cubicBezTo>
                  <a:pt x="1807547" y="4895255"/>
                  <a:pt x="2080446" y="4964884"/>
                  <a:pt x="2365734" y="4995895"/>
                </a:cubicBezTo>
                <a:cubicBezTo>
                  <a:pt x="2651028" y="5026913"/>
                  <a:pt x="2952193" y="4990665"/>
                  <a:pt x="3241598" y="4995025"/>
                </a:cubicBezTo>
                <a:cubicBezTo>
                  <a:pt x="3512750" y="4999136"/>
                  <a:pt x="3767334" y="5011029"/>
                  <a:pt x="4041104" y="4988797"/>
                </a:cubicBezTo>
                <a:cubicBezTo>
                  <a:pt x="4314874" y="4966565"/>
                  <a:pt x="4551277" y="4902608"/>
                  <a:pt x="4799761" y="4866675"/>
                </a:cubicBezTo>
                <a:cubicBezTo>
                  <a:pt x="5061504" y="4828806"/>
                  <a:pt x="5289504" y="4773755"/>
                  <a:pt x="5513452" y="4630144"/>
                </a:cubicBezTo>
                <a:cubicBezTo>
                  <a:pt x="5677300" y="4525084"/>
                  <a:pt x="5881507" y="4383340"/>
                  <a:pt x="6009670" y="4239046"/>
                </a:cubicBezTo>
                <a:cubicBezTo>
                  <a:pt x="6154647" y="4075761"/>
                  <a:pt x="6232995" y="3861529"/>
                  <a:pt x="6310339" y="3671083"/>
                </a:cubicBezTo>
                <a:cubicBezTo>
                  <a:pt x="6394727" y="3463206"/>
                  <a:pt x="6472573" y="3275693"/>
                  <a:pt x="6499104" y="3014379"/>
                </a:cubicBezTo>
                <a:cubicBezTo>
                  <a:pt x="6506263" y="2943571"/>
                  <a:pt x="6522080" y="2881789"/>
                  <a:pt x="6526439" y="2809983"/>
                </a:cubicBezTo>
                <a:cubicBezTo>
                  <a:pt x="6530799" y="2738178"/>
                  <a:pt x="6538151" y="2661517"/>
                  <a:pt x="6539269" y="2589336"/>
                </a:cubicBezTo>
                <a:cubicBezTo>
                  <a:pt x="6540455" y="2509689"/>
                  <a:pt x="6545999" y="2428107"/>
                  <a:pt x="6542511" y="2346705"/>
                </a:cubicBezTo>
                <a:cubicBezTo>
                  <a:pt x="6539082" y="2265250"/>
                  <a:pt x="6496801" y="2024735"/>
                  <a:pt x="6489388" y="1943032"/>
                </a:cubicBezTo>
                <a:cubicBezTo>
                  <a:pt x="6471200" y="1829561"/>
                  <a:pt x="6467276" y="1735771"/>
                  <a:pt x="6448285" y="1627724"/>
                </a:cubicBezTo>
                <a:cubicBezTo>
                  <a:pt x="6414776" y="1663349"/>
                  <a:pt x="6378100" y="1697474"/>
                  <a:pt x="6335250" y="1727929"/>
                </a:cubicBezTo>
                <a:cubicBezTo>
                  <a:pt x="6213502" y="1814494"/>
                  <a:pt x="6046788" y="1857150"/>
                  <a:pt x="5863695" y="1857150"/>
                </a:cubicBezTo>
                <a:cubicBezTo>
                  <a:pt x="5680601" y="1857150"/>
                  <a:pt x="5506474" y="1776317"/>
                  <a:pt x="5373329" y="1655876"/>
                </a:cubicBezTo>
                <a:cubicBezTo>
                  <a:pt x="5240178" y="1535427"/>
                  <a:pt x="5148008" y="1375376"/>
                  <a:pt x="5087037" y="1279035"/>
                </a:cubicBezTo>
                <a:cubicBezTo>
                  <a:pt x="5026006" y="1182693"/>
                  <a:pt x="5014924" y="1079006"/>
                  <a:pt x="5026696" y="972446"/>
                </a:cubicBezTo>
                <a:cubicBezTo>
                  <a:pt x="5038462" y="865893"/>
                  <a:pt x="5073156" y="756413"/>
                  <a:pt x="5103671" y="648360"/>
                </a:cubicBezTo>
                <a:cubicBezTo>
                  <a:pt x="5134187" y="540313"/>
                  <a:pt x="5196464" y="454619"/>
                  <a:pt x="5267827" y="383998"/>
                </a:cubicBezTo>
                <a:cubicBezTo>
                  <a:pt x="5299776" y="352425"/>
                  <a:pt x="5333472" y="327139"/>
                  <a:pt x="5367035" y="304345"/>
                </a:cubicBezTo>
                <a:cubicBezTo>
                  <a:pt x="5235008" y="243809"/>
                  <a:pt x="5095388" y="198970"/>
                  <a:pt x="4948723" y="174186"/>
                </a:cubicBezTo>
                <a:cubicBezTo>
                  <a:pt x="4717054" y="134952"/>
                  <a:pt x="4415514" y="62276"/>
                  <a:pt x="4148280" y="35182"/>
                </a:cubicBezTo>
                <a:cubicBezTo>
                  <a:pt x="3881053" y="8095"/>
                  <a:pt x="3596013" y="18434"/>
                  <a:pt x="3307484" y="14075"/>
                </a:cubicBezTo>
                <a:cubicBezTo>
                  <a:pt x="3020074" y="9716"/>
                  <a:pt x="2684905" y="-12704"/>
                  <a:pt x="2398185" y="10024"/>
                </a:cubicBezTo>
                <a:cubicBezTo>
                  <a:pt x="2111457" y="32758"/>
                  <a:pt x="1855440" y="67318"/>
                  <a:pt x="1598117" y="103941"/>
                </a:cubicBezTo>
                <a:cubicBezTo>
                  <a:pt x="1378903" y="135140"/>
                  <a:pt x="1165106" y="210802"/>
                  <a:pt x="968245" y="319103"/>
                </a:cubicBezTo>
                <a:cubicBezTo>
                  <a:pt x="756879" y="435373"/>
                  <a:pt x="565067" y="589257"/>
                  <a:pt x="407072" y="766002"/>
                </a:cubicBezTo>
                <a:cubicBezTo>
                  <a:pt x="251695" y="939815"/>
                  <a:pt x="128072" y="1143212"/>
                  <a:pt x="37771" y="1367280"/>
                </a:cubicBezTo>
                <a:close/>
              </a:path>
            </a:pathLst>
          </a:custGeom>
          <a:solidFill>
            <a:schemeClr val="accent1"/>
          </a:solidFill>
          <a:ln w="929" cap="flat">
            <a:noFill/>
            <a:prstDash val="solid"/>
            <a:miter/>
          </a:ln>
        </p:spPr>
        <p:txBody>
          <a:bodyPr wrap="square" rtlCol="0" anchor="ctr">
            <a:noAutofit/>
          </a:bodyPr>
          <a:lstStyle/>
          <a:p>
            <a:endParaRPr lang="en-GB"/>
          </a:p>
        </p:txBody>
      </p:sp>
      <p:sp>
        <p:nvSpPr>
          <p:cNvPr id="5" name="Text Placeholder 4">
            <a:extLst>
              <a:ext uri="{FF2B5EF4-FFF2-40B4-BE49-F238E27FC236}">
                <a16:creationId xmlns:a16="http://schemas.microsoft.com/office/drawing/2014/main" id="{D29E67D6-50DD-4D3C-97E8-81CFF1CA6FC3}"/>
              </a:ext>
            </a:extLst>
          </p:cNvPr>
          <p:cNvSpPr>
            <a:spLocks noGrp="1"/>
          </p:cNvSpPr>
          <p:nvPr>
            <p:ph type="body" sz="quarter" idx="11"/>
          </p:nvPr>
        </p:nvSpPr>
        <p:spPr>
          <a:xfrm>
            <a:off x="550863" y="1828800"/>
            <a:ext cx="5400675" cy="3686175"/>
          </a:xfrm>
        </p:spPr>
        <p:txBody>
          <a:bodyPr>
            <a:normAutofit/>
          </a:bodyPr>
          <a:lstStyle>
            <a:lvl1pPr marL="0" indent="0">
              <a:lnSpc>
                <a:spcPct val="85000"/>
              </a:lnSpc>
              <a:spcBef>
                <a:spcPts val="0"/>
              </a:spcBef>
              <a:buNone/>
              <a:defRPr sz="6000" b="1"/>
            </a:lvl1pPr>
            <a:lvl2pPr marL="0" indent="0">
              <a:lnSpc>
                <a:spcPct val="85000"/>
              </a:lnSpc>
              <a:buNone/>
              <a:defRPr sz="2000"/>
            </a:lvl2pPr>
          </a:lstStyle>
          <a:p>
            <a:pPr lvl="0"/>
            <a:r>
              <a:rPr lang="en-US"/>
              <a:t>Click to edit Master text styles</a:t>
            </a:r>
          </a:p>
          <a:p>
            <a:pPr lvl="1"/>
            <a:r>
              <a:rPr lang="en-US"/>
              <a:t>Second level</a:t>
            </a:r>
          </a:p>
        </p:txBody>
      </p:sp>
      <p:sp>
        <p:nvSpPr>
          <p:cNvPr id="20" name="TextBox 19">
            <a:extLst>
              <a:ext uri="{FF2B5EF4-FFF2-40B4-BE49-F238E27FC236}">
                <a16:creationId xmlns:a16="http://schemas.microsoft.com/office/drawing/2014/main" id="{8BB9CB9A-8D41-FB4D-A0D0-59326EF6666D}"/>
              </a:ext>
            </a:extLst>
          </p:cNvPr>
          <p:cNvSpPr txBox="1"/>
          <p:nvPr userDrawn="1"/>
        </p:nvSpPr>
        <p:spPr>
          <a:xfrm>
            <a:off x="-1158240" y="1371600"/>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2763499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AEB5E06A-F74B-4FBD-BE67-2AA8CB20ABD3}"/>
              </a:ext>
            </a:extLst>
          </p:cNvPr>
          <p:cNvSpPr>
            <a:spLocks noChangeAspect="1"/>
          </p:cNvSpPr>
          <p:nvPr userDrawn="1"/>
        </p:nvSpPr>
        <p:spPr>
          <a:xfrm flipH="1">
            <a:off x="0" y="0"/>
            <a:ext cx="11640000" cy="6697674"/>
          </a:xfrm>
          <a:custGeom>
            <a:avLst/>
            <a:gdLst>
              <a:gd name="connsiteX0" fmla="*/ 11698350 w 11698350"/>
              <a:gd name="connsiteY0" fmla="*/ 0 h 6697674"/>
              <a:gd name="connsiteX1" fmla="*/ 464940 w 11698350"/>
              <a:gd name="connsiteY1" fmla="*/ 0 h 6697674"/>
              <a:gd name="connsiteX2" fmla="*/ 457588 w 11698350"/>
              <a:gd name="connsiteY2" fmla="*/ 16969 h 6697674"/>
              <a:gd name="connsiteX3" fmla="*/ 99865 w 11698350"/>
              <a:gd name="connsiteY3" fmla="*/ 1547065 h 6697674"/>
              <a:gd name="connsiteX4" fmla="*/ 93486 w 11698350"/>
              <a:gd name="connsiteY4" fmla="*/ 4458638 h 6697674"/>
              <a:gd name="connsiteX5" fmla="*/ 227909 w 11698350"/>
              <a:gd name="connsiteY5" fmla="*/ 4370374 h 6697674"/>
              <a:gd name="connsiteX6" fmla="*/ 1075288 w 11698350"/>
              <a:gd name="connsiteY6" fmla="*/ 4196599 h 6697674"/>
              <a:gd name="connsiteX7" fmla="*/ 2056340 w 11698350"/>
              <a:gd name="connsiteY7" fmla="*/ 4652936 h 6697674"/>
              <a:gd name="connsiteX8" fmla="*/ 2401961 w 11698350"/>
              <a:gd name="connsiteY8" fmla="*/ 5586871 h 6697674"/>
              <a:gd name="connsiteX9" fmla="*/ 2162572 w 11698350"/>
              <a:gd name="connsiteY9" fmla="*/ 6408085 h 6697674"/>
              <a:gd name="connsiteX10" fmla="*/ 2111214 w 11698350"/>
              <a:gd name="connsiteY10" fmla="*/ 6471473 h 6697674"/>
              <a:gd name="connsiteX11" fmla="*/ 6893543 w 11698350"/>
              <a:gd name="connsiteY11" fmla="*/ 6627588 h 6697674"/>
              <a:gd name="connsiteX12" fmla="*/ 9478422 w 11698350"/>
              <a:gd name="connsiteY12" fmla="*/ 6688851 h 6697674"/>
              <a:gd name="connsiteX13" fmla="*/ 11671300 w 11698350"/>
              <a:gd name="connsiteY13" fmla="*/ 6088518 h 6697674"/>
              <a:gd name="connsiteX14" fmla="*/ 11698350 w 11698350"/>
              <a:gd name="connsiteY14" fmla="*/ 6071378 h 669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98350" h="6697674">
                <a:moveTo>
                  <a:pt x="11698350" y="0"/>
                </a:moveTo>
                <a:lnTo>
                  <a:pt x="464940" y="0"/>
                </a:lnTo>
                <a:lnTo>
                  <a:pt x="457588" y="16969"/>
                </a:lnTo>
                <a:cubicBezTo>
                  <a:pt x="277409" y="465941"/>
                  <a:pt x="174254" y="994593"/>
                  <a:pt x="99865" y="1547065"/>
                </a:cubicBezTo>
                <a:cubicBezTo>
                  <a:pt x="-33490" y="2537900"/>
                  <a:pt x="-30945" y="3402188"/>
                  <a:pt x="93486" y="4458638"/>
                </a:cubicBezTo>
                <a:cubicBezTo>
                  <a:pt x="140174" y="4428750"/>
                  <a:pt x="185683" y="4400471"/>
                  <a:pt x="227909" y="4370374"/>
                </a:cubicBezTo>
                <a:cubicBezTo>
                  <a:pt x="388916" y="4255725"/>
                  <a:pt x="720931" y="4162569"/>
                  <a:pt x="1075288" y="4196599"/>
                </a:cubicBezTo>
                <a:cubicBezTo>
                  <a:pt x="1429634" y="4230629"/>
                  <a:pt x="1867253" y="4345906"/>
                  <a:pt x="2056340" y="4652936"/>
                </a:cubicBezTo>
                <a:cubicBezTo>
                  <a:pt x="2250098" y="4967831"/>
                  <a:pt x="2396430" y="5269111"/>
                  <a:pt x="2401961" y="5586871"/>
                </a:cubicBezTo>
                <a:cubicBezTo>
                  <a:pt x="2407491" y="5904642"/>
                  <a:pt x="2311042" y="6229959"/>
                  <a:pt x="2162572" y="6408085"/>
                </a:cubicBezTo>
                <a:cubicBezTo>
                  <a:pt x="2145243" y="6428829"/>
                  <a:pt x="2128223" y="6450101"/>
                  <a:pt x="2111214" y="6471473"/>
                </a:cubicBezTo>
                <a:cubicBezTo>
                  <a:pt x="2897968" y="6579843"/>
                  <a:pt x="4412352" y="6603660"/>
                  <a:pt x="6893543" y="6627588"/>
                </a:cubicBezTo>
                <a:cubicBezTo>
                  <a:pt x="7763251" y="6635994"/>
                  <a:pt x="8375913" y="6725646"/>
                  <a:pt x="9478422" y="6688851"/>
                </a:cubicBezTo>
                <a:cubicBezTo>
                  <a:pt x="10581030" y="6652045"/>
                  <a:pt x="11132219" y="6382570"/>
                  <a:pt x="11671300" y="6088518"/>
                </a:cubicBezTo>
                <a:lnTo>
                  <a:pt x="11698350" y="6071378"/>
                </a:lnTo>
                <a:close/>
              </a:path>
            </a:pathLst>
          </a:custGeom>
          <a:solidFill>
            <a:schemeClr val="tx2"/>
          </a:solidFill>
          <a:ln w="960" cap="flat">
            <a:noFill/>
            <a:prstDash val="solid"/>
            <a:miter/>
          </a:ln>
        </p:spPr>
        <p:txBody>
          <a:bodyPr wrap="square" rtlCol="0" anchor="ctr">
            <a:noAutofit/>
          </a:bodyPr>
          <a:lstStyle/>
          <a:p>
            <a:endParaRPr lang="en-GB"/>
          </a:p>
        </p:txBody>
      </p:sp>
      <p:pic>
        <p:nvPicPr>
          <p:cNvPr id="10" name="Graphic 9">
            <a:extLst>
              <a:ext uri="{FF2B5EF4-FFF2-40B4-BE49-F238E27FC236}">
                <a16:creationId xmlns:a16="http://schemas.microsoft.com/office/drawing/2014/main" id="{129C7400-C7F4-42AB-93DC-A8F5E8F7F1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67496" y="5275137"/>
            <a:ext cx="2088000" cy="479676"/>
          </a:xfrm>
          <a:prstGeom prst="rect">
            <a:avLst/>
          </a:prstGeom>
        </p:spPr>
      </p:pic>
      <p:sp>
        <p:nvSpPr>
          <p:cNvPr id="15" name="Date Placeholder 3">
            <a:extLst>
              <a:ext uri="{FF2B5EF4-FFF2-40B4-BE49-F238E27FC236}">
                <a16:creationId xmlns:a16="http://schemas.microsoft.com/office/drawing/2014/main" id="{1FF59077-A028-4AEA-BC14-8864A3F53EC1}"/>
              </a:ext>
            </a:extLst>
          </p:cNvPr>
          <p:cNvSpPr>
            <a:spLocks noGrp="1"/>
          </p:cNvSpPr>
          <p:nvPr>
            <p:ph type="dt" sz="half" idx="2"/>
          </p:nvPr>
        </p:nvSpPr>
        <p:spPr>
          <a:xfrm>
            <a:off x="552000" y="488951"/>
            <a:ext cx="937075" cy="215900"/>
          </a:xfrm>
          <a:prstGeom prst="rect">
            <a:avLst/>
          </a:prstGeom>
        </p:spPr>
        <p:txBody>
          <a:bodyPr vert="horz" lIns="0" tIns="0" rIns="0" bIns="0" rtlCol="0" anchor="ctr"/>
          <a:lstStyle>
            <a:lvl1pPr algn="l">
              <a:lnSpc>
                <a:spcPct val="95000"/>
              </a:lnSpc>
              <a:defRPr sz="1000">
                <a:solidFill>
                  <a:schemeClr val="bg1"/>
                </a:solidFill>
              </a:defRPr>
            </a:lvl1pPr>
          </a:lstStyle>
          <a:p>
            <a:fld id="{C0059E3A-0197-4595-BC6A-60BC4022AF54}" type="datetime1">
              <a:rPr lang="en-GB" smtClean="0"/>
              <a:t>21/10/2024</a:t>
            </a:fld>
            <a:endParaRPr lang="en-GB"/>
          </a:p>
        </p:txBody>
      </p:sp>
      <p:sp>
        <p:nvSpPr>
          <p:cNvPr id="6" name="Text Placeholder 4">
            <a:extLst>
              <a:ext uri="{FF2B5EF4-FFF2-40B4-BE49-F238E27FC236}">
                <a16:creationId xmlns:a16="http://schemas.microsoft.com/office/drawing/2014/main" id="{16EE90EA-E808-448F-B728-46BD0E184435}"/>
              </a:ext>
            </a:extLst>
          </p:cNvPr>
          <p:cNvSpPr>
            <a:spLocks noGrp="1"/>
          </p:cNvSpPr>
          <p:nvPr>
            <p:ph type="body" sz="quarter" idx="11"/>
          </p:nvPr>
        </p:nvSpPr>
        <p:spPr>
          <a:xfrm>
            <a:off x="550863" y="1828800"/>
            <a:ext cx="5400675" cy="4156075"/>
          </a:xfrm>
        </p:spPr>
        <p:txBody>
          <a:bodyPr>
            <a:normAutofit/>
          </a:bodyPr>
          <a:lstStyle>
            <a:lvl1pPr marL="0" indent="0">
              <a:lnSpc>
                <a:spcPct val="85000"/>
              </a:lnSpc>
              <a:spcBef>
                <a:spcPts val="0"/>
              </a:spcBef>
              <a:buNone/>
              <a:defRPr sz="6000" b="1">
                <a:solidFill>
                  <a:schemeClr val="bg1"/>
                </a:solidFill>
              </a:defRPr>
            </a:lvl1pPr>
            <a:lvl2pPr marL="0" indent="0">
              <a:lnSpc>
                <a:spcPct val="85000"/>
              </a:lnSpc>
              <a:buNone/>
              <a:defRPr sz="20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336506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Title Slide (User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1EF753-1643-CC4A-BC08-3966F84D4D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402" t="12251" r="18532"/>
          <a:stretch/>
        </p:blipFill>
        <p:spPr>
          <a:xfrm flipH="1">
            <a:off x="4216400" y="-1"/>
            <a:ext cx="7975600" cy="6858001"/>
          </a:xfrm>
          <a:prstGeom prst="rect">
            <a:avLst/>
          </a:prstGeom>
        </p:spPr>
      </p:pic>
      <p:pic>
        <p:nvPicPr>
          <p:cNvPr id="10" name="Graphic 9">
            <a:extLst>
              <a:ext uri="{FF2B5EF4-FFF2-40B4-BE49-F238E27FC236}">
                <a16:creationId xmlns:a16="http://schemas.microsoft.com/office/drawing/2014/main" id="{129C7400-C7F4-42AB-93DC-A8F5E8F7F17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9157" y="5707336"/>
            <a:ext cx="2088000" cy="479676"/>
          </a:xfrm>
          <a:prstGeom prst="rect">
            <a:avLst/>
          </a:prstGeom>
        </p:spPr>
      </p:pic>
      <p:sp>
        <p:nvSpPr>
          <p:cNvPr id="7" name="Date Placeholder 3">
            <a:extLst>
              <a:ext uri="{FF2B5EF4-FFF2-40B4-BE49-F238E27FC236}">
                <a16:creationId xmlns:a16="http://schemas.microsoft.com/office/drawing/2014/main" id="{DB61603A-CAE5-4007-81DD-7BDC7635C1F4}"/>
              </a:ext>
            </a:extLst>
          </p:cNvPr>
          <p:cNvSpPr>
            <a:spLocks noGrp="1"/>
          </p:cNvSpPr>
          <p:nvPr>
            <p:ph type="dt" sz="half" idx="2"/>
          </p:nvPr>
        </p:nvSpPr>
        <p:spPr>
          <a:xfrm>
            <a:off x="552000" y="488951"/>
            <a:ext cx="937075" cy="215900"/>
          </a:xfrm>
          <a:prstGeom prst="rect">
            <a:avLst/>
          </a:prstGeom>
        </p:spPr>
        <p:txBody>
          <a:bodyPr vert="horz" lIns="0" tIns="0" rIns="0" bIns="0" rtlCol="0" anchor="ctr"/>
          <a:lstStyle>
            <a:lvl1pPr algn="l">
              <a:lnSpc>
                <a:spcPct val="95000"/>
              </a:lnSpc>
              <a:defRPr sz="1000">
                <a:solidFill>
                  <a:schemeClr val="tx1"/>
                </a:solidFill>
              </a:defRPr>
            </a:lvl1pPr>
          </a:lstStyle>
          <a:p>
            <a:fld id="{02C7F40E-128E-40FD-B48F-147DBEDF18A2}" type="datetime1">
              <a:rPr lang="en-GB" smtClean="0"/>
              <a:t>21/10/2024</a:t>
            </a:fld>
            <a:endParaRPr lang="en-GB"/>
          </a:p>
        </p:txBody>
      </p:sp>
      <p:sp>
        <p:nvSpPr>
          <p:cNvPr id="20" name="TextBox 19">
            <a:extLst>
              <a:ext uri="{FF2B5EF4-FFF2-40B4-BE49-F238E27FC236}">
                <a16:creationId xmlns:a16="http://schemas.microsoft.com/office/drawing/2014/main" id="{8BB9CB9A-8D41-FB4D-A0D0-59326EF6666D}"/>
              </a:ext>
            </a:extLst>
          </p:cNvPr>
          <p:cNvSpPr txBox="1"/>
          <p:nvPr userDrawn="1"/>
        </p:nvSpPr>
        <p:spPr>
          <a:xfrm>
            <a:off x="-1158240" y="1371600"/>
            <a:ext cx="184731" cy="369332"/>
          </a:xfrm>
          <a:prstGeom prst="rect">
            <a:avLst/>
          </a:prstGeom>
          <a:noFill/>
        </p:spPr>
        <p:txBody>
          <a:bodyPr wrap="none" rtlCol="0">
            <a:spAutoFit/>
          </a:bodyPr>
          <a:lstStyle/>
          <a:p>
            <a:endParaRPr lang="en-US"/>
          </a:p>
        </p:txBody>
      </p:sp>
      <p:sp>
        <p:nvSpPr>
          <p:cNvPr id="12" name="Graphic 15">
            <a:extLst>
              <a:ext uri="{FF2B5EF4-FFF2-40B4-BE49-F238E27FC236}">
                <a16:creationId xmlns:a16="http://schemas.microsoft.com/office/drawing/2014/main" id="{8D164E64-618A-A645-A7BE-2F365EBA729D}"/>
              </a:ext>
            </a:extLst>
          </p:cNvPr>
          <p:cNvSpPr>
            <a:spLocks noChangeAspect="1"/>
          </p:cNvSpPr>
          <p:nvPr userDrawn="1"/>
        </p:nvSpPr>
        <p:spPr>
          <a:xfrm rot="20871921">
            <a:off x="1230544" y="505199"/>
            <a:ext cx="5758893" cy="5749237"/>
          </a:xfrm>
          <a:custGeom>
            <a:avLst/>
            <a:gdLst>
              <a:gd name="connsiteX0" fmla="*/ 594166 w 773606"/>
              <a:gd name="connsiteY0" fmla="*/ 63077 h 772309"/>
              <a:gd name="connsiteX1" fmla="*/ 255496 w 773606"/>
              <a:gd name="connsiteY1" fmla="*/ 24559 h 772309"/>
              <a:gd name="connsiteX2" fmla="*/ 2249 w 773606"/>
              <a:gd name="connsiteY2" fmla="*/ 418609 h 772309"/>
              <a:gd name="connsiteX3" fmla="*/ 42627 w 773606"/>
              <a:gd name="connsiteY3" fmla="*/ 586219 h 772309"/>
              <a:gd name="connsiteX4" fmla="*/ 60602 w 773606"/>
              <a:gd name="connsiteY4" fmla="*/ 574294 h 772309"/>
              <a:gd name="connsiteX5" fmla="*/ 123947 w 773606"/>
              <a:gd name="connsiteY5" fmla="*/ 561304 h 772309"/>
              <a:gd name="connsiteX6" fmla="*/ 197278 w 773606"/>
              <a:gd name="connsiteY6" fmla="*/ 595417 h 772309"/>
              <a:gd name="connsiteX7" fmla="*/ 223116 w 773606"/>
              <a:gd name="connsiteY7" fmla="*/ 665234 h 772309"/>
              <a:gd name="connsiteX8" fmla="*/ 205220 w 773606"/>
              <a:gd name="connsiteY8" fmla="*/ 726624 h 772309"/>
              <a:gd name="connsiteX9" fmla="*/ 198932 w 773606"/>
              <a:gd name="connsiteY9" fmla="*/ 734486 h 772309"/>
              <a:gd name="connsiteX10" fmla="*/ 530081 w 773606"/>
              <a:gd name="connsiteY10" fmla="*/ 747477 h 772309"/>
              <a:gd name="connsiteX11" fmla="*/ 770290 w 773606"/>
              <a:gd name="connsiteY11" fmla="*/ 500701 h 772309"/>
              <a:gd name="connsiteX12" fmla="*/ 594166 w 773606"/>
              <a:gd name="connsiteY12" fmla="*/ 63077 h 77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3606" h="772309">
                <a:moveTo>
                  <a:pt x="594166" y="63077"/>
                </a:moveTo>
                <a:cubicBezTo>
                  <a:pt x="464048" y="-19563"/>
                  <a:pt x="371431" y="-8028"/>
                  <a:pt x="255496" y="24559"/>
                </a:cubicBezTo>
                <a:cubicBezTo>
                  <a:pt x="115242" y="63983"/>
                  <a:pt x="-19113" y="255658"/>
                  <a:pt x="2249" y="418609"/>
                </a:cubicBezTo>
                <a:cubicBezTo>
                  <a:pt x="11264" y="487400"/>
                  <a:pt x="23714" y="542025"/>
                  <a:pt x="42627" y="586219"/>
                </a:cubicBezTo>
                <a:cubicBezTo>
                  <a:pt x="48828" y="581775"/>
                  <a:pt x="55084" y="578229"/>
                  <a:pt x="60602" y="574294"/>
                </a:cubicBezTo>
                <a:cubicBezTo>
                  <a:pt x="72638" y="565724"/>
                  <a:pt x="97458" y="558760"/>
                  <a:pt x="123947" y="561304"/>
                </a:cubicBezTo>
                <a:cubicBezTo>
                  <a:pt x="150437" y="563848"/>
                  <a:pt x="183151" y="572465"/>
                  <a:pt x="197278" y="595417"/>
                </a:cubicBezTo>
                <a:cubicBezTo>
                  <a:pt x="211763" y="618949"/>
                  <a:pt x="222702" y="641471"/>
                  <a:pt x="223116" y="665234"/>
                </a:cubicBezTo>
                <a:cubicBezTo>
                  <a:pt x="223529" y="688988"/>
                  <a:pt x="216318" y="713308"/>
                  <a:pt x="205220" y="726624"/>
                </a:cubicBezTo>
                <a:cubicBezTo>
                  <a:pt x="203090" y="729176"/>
                  <a:pt x="201015" y="731823"/>
                  <a:pt x="198932" y="734486"/>
                </a:cubicBezTo>
                <a:cubicBezTo>
                  <a:pt x="311210" y="782592"/>
                  <a:pt x="430428" y="782417"/>
                  <a:pt x="530081" y="747477"/>
                </a:cubicBezTo>
                <a:cubicBezTo>
                  <a:pt x="639918" y="708959"/>
                  <a:pt x="756394" y="660448"/>
                  <a:pt x="770290" y="500701"/>
                </a:cubicBezTo>
                <a:cubicBezTo>
                  <a:pt x="786508" y="314361"/>
                  <a:pt x="745645" y="159288"/>
                  <a:pt x="594166" y="63077"/>
                </a:cubicBezTo>
                <a:close/>
              </a:path>
            </a:pathLst>
          </a:custGeom>
          <a:solidFill>
            <a:schemeClr val="accent4"/>
          </a:solidFill>
          <a:ln w="794" cap="flat">
            <a:noFill/>
            <a:prstDash val="solid"/>
            <a:miter/>
          </a:ln>
        </p:spPr>
        <p:txBody>
          <a:bodyPr rtlCol="0" anchor="ctr"/>
          <a:lstStyle/>
          <a:p>
            <a:endParaRPr lang="en-GB"/>
          </a:p>
        </p:txBody>
      </p:sp>
      <p:sp>
        <p:nvSpPr>
          <p:cNvPr id="5" name="Text Placeholder 4">
            <a:extLst>
              <a:ext uri="{FF2B5EF4-FFF2-40B4-BE49-F238E27FC236}">
                <a16:creationId xmlns:a16="http://schemas.microsoft.com/office/drawing/2014/main" id="{D29E67D6-50DD-4D3C-97E8-81CFF1CA6FC3}"/>
              </a:ext>
            </a:extLst>
          </p:cNvPr>
          <p:cNvSpPr>
            <a:spLocks noGrp="1"/>
          </p:cNvSpPr>
          <p:nvPr>
            <p:ph type="body" sz="quarter" idx="11"/>
          </p:nvPr>
        </p:nvSpPr>
        <p:spPr>
          <a:xfrm>
            <a:off x="550863" y="1828800"/>
            <a:ext cx="5400675" cy="3686175"/>
          </a:xfrm>
        </p:spPr>
        <p:txBody>
          <a:bodyPr>
            <a:normAutofit/>
          </a:bodyPr>
          <a:lstStyle>
            <a:lvl1pPr marL="0" indent="0">
              <a:lnSpc>
                <a:spcPct val="85000"/>
              </a:lnSpc>
              <a:spcBef>
                <a:spcPts val="0"/>
              </a:spcBef>
              <a:buNone/>
              <a:defRPr sz="6000" b="1"/>
            </a:lvl1pPr>
            <a:lvl2pPr marL="0" indent="0">
              <a:lnSpc>
                <a:spcPct val="85000"/>
              </a:lnSpc>
              <a:buNone/>
              <a:defRPr sz="20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433319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Content and Sidebar">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A3AFF7AA-80ED-4214-A766-C7BB8A516BE3}"/>
              </a:ext>
            </a:extLst>
          </p:cNvPr>
          <p:cNvSpPr>
            <a:spLocks noChangeAspect="1"/>
          </p:cNvSpPr>
          <p:nvPr userDrawn="1"/>
        </p:nvSpPr>
        <p:spPr>
          <a:xfrm rot="5400000">
            <a:off x="7442725" y="2088804"/>
            <a:ext cx="5926163" cy="3612230"/>
          </a:xfrm>
          <a:custGeom>
            <a:avLst/>
            <a:gdLst>
              <a:gd name="connsiteX0" fmla="*/ 3 w 5926163"/>
              <a:gd name="connsiteY0" fmla="*/ 1746143 h 3612230"/>
              <a:gd name="connsiteX1" fmla="*/ 50104 w 5926163"/>
              <a:gd name="connsiteY1" fmla="*/ 1028100 h 3612230"/>
              <a:gd name="connsiteX2" fmla="*/ 305001 w 5926163"/>
              <a:gd name="connsiteY2" fmla="*/ 99423 h 3612230"/>
              <a:gd name="connsiteX3" fmla="*/ 368919 w 5926163"/>
              <a:gd name="connsiteY3" fmla="*/ 0 h 3612230"/>
              <a:gd name="connsiteX4" fmla="*/ 5926163 w 5926163"/>
              <a:gd name="connsiteY4" fmla="*/ 0 h 3612230"/>
              <a:gd name="connsiteX5" fmla="*/ 5926163 w 5926163"/>
              <a:gd name="connsiteY5" fmla="*/ 3255489 h 3612230"/>
              <a:gd name="connsiteX6" fmla="*/ 5855649 w 5926163"/>
              <a:gd name="connsiteY6" fmla="*/ 3306608 h 3612230"/>
              <a:gd name="connsiteX7" fmla="*/ 4755452 w 5926163"/>
              <a:gd name="connsiteY7" fmla="*/ 3607804 h 3612230"/>
              <a:gd name="connsiteX8" fmla="*/ 3458583 w 5926163"/>
              <a:gd name="connsiteY8" fmla="*/ 3577068 h 3612230"/>
              <a:gd name="connsiteX9" fmla="*/ 1059224 w 5926163"/>
              <a:gd name="connsiteY9" fmla="*/ 3498742 h 3612230"/>
              <a:gd name="connsiteX10" fmla="*/ 1084992 w 5926163"/>
              <a:gd name="connsiteY10" fmla="*/ 3466940 h 3612230"/>
              <a:gd name="connsiteX11" fmla="*/ 1205096 w 5926163"/>
              <a:gd name="connsiteY11" fmla="*/ 3054925 h 3612230"/>
              <a:gd name="connsiteX12" fmla="*/ 1031694 w 5926163"/>
              <a:gd name="connsiteY12" fmla="*/ 2586358 h 3612230"/>
              <a:gd name="connsiteX13" fmla="*/ 539486 w 5926163"/>
              <a:gd name="connsiteY13" fmla="*/ 2357407 h 3612230"/>
              <a:gd name="connsiteX14" fmla="*/ 114345 w 5926163"/>
              <a:gd name="connsiteY14" fmla="*/ 2444592 h 3612230"/>
              <a:gd name="connsiteX15" fmla="*/ 46903 w 5926163"/>
              <a:gd name="connsiteY15" fmla="*/ 2488876 h 3612230"/>
              <a:gd name="connsiteX16" fmla="*/ 3 w 5926163"/>
              <a:gd name="connsiteY16" fmla="*/ 1746143 h 3612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26163" h="3612230">
                <a:moveTo>
                  <a:pt x="3" y="1746143"/>
                </a:moveTo>
                <a:cubicBezTo>
                  <a:pt x="243" y="1509343"/>
                  <a:pt x="16651" y="1276658"/>
                  <a:pt x="50104" y="1028100"/>
                </a:cubicBezTo>
                <a:cubicBezTo>
                  <a:pt x="96756" y="681622"/>
                  <a:pt x="165959" y="353817"/>
                  <a:pt x="305001" y="99423"/>
                </a:cubicBezTo>
                <a:lnTo>
                  <a:pt x="368919" y="0"/>
                </a:lnTo>
                <a:lnTo>
                  <a:pt x="5926163" y="0"/>
                </a:lnTo>
                <a:lnTo>
                  <a:pt x="5926163" y="3255489"/>
                </a:lnTo>
                <a:lnTo>
                  <a:pt x="5855649" y="3306608"/>
                </a:lnTo>
                <a:cubicBezTo>
                  <a:pt x="5585184" y="3454138"/>
                  <a:pt x="5308645" y="3589338"/>
                  <a:pt x="4755452" y="3607804"/>
                </a:cubicBezTo>
                <a:cubicBezTo>
                  <a:pt x="4202308" y="3626264"/>
                  <a:pt x="3894928" y="3581285"/>
                  <a:pt x="3458583" y="3577068"/>
                </a:cubicBezTo>
                <a:cubicBezTo>
                  <a:pt x="2213736" y="3565062"/>
                  <a:pt x="1453949" y="3553113"/>
                  <a:pt x="1059224" y="3498742"/>
                </a:cubicBezTo>
                <a:cubicBezTo>
                  <a:pt x="1067758" y="3488020"/>
                  <a:pt x="1076297" y="3477347"/>
                  <a:pt x="1084992" y="3466940"/>
                </a:cubicBezTo>
                <a:cubicBezTo>
                  <a:pt x="1159481" y="3377571"/>
                  <a:pt x="1207871" y="3214355"/>
                  <a:pt x="1205096" y="3054925"/>
                </a:cubicBezTo>
                <a:cubicBezTo>
                  <a:pt x="1202321" y="2895501"/>
                  <a:pt x="1128905" y="2744345"/>
                  <a:pt x="1031694" y="2586358"/>
                </a:cubicBezTo>
                <a:cubicBezTo>
                  <a:pt x="936826" y="2432316"/>
                  <a:pt x="717266" y="2374481"/>
                  <a:pt x="539486" y="2357407"/>
                </a:cubicBezTo>
                <a:cubicBezTo>
                  <a:pt x="361701" y="2340334"/>
                  <a:pt x="195124" y="2387072"/>
                  <a:pt x="114345" y="2444592"/>
                </a:cubicBezTo>
                <a:cubicBezTo>
                  <a:pt x="93160" y="2459692"/>
                  <a:pt x="70327" y="2473880"/>
                  <a:pt x="46903" y="2488876"/>
                </a:cubicBezTo>
                <a:cubicBezTo>
                  <a:pt x="15689" y="2223858"/>
                  <a:pt x="-238" y="1982943"/>
                  <a:pt x="3" y="1746143"/>
                </a:cubicBezTo>
                <a:close/>
              </a:path>
            </a:pathLst>
          </a:custGeom>
          <a:solidFill>
            <a:schemeClr val="accent3"/>
          </a:solidFill>
          <a:ln w="960" cap="flat">
            <a:noFill/>
            <a:prstDash val="solid"/>
            <a:miter/>
          </a:ln>
        </p:spPr>
        <p:txBody>
          <a:bodyPr wrap="square" rtlCol="0" anchor="ctr">
            <a:noAutofit/>
          </a:bodyPr>
          <a:lstStyle/>
          <a:p>
            <a:endParaRPr lang="en-GB"/>
          </a:p>
        </p:txBody>
      </p:sp>
      <p:sp>
        <p:nvSpPr>
          <p:cNvPr id="2" name="Title 1">
            <a:extLst>
              <a:ext uri="{FF2B5EF4-FFF2-40B4-BE49-F238E27FC236}">
                <a16:creationId xmlns:a16="http://schemas.microsoft.com/office/drawing/2014/main" id="{F41E2F89-DD66-4E89-87E7-3A363611DB44}"/>
              </a:ext>
            </a:extLst>
          </p:cNvPr>
          <p:cNvSpPr>
            <a:spLocks noGrp="1"/>
          </p:cNvSpPr>
          <p:nvPr>
            <p:ph type="title"/>
          </p:nvPr>
        </p:nvSpPr>
        <p:spPr>
          <a:xfrm>
            <a:off x="552000" y="1066800"/>
            <a:ext cx="7307713" cy="990599"/>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9F270E6-A09A-4FA9-A57A-40655181314C}"/>
              </a:ext>
            </a:extLst>
          </p:cNvPr>
          <p:cNvSpPr>
            <a:spLocks noGrp="1"/>
          </p:cNvSpPr>
          <p:nvPr>
            <p:ph idx="1"/>
          </p:nvPr>
        </p:nvSpPr>
        <p:spPr>
          <a:xfrm>
            <a:off x="552000" y="2057400"/>
            <a:ext cx="7307713" cy="3927475"/>
          </a:xfrm>
        </p:spPr>
        <p:txBody>
          <a:bodyPr/>
          <a:lstStyle>
            <a:lvl1pPr marL="0" indent="0">
              <a:buNone/>
              <a:defRPr b="1"/>
            </a:lvl1pPr>
            <a:lvl2pPr marL="0" indent="0">
              <a:buNone/>
              <a:defRPr/>
            </a:lvl2pPr>
            <a:lvl3pPr marL="177800" indent="-177800">
              <a:buFont typeface="Arial" panose="020B0604020202020204" pitchFamily="34" charset="0"/>
              <a:buChar char="•"/>
              <a:defRPr/>
            </a:lvl3pPr>
            <a:lvl4pPr marL="984250" indent="-88900">
              <a:buNone/>
              <a:defRPr>
                <a:solidFill>
                  <a:schemeClr val="tx2"/>
                </a:solidFill>
              </a:defRPr>
            </a:lvl4pPr>
            <a:lvl5pPr marL="1022350" indent="-127000">
              <a:spcBef>
                <a:spcPts val="300"/>
              </a:spcBef>
              <a:buClr>
                <a:schemeClr val="tx1"/>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E225D5-D12D-4BBC-BA72-C43FA86D9545}"/>
              </a:ext>
            </a:extLst>
          </p:cNvPr>
          <p:cNvSpPr>
            <a:spLocks noGrp="1"/>
          </p:cNvSpPr>
          <p:nvPr>
            <p:ph type="dt" sz="half" idx="10"/>
          </p:nvPr>
        </p:nvSpPr>
        <p:spPr>
          <a:xfrm>
            <a:off x="552000" y="488951"/>
            <a:ext cx="937075" cy="215900"/>
          </a:xfrm>
          <a:prstGeom prst="rect">
            <a:avLst/>
          </a:prstGeom>
        </p:spPr>
        <p:txBody>
          <a:bodyPr/>
          <a:lstStyle/>
          <a:p>
            <a:fld id="{2A8CCFA6-1DD0-45BF-B711-5E13CF7AFEEE}" type="datetime1">
              <a:rPr lang="en-GB" smtClean="0"/>
              <a:t>21/10/2024</a:t>
            </a:fld>
            <a:endParaRPr lang="en-GB"/>
          </a:p>
        </p:txBody>
      </p:sp>
      <p:sp>
        <p:nvSpPr>
          <p:cNvPr id="5" name="Footer Placeholder 4">
            <a:extLst>
              <a:ext uri="{FF2B5EF4-FFF2-40B4-BE49-F238E27FC236}">
                <a16:creationId xmlns:a16="http://schemas.microsoft.com/office/drawing/2014/main" id="{31435EBC-72CD-44AB-962C-3C9FD8670617}"/>
              </a:ext>
            </a:extLst>
          </p:cNvPr>
          <p:cNvSpPr>
            <a:spLocks noGrp="1"/>
          </p:cNvSpPr>
          <p:nvPr>
            <p:ph type="ftr" sz="quarter" idx="11"/>
          </p:nvPr>
        </p:nvSpPr>
        <p:spPr>
          <a:xfrm>
            <a:off x="1489074" y="488951"/>
            <a:ext cx="9388926" cy="215900"/>
          </a:xfrm>
          <a:prstGeom prst="rect">
            <a:avLst/>
          </a:prstGeom>
        </p:spPr>
        <p:txBody>
          <a:body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1CD522D-0A7A-4EAD-8C08-C52C0E679D66}"/>
              </a:ext>
            </a:extLst>
          </p:cNvPr>
          <p:cNvSpPr>
            <a:spLocks noGrp="1"/>
          </p:cNvSpPr>
          <p:nvPr>
            <p:ph type="sldNum" sz="quarter" idx="12"/>
          </p:nvPr>
        </p:nvSpPr>
        <p:spPr>
          <a:xfrm>
            <a:off x="10878000" y="488951"/>
            <a:ext cx="762000" cy="215900"/>
          </a:xfrm>
          <a:prstGeom prst="rect">
            <a:avLst/>
          </a:prstGeom>
        </p:spPr>
        <p:txBody>
          <a:bodyPr/>
          <a:lstStyle/>
          <a:p>
            <a:fld id="{60369E12-7D5E-4ED1-AC16-739B6BF9507C}" type="slidenum">
              <a:rPr lang="en-GB" smtClean="0"/>
              <a:t>‹#›</a:t>
            </a:fld>
            <a:endParaRPr lang="en-GB"/>
          </a:p>
        </p:txBody>
      </p:sp>
      <p:sp>
        <p:nvSpPr>
          <p:cNvPr id="12" name="Text Placeholder 11">
            <a:extLst>
              <a:ext uri="{FF2B5EF4-FFF2-40B4-BE49-F238E27FC236}">
                <a16:creationId xmlns:a16="http://schemas.microsoft.com/office/drawing/2014/main" id="{94A6C8CD-E8FB-49F4-83D3-8024BC0EEC66}"/>
              </a:ext>
            </a:extLst>
          </p:cNvPr>
          <p:cNvSpPr>
            <a:spLocks noGrp="1"/>
          </p:cNvSpPr>
          <p:nvPr>
            <p:ph type="body" sz="quarter" idx="13"/>
          </p:nvPr>
        </p:nvSpPr>
        <p:spPr>
          <a:xfrm>
            <a:off x="9058275" y="2447926"/>
            <a:ext cx="2581275" cy="3536950"/>
          </a:xfrm>
        </p:spPr>
        <p:txBody>
          <a:bodyPr/>
          <a:lstStyle>
            <a:lvl1pPr marL="0" indent="0">
              <a:buNone/>
              <a:defRPr b="1"/>
            </a:lvl1pPr>
            <a:lvl2pPr marL="0" indent="0">
              <a:buNone/>
              <a:defRPr/>
            </a:lvl2pPr>
            <a:lvl3pPr marL="180975" indent="-180975">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867175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Content and Image v1">
    <p:spTree>
      <p:nvGrpSpPr>
        <p:cNvPr id="1" name=""/>
        <p:cNvGrpSpPr/>
        <p:nvPr/>
      </p:nvGrpSpPr>
      <p:grpSpPr>
        <a:xfrm>
          <a:off x="0" y="0"/>
          <a:ext cx="0" cy="0"/>
          <a:chOff x="0" y="0"/>
          <a:chExt cx="0" cy="0"/>
        </a:xfrm>
      </p:grpSpPr>
      <p:sp>
        <p:nvSpPr>
          <p:cNvPr id="7" name="Graphic 14">
            <a:extLst>
              <a:ext uri="{FF2B5EF4-FFF2-40B4-BE49-F238E27FC236}">
                <a16:creationId xmlns:a16="http://schemas.microsoft.com/office/drawing/2014/main" id="{D7869137-86EF-4F44-98F2-84FB9EB9C9A8}"/>
              </a:ext>
            </a:extLst>
          </p:cNvPr>
          <p:cNvSpPr>
            <a:spLocks noChangeAspect="1"/>
          </p:cNvSpPr>
          <p:nvPr userDrawn="1"/>
        </p:nvSpPr>
        <p:spPr>
          <a:xfrm rot="18836265">
            <a:off x="4851288" y="-816412"/>
            <a:ext cx="6737532" cy="5607860"/>
          </a:xfrm>
          <a:custGeom>
            <a:avLst/>
            <a:gdLst>
              <a:gd name="connsiteX0" fmla="*/ 832037 w 833601"/>
              <a:gd name="connsiteY0" fmla="*/ 450200 h 693834"/>
              <a:gd name="connsiteX1" fmla="*/ 793435 w 833601"/>
              <a:gd name="connsiteY1" fmla="*/ 405569 h 693834"/>
              <a:gd name="connsiteX2" fmla="*/ 656717 w 833601"/>
              <a:gd name="connsiteY2" fmla="*/ 301735 h 693834"/>
              <a:gd name="connsiteX3" fmla="*/ 500374 w 833601"/>
              <a:gd name="connsiteY3" fmla="*/ 178542 h 693834"/>
              <a:gd name="connsiteX4" fmla="*/ 248824 w 833601"/>
              <a:gd name="connsiteY4" fmla="*/ 0 h 693834"/>
              <a:gd name="connsiteX5" fmla="*/ 225931 w 833601"/>
              <a:gd name="connsiteY5" fmla="*/ 54444 h 693834"/>
              <a:gd name="connsiteX6" fmla="*/ 196454 w 833601"/>
              <a:gd name="connsiteY6" fmla="*/ 80184 h 693834"/>
              <a:gd name="connsiteX7" fmla="*/ 156479 w 833601"/>
              <a:gd name="connsiteY7" fmla="*/ 92134 h 693834"/>
              <a:gd name="connsiteX8" fmla="*/ 117526 w 833601"/>
              <a:gd name="connsiteY8" fmla="*/ 90878 h 693834"/>
              <a:gd name="connsiteX9" fmla="*/ 86685 w 833601"/>
              <a:gd name="connsiteY9" fmla="*/ 77072 h 693834"/>
              <a:gd name="connsiteX10" fmla="*/ 49931 w 833601"/>
              <a:gd name="connsiteY10" fmla="*/ 39897 h 693834"/>
              <a:gd name="connsiteX11" fmla="*/ 37935 w 833601"/>
              <a:gd name="connsiteY11" fmla="*/ 64217 h 693834"/>
              <a:gd name="connsiteX12" fmla="*/ 9130 w 833601"/>
              <a:gd name="connsiteY12" fmla="*/ 148762 h 693834"/>
              <a:gd name="connsiteX13" fmla="*/ 5237 w 833601"/>
              <a:gd name="connsiteY13" fmla="*/ 302780 h 693834"/>
              <a:gd name="connsiteX14" fmla="*/ 27530 w 833601"/>
              <a:gd name="connsiteY14" fmla="*/ 407534 h 693834"/>
              <a:gd name="connsiteX15" fmla="*/ 102878 w 833601"/>
              <a:gd name="connsiteY15" fmla="*/ 533996 h 693834"/>
              <a:gd name="connsiteX16" fmla="*/ 149670 w 833601"/>
              <a:gd name="connsiteY16" fmla="*/ 574439 h 693834"/>
              <a:gd name="connsiteX17" fmla="*/ 201400 w 833601"/>
              <a:gd name="connsiteY17" fmla="*/ 616216 h 693834"/>
              <a:gd name="connsiteX18" fmla="*/ 522276 w 833601"/>
              <a:gd name="connsiteY18" fmla="*/ 690011 h 693834"/>
              <a:gd name="connsiteX19" fmla="*/ 608427 w 833601"/>
              <a:gd name="connsiteY19" fmla="*/ 666931 h 693834"/>
              <a:gd name="connsiteX20" fmla="*/ 683018 w 833601"/>
              <a:gd name="connsiteY20" fmla="*/ 633664 h 693834"/>
              <a:gd name="connsiteX21" fmla="*/ 749233 w 833601"/>
              <a:gd name="connsiteY21" fmla="*/ 584384 h 693834"/>
              <a:gd name="connsiteX22" fmla="*/ 807834 w 833601"/>
              <a:gd name="connsiteY22" fmla="*/ 516867 h 693834"/>
              <a:gd name="connsiteX23" fmla="*/ 823785 w 833601"/>
              <a:gd name="connsiteY23" fmla="*/ 494957 h 693834"/>
              <a:gd name="connsiteX24" fmla="*/ 832037 w 833601"/>
              <a:gd name="connsiteY24" fmla="*/ 450200 h 693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3601" h="693834">
                <a:moveTo>
                  <a:pt x="832037" y="450200"/>
                </a:moveTo>
                <a:cubicBezTo>
                  <a:pt x="828426" y="432916"/>
                  <a:pt x="811874" y="419398"/>
                  <a:pt x="793435" y="405569"/>
                </a:cubicBezTo>
                <a:cubicBezTo>
                  <a:pt x="753086" y="375305"/>
                  <a:pt x="696957" y="332171"/>
                  <a:pt x="656717" y="301735"/>
                </a:cubicBezTo>
                <a:cubicBezTo>
                  <a:pt x="617756" y="271034"/>
                  <a:pt x="539342" y="209243"/>
                  <a:pt x="500374" y="178542"/>
                </a:cubicBezTo>
                <a:cubicBezTo>
                  <a:pt x="418949" y="121009"/>
                  <a:pt x="332947" y="58555"/>
                  <a:pt x="248824" y="0"/>
                </a:cubicBezTo>
                <a:cubicBezTo>
                  <a:pt x="244073" y="21902"/>
                  <a:pt x="232537" y="41831"/>
                  <a:pt x="225931" y="54444"/>
                </a:cubicBezTo>
                <a:cubicBezTo>
                  <a:pt x="219301" y="67096"/>
                  <a:pt x="208755" y="74794"/>
                  <a:pt x="196454" y="80184"/>
                </a:cubicBezTo>
                <a:cubicBezTo>
                  <a:pt x="184154" y="85582"/>
                  <a:pt x="170106" y="88678"/>
                  <a:pt x="156479" y="92134"/>
                </a:cubicBezTo>
                <a:cubicBezTo>
                  <a:pt x="142853" y="95589"/>
                  <a:pt x="129655" y="94201"/>
                  <a:pt x="117526" y="90878"/>
                </a:cubicBezTo>
                <a:cubicBezTo>
                  <a:pt x="105397" y="87555"/>
                  <a:pt x="96029" y="81331"/>
                  <a:pt x="86685" y="77072"/>
                </a:cubicBezTo>
                <a:cubicBezTo>
                  <a:pt x="75484" y="71955"/>
                  <a:pt x="60758" y="58414"/>
                  <a:pt x="49931" y="39897"/>
                </a:cubicBezTo>
                <a:cubicBezTo>
                  <a:pt x="45657" y="47939"/>
                  <a:pt x="41632" y="56043"/>
                  <a:pt x="37935" y="64217"/>
                </a:cubicBezTo>
                <a:cubicBezTo>
                  <a:pt x="25416" y="91697"/>
                  <a:pt x="12788" y="118654"/>
                  <a:pt x="9130" y="148762"/>
                </a:cubicBezTo>
                <a:cubicBezTo>
                  <a:pt x="1275" y="206786"/>
                  <a:pt x="-4770" y="244124"/>
                  <a:pt x="5237" y="302780"/>
                </a:cubicBezTo>
                <a:cubicBezTo>
                  <a:pt x="10541" y="331367"/>
                  <a:pt x="18458" y="378277"/>
                  <a:pt x="27530" y="407534"/>
                </a:cubicBezTo>
                <a:cubicBezTo>
                  <a:pt x="44269" y="457961"/>
                  <a:pt x="70609" y="497851"/>
                  <a:pt x="102878" y="533996"/>
                </a:cubicBezTo>
                <a:cubicBezTo>
                  <a:pt x="115381" y="548036"/>
                  <a:pt x="132440" y="557879"/>
                  <a:pt x="149670" y="574439"/>
                </a:cubicBezTo>
                <a:cubicBezTo>
                  <a:pt x="159724" y="584189"/>
                  <a:pt x="190121" y="608377"/>
                  <a:pt x="201400" y="616216"/>
                </a:cubicBezTo>
                <a:cubicBezTo>
                  <a:pt x="288229" y="676174"/>
                  <a:pt x="417233" y="704753"/>
                  <a:pt x="522276" y="690011"/>
                </a:cubicBezTo>
                <a:cubicBezTo>
                  <a:pt x="551097" y="686096"/>
                  <a:pt x="582406" y="674162"/>
                  <a:pt x="608427" y="666931"/>
                </a:cubicBezTo>
                <a:cubicBezTo>
                  <a:pt x="634448" y="659701"/>
                  <a:pt x="659213" y="651113"/>
                  <a:pt x="683018" y="633664"/>
                </a:cubicBezTo>
                <a:cubicBezTo>
                  <a:pt x="706567" y="616418"/>
                  <a:pt x="728531" y="604445"/>
                  <a:pt x="749233" y="584384"/>
                </a:cubicBezTo>
                <a:cubicBezTo>
                  <a:pt x="769934" y="564322"/>
                  <a:pt x="789364" y="542225"/>
                  <a:pt x="807834" y="516867"/>
                </a:cubicBezTo>
                <a:cubicBezTo>
                  <a:pt x="813052" y="509707"/>
                  <a:pt x="819261" y="502577"/>
                  <a:pt x="823785" y="494957"/>
                </a:cubicBezTo>
                <a:cubicBezTo>
                  <a:pt x="831320" y="482297"/>
                  <a:pt x="836288" y="470551"/>
                  <a:pt x="832037" y="450200"/>
                </a:cubicBezTo>
                <a:close/>
              </a:path>
            </a:pathLst>
          </a:custGeom>
          <a:solidFill>
            <a:schemeClr val="accent2"/>
          </a:solidFill>
          <a:ln w="778"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F41E2F89-DD66-4E89-87E7-3A363611DB44}"/>
              </a:ext>
            </a:extLst>
          </p:cNvPr>
          <p:cNvSpPr>
            <a:spLocks noGrp="1"/>
          </p:cNvSpPr>
          <p:nvPr>
            <p:ph type="title"/>
          </p:nvPr>
        </p:nvSpPr>
        <p:spPr>
          <a:xfrm>
            <a:off x="552000" y="1066800"/>
            <a:ext cx="6300000" cy="990599"/>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9F270E6-A09A-4FA9-A57A-40655181314C}"/>
              </a:ext>
            </a:extLst>
          </p:cNvPr>
          <p:cNvSpPr>
            <a:spLocks noGrp="1"/>
          </p:cNvSpPr>
          <p:nvPr>
            <p:ph idx="1"/>
          </p:nvPr>
        </p:nvSpPr>
        <p:spPr>
          <a:xfrm>
            <a:off x="552000" y="2057400"/>
            <a:ext cx="6363150" cy="3927475"/>
          </a:xfrm>
        </p:spPr>
        <p:txBody>
          <a:bodyPr/>
          <a:lstStyle>
            <a:lvl1pPr marL="0" indent="0">
              <a:buNone/>
              <a:defRPr b="1"/>
            </a:lvl1pPr>
            <a:lvl2pPr marL="0" indent="0">
              <a:spcBef>
                <a:spcPts val="1200"/>
              </a:spcBef>
              <a:buNone/>
              <a:defRPr b="1">
                <a:solidFill>
                  <a:schemeClr val="tx2"/>
                </a:solidFill>
              </a:defRPr>
            </a:lvl2pPr>
            <a:lvl3pPr marL="0" indent="0">
              <a:buFont typeface="Arial" panose="020B0604020202020204" pitchFamily="34" charset="0"/>
              <a:buNone/>
              <a:defRPr/>
            </a:lvl3pPr>
            <a:lvl4pPr marL="984250" indent="-88900">
              <a:buNone/>
              <a:defRPr>
                <a:solidFill>
                  <a:schemeClr val="tx2"/>
                </a:solidFill>
              </a:defRPr>
            </a:lvl4pPr>
            <a:lvl5pPr marL="1022350" indent="-127000">
              <a:spcBef>
                <a:spcPts val="300"/>
              </a:spcBef>
              <a:buClr>
                <a:schemeClr val="tx1"/>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E225D5-D12D-4BBC-BA72-C43FA86D9545}"/>
              </a:ext>
            </a:extLst>
          </p:cNvPr>
          <p:cNvSpPr>
            <a:spLocks noGrp="1"/>
          </p:cNvSpPr>
          <p:nvPr>
            <p:ph type="dt" sz="half" idx="10"/>
          </p:nvPr>
        </p:nvSpPr>
        <p:spPr>
          <a:xfrm>
            <a:off x="552000" y="488951"/>
            <a:ext cx="937075" cy="215900"/>
          </a:xfrm>
          <a:prstGeom prst="rect">
            <a:avLst/>
          </a:prstGeom>
        </p:spPr>
        <p:txBody>
          <a:bodyPr/>
          <a:lstStyle/>
          <a:p>
            <a:fld id="{AC9C462A-B3A1-4C3B-832E-AA70A1406F79}" type="datetime1">
              <a:rPr lang="en-GB" smtClean="0"/>
              <a:t>21/10/2024</a:t>
            </a:fld>
            <a:endParaRPr lang="en-GB"/>
          </a:p>
        </p:txBody>
      </p:sp>
      <p:sp>
        <p:nvSpPr>
          <p:cNvPr id="5" name="Footer Placeholder 4">
            <a:extLst>
              <a:ext uri="{FF2B5EF4-FFF2-40B4-BE49-F238E27FC236}">
                <a16:creationId xmlns:a16="http://schemas.microsoft.com/office/drawing/2014/main" id="{31435EBC-72CD-44AB-962C-3C9FD8670617}"/>
              </a:ext>
            </a:extLst>
          </p:cNvPr>
          <p:cNvSpPr>
            <a:spLocks noGrp="1"/>
          </p:cNvSpPr>
          <p:nvPr>
            <p:ph type="ftr" sz="quarter" idx="11"/>
          </p:nvPr>
        </p:nvSpPr>
        <p:spPr>
          <a:xfrm>
            <a:off x="1489074" y="488951"/>
            <a:ext cx="9388926" cy="215900"/>
          </a:xfrm>
          <a:prstGeom prst="rect">
            <a:avLst/>
          </a:prstGeom>
        </p:spPr>
        <p:txBody>
          <a:body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1CD522D-0A7A-4EAD-8C08-C52C0E679D66}"/>
              </a:ext>
            </a:extLst>
          </p:cNvPr>
          <p:cNvSpPr>
            <a:spLocks noGrp="1"/>
          </p:cNvSpPr>
          <p:nvPr>
            <p:ph type="sldNum" sz="quarter" idx="12"/>
          </p:nvPr>
        </p:nvSpPr>
        <p:spPr>
          <a:xfrm>
            <a:off x="10878000" y="488951"/>
            <a:ext cx="762000" cy="215900"/>
          </a:xfrm>
          <a:prstGeom prst="rect">
            <a:avLst/>
          </a:prstGeom>
        </p:spPr>
        <p:txBody>
          <a:bodyPr/>
          <a:lstStyle/>
          <a:p>
            <a:fld id="{60369E12-7D5E-4ED1-AC16-739B6BF9507C}" type="slidenum">
              <a:rPr lang="en-GB" smtClean="0"/>
              <a:t>‹#›</a:t>
            </a:fld>
            <a:endParaRPr lang="en-GB"/>
          </a:p>
        </p:txBody>
      </p:sp>
      <p:sp>
        <p:nvSpPr>
          <p:cNvPr id="10" name="Picture Placeholder 9">
            <a:extLst>
              <a:ext uri="{FF2B5EF4-FFF2-40B4-BE49-F238E27FC236}">
                <a16:creationId xmlns:a16="http://schemas.microsoft.com/office/drawing/2014/main" id="{6CCCED67-4377-4AC6-9FD8-666262AC67AF}"/>
              </a:ext>
            </a:extLst>
          </p:cNvPr>
          <p:cNvSpPr>
            <a:spLocks noGrp="1"/>
          </p:cNvSpPr>
          <p:nvPr>
            <p:ph type="pic" sz="quarter" idx="13"/>
          </p:nvPr>
        </p:nvSpPr>
        <p:spPr>
          <a:xfrm>
            <a:off x="7172325" y="1104900"/>
            <a:ext cx="4467225" cy="4879975"/>
          </a:xfrm>
        </p:spPr>
        <p:txBody>
          <a:bodyPr/>
          <a:lstStyle>
            <a:lvl1pPr>
              <a:buNone/>
              <a:defRPr/>
            </a:lvl1pPr>
          </a:lstStyle>
          <a:p>
            <a:pPr marL="180975" marR="0" lvl="0" indent="-180975" algn="l" defTabSz="914400" rtl="0" eaLnBrk="1" fontAlgn="auto" latinLnBrk="0" hangingPunct="1">
              <a:lnSpc>
                <a:spcPct val="95000"/>
              </a:lnSpc>
              <a:spcBef>
                <a:spcPts val="900"/>
              </a:spcBef>
              <a:spcAft>
                <a:spcPts val="0"/>
              </a:spcAft>
              <a:buClr>
                <a:schemeClr val="tx2"/>
              </a:buClr>
              <a:buSzTx/>
              <a:buFont typeface="Arial" panose="020B0604020202020204" pitchFamily="34" charset="0"/>
              <a:buChar char="•"/>
              <a:tabLst/>
              <a:defRPr/>
            </a:pPr>
            <a:r>
              <a:rPr lang="en-US"/>
              <a:t>Click icon to add picture</a:t>
            </a:r>
            <a:endParaRPr lang="en-GB"/>
          </a:p>
        </p:txBody>
      </p:sp>
    </p:spTree>
    <p:extLst>
      <p:ext uri="{BB962C8B-B14F-4D97-AF65-F5344CB8AC3E}">
        <p14:creationId xmlns:p14="http://schemas.microsoft.com/office/powerpoint/2010/main" val="38859850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Content and Image v2">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0F76F6AF-CB6C-4365-AD12-B0928A9D0FEB}"/>
              </a:ext>
            </a:extLst>
          </p:cNvPr>
          <p:cNvSpPr>
            <a:spLocks noChangeAspect="1"/>
          </p:cNvSpPr>
          <p:nvPr userDrawn="1"/>
        </p:nvSpPr>
        <p:spPr>
          <a:xfrm rot="5232850">
            <a:off x="1145409" y="122290"/>
            <a:ext cx="6284097" cy="6012004"/>
          </a:xfrm>
          <a:custGeom>
            <a:avLst/>
            <a:gdLst>
              <a:gd name="connsiteX0" fmla="*/ 0 w 6284097"/>
              <a:gd name="connsiteY0" fmla="*/ 3212616 h 6012004"/>
              <a:gd name="connsiteX1" fmla="*/ 51686 w 6284097"/>
              <a:gd name="connsiteY1" fmla="*/ 2150430 h 6012004"/>
              <a:gd name="connsiteX2" fmla="*/ 333899 w 6284097"/>
              <a:gd name="connsiteY2" fmla="*/ 2041944 h 6012004"/>
              <a:gd name="connsiteX3" fmla="*/ 971151 w 6284097"/>
              <a:gd name="connsiteY3" fmla="*/ 1790836 h 6012004"/>
              <a:gd name="connsiteX4" fmla="*/ 996722 w 6284097"/>
              <a:gd name="connsiteY4" fmla="*/ 1838991 h 6012004"/>
              <a:gd name="connsiteX5" fmla="*/ 1273159 w 6284097"/>
              <a:gd name="connsiteY5" fmla="*/ 2202818 h 6012004"/>
              <a:gd name="connsiteX6" fmla="*/ 1746530 w 6284097"/>
              <a:gd name="connsiteY6" fmla="*/ 2397147 h 6012004"/>
              <a:gd name="connsiteX7" fmla="*/ 2201750 w 6284097"/>
              <a:gd name="connsiteY7" fmla="*/ 2272413 h 6012004"/>
              <a:gd name="connsiteX8" fmla="*/ 2476066 w 6284097"/>
              <a:gd name="connsiteY8" fmla="*/ 1974298 h 6012004"/>
              <a:gd name="connsiteX9" fmla="*/ 2611364 w 6284097"/>
              <a:gd name="connsiteY9" fmla="*/ 1510093 h 6012004"/>
              <a:gd name="connsiteX10" fmla="*/ 2522640 w 6284097"/>
              <a:gd name="connsiteY10" fmla="*/ 1175047 h 6012004"/>
              <a:gd name="connsiteX11" fmla="*/ 5878493 w 6284097"/>
              <a:gd name="connsiteY11" fmla="*/ 29289 h 6012004"/>
              <a:gd name="connsiteX12" fmla="*/ 6149711 w 6284097"/>
              <a:gd name="connsiteY12" fmla="*/ 22727 h 6012004"/>
              <a:gd name="connsiteX13" fmla="*/ 6281975 w 6284097"/>
              <a:gd name="connsiteY13" fmla="*/ 387404 h 6012004"/>
              <a:gd name="connsiteX14" fmla="*/ 5845637 w 6284097"/>
              <a:gd name="connsiteY14" fmla="*/ 1833772 h 6012004"/>
              <a:gd name="connsiteX15" fmla="*/ 4185930 w 6284097"/>
              <a:gd name="connsiteY15" fmla="*/ 5852115 h 6012004"/>
              <a:gd name="connsiteX16" fmla="*/ 3900629 w 6284097"/>
              <a:gd name="connsiteY16" fmla="*/ 6010919 h 6012004"/>
              <a:gd name="connsiteX17" fmla="*/ 2970575 w 6284097"/>
              <a:gd name="connsiteY17" fmla="*/ 5575615 h 6012004"/>
              <a:gd name="connsiteX18" fmla="*/ 2207644 w 6284097"/>
              <a:gd name="connsiteY18" fmla="*/ 4971425 h 6012004"/>
              <a:gd name="connsiteX19" fmla="*/ 1093883 w 6284097"/>
              <a:gd name="connsiteY19" fmla="*/ 4080424 h 6012004"/>
              <a:gd name="connsiteX20" fmla="*/ 41071 w 6284097"/>
              <a:gd name="connsiteY20" fmla="*/ 3243405 h 6012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84097" h="6012004">
                <a:moveTo>
                  <a:pt x="0" y="3212616"/>
                </a:moveTo>
                <a:lnTo>
                  <a:pt x="51686" y="2150430"/>
                </a:lnTo>
                <a:lnTo>
                  <a:pt x="333899" y="2041944"/>
                </a:lnTo>
                <a:cubicBezTo>
                  <a:pt x="548696" y="1958160"/>
                  <a:pt x="760851" y="1874369"/>
                  <a:pt x="971151" y="1790836"/>
                </a:cubicBezTo>
                <a:cubicBezTo>
                  <a:pt x="978499" y="1807049"/>
                  <a:pt x="986697" y="1823144"/>
                  <a:pt x="996722" y="1838991"/>
                </a:cubicBezTo>
                <a:cubicBezTo>
                  <a:pt x="1055689" y="1932029"/>
                  <a:pt x="1144596" y="2086520"/>
                  <a:pt x="1273159" y="2202818"/>
                </a:cubicBezTo>
                <a:cubicBezTo>
                  <a:pt x="1401713" y="2319115"/>
                  <a:pt x="1569812" y="2397146"/>
                  <a:pt x="1746530" y="2397147"/>
                </a:cubicBezTo>
                <a:cubicBezTo>
                  <a:pt x="1923256" y="2397147"/>
                  <a:pt x="2084181" y="2355974"/>
                  <a:pt x="2201750" y="2272413"/>
                </a:cubicBezTo>
                <a:cubicBezTo>
                  <a:pt x="2321932" y="2186970"/>
                  <a:pt x="2393895" y="2072857"/>
                  <a:pt x="2476066" y="1974298"/>
                </a:cubicBezTo>
                <a:cubicBezTo>
                  <a:pt x="2559928" y="1873610"/>
                  <a:pt x="2614526" y="1689727"/>
                  <a:pt x="2611364" y="1510093"/>
                </a:cubicBezTo>
                <a:cubicBezTo>
                  <a:pt x="2609362" y="1396100"/>
                  <a:pt x="2575236" y="1285880"/>
                  <a:pt x="2522640" y="1175047"/>
                </a:cubicBezTo>
                <a:cubicBezTo>
                  <a:pt x="3602458" y="752985"/>
                  <a:pt x="4683785" y="357582"/>
                  <a:pt x="5878493" y="29289"/>
                </a:cubicBezTo>
                <a:cubicBezTo>
                  <a:pt x="5967829" y="4751"/>
                  <a:pt x="6066936" y="-18867"/>
                  <a:pt x="6149711" y="22727"/>
                </a:cubicBezTo>
                <a:cubicBezTo>
                  <a:pt x="6272561" y="84427"/>
                  <a:pt x="6291508" y="250397"/>
                  <a:pt x="6281975" y="387404"/>
                </a:cubicBezTo>
                <a:cubicBezTo>
                  <a:pt x="6246204" y="892177"/>
                  <a:pt x="6044526" y="1368408"/>
                  <a:pt x="5845637" y="1833772"/>
                </a:cubicBezTo>
                <a:cubicBezTo>
                  <a:pt x="5368191" y="2950687"/>
                  <a:pt x="4848118" y="4833814"/>
                  <a:pt x="4185930" y="5852115"/>
                </a:cubicBezTo>
                <a:cubicBezTo>
                  <a:pt x="4107167" y="5973202"/>
                  <a:pt x="3900629" y="6010919"/>
                  <a:pt x="3900629" y="6010919"/>
                </a:cubicBezTo>
                <a:cubicBezTo>
                  <a:pt x="3646601" y="6033083"/>
                  <a:pt x="3187195" y="5710127"/>
                  <a:pt x="2970575" y="5575615"/>
                </a:cubicBezTo>
                <a:cubicBezTo>
                  <a:pt x="2753892" y="5441158"/>
                  <a:pt x="2414548" y="5120458"/>
                  <a:pt x="2207644" y="4971425"/>
                </a:cubicBezTo>
                <a:cubicBezTo>
                  <a:pt x="1937102" y="4776611"/>
                  <a:pt x="1359508" y="4281918"/>
                  <a:pt x="1093883" y="4080424"/>
                </a:cubicBezTo>
                <a:cubicBezTo>
                  <a:pt x="616784" y="3718508"/>
                  <a:pt x="398789" y="3514826"/>
                  <a:pt x="41071" y="3243405"/>
                </a:cubicBezTo>
                <a:close/>
              </a:path>
            </a:pathLst>
          </a:custGeom>
          <a:solidFill>
            <a:schemeClr val="accent3"/>
          </a:solidFill>
          <a:ln w="762" cap="flat">
            <a:noFill/>
            <a:prstDash val="solid"/>
            <a:miter/>
          </a:ln>
        </p:spPr>
        <p:txBody>
          <a:bodyPr wrap="square" rtlCol="0" anchor="ctr">
            <a:noAutofit/>
          </a:bodyPr>
          <a:lstStyle/>
          <a:p>
            <a:endParaRPr lang="en-GB"/>
          </a:p>
        </p:txBody>
      </p:sp>
      <p:sp>
        <p:nvSpPr>
          <p:cNvPr id="2" name="Title 1">
            <a:extLst>
              <a:ext uri="{FF2B5EF4-FFF2-40B4-BE49-F238E27FC236}">
                <a16:creationId xmlns:a16="http://schemas.microsoft.com/office/drawing/2014/main" id="{F41E2F89-DD66-4E89-87E7-3A363611DB44}"/>
              </a:ext>
            </a:extLst>
          </p:cNvPr>
          <p:cNvSpPr>
            <a:spLocks noGrp="1"/>
          </p:cNvSpPr>
          <p:nvPr>
            <p:ph type="title"/>
          </p:nvPr>
        </p:nvSpPr>
        <p:spPr>
          <a:xfrm>
            <a:off x="5276850" y="1066800"/>
            <a:ext cx="6363150" cy="990599"/>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9F270E6-A09A-4FA9-A57A-40655181314C}"/>
              </a:ext>
            </a:extLst>
          </p:cNvPr>
          <p:cNvSpPr>
            <a:spLocks noGrp="1"/>
          </p:cNvSpPr>
          <p:nvPr>
            <p:ph idx="1"/>
          </p:nvPr>
        </p:nvSpPr>
        <p:spPr>
          <a:xfrm>
            <a:off x="5276850" y="2057400"/>
            <a:ext cx="6363150" cy="3927475"/>
          </a:xfrm>
        </p:spPr>
        <p:txBody>
          <a:bodyPr/>
          <a:lstStyle>
            <a:lvl1pPr marL="0" indent="0">
              <a:buNone/>
              <a:defRPr b="1"/>
            </a:lvl1pPr>
            <a:lvl2pPr marL="0" indent="0">
              <a:spcBef>
                <a:spcPts val="1200"/>
              </a:spcBef>
              <a:buNone/>
              <a:defRPr b="1">
                <a:solidFill>
                  <a:schemeClr val="tx2"/>
                </a:solidFill>
              </a:defRPr>
            </a:lvl2pPr>
            <a:lvl3pPr marL="0" indent="0">
              <a:buFont typeface="Arial" panose="020B0604020202020204" pitchFamily="34" charset="0"/>
              <a:buNone/>
              <a:defRPr/>
            </a:lvl3pPr>
            <a:lvl4pPr marL="984250" indent="-88900">
              <a:buNone/>
              <a:defRPr>
                <a:solidFill>
                  <a:schemeClr val="tx2"/>
                </a:solidFill>
              </a:defRPr>
            </a:lvl4pPr>
            <a:lvl5pPr marL="1022350" indent="-127000">
              <a:spcBef>
                <a:spcPts val="300"/>
              </a:spcBef>
              <a:buClr>
                <a:schemeClr val="tx1"/>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E225D5-D12D-4BBC-BA72-C43FA86D9545}"/>
              </a:ext>
            </a:extLst>
          </p:cNvPr>
          <p:cNvSpPr>
            <a:spLocks noGrp="1"/>
          </p:cNvSpPr>
          <p:nvPr>
            <p:ph type="dt" sz="half" idx="10"/>
          </p:nvPr>
        </p:nvSpPr>
        <p:spPr>
          <a:xfrm>
            <a:off x="552000" y="488951"/>
            <a:ext cx="937075" cy="215900"/>
          </a:xfrm>
          <a:prstGeom prst="rect">
            <a:avLst/>
          </a:prstGeom>
        </p:spPr>
        <p:txBody>
          <a:bodyPr/>
          <a:lstStyle/>
          <a:p>
            <a:fld id="{E8E6DDD6-C961-4D56-A583-583F5BB4C09A}" type="datetime1">
              <a:rPr lang="en-GB" smtClean="0"/>
              <a:t>21/10/2024</a:t>
            </a:fld>
            <a:endParaRPr lang="en-GB"/>
          </a:p>
        </p:txBody>
      </p:sp>
      <p:sp>
        <p:nvSpPr>
          <p:cNvPr id="5" name="Footer Placeholder 4">
            <a:extLst>
              <a:ext uri="{FF2B5EF4-FFF2-40B4-BE49-F238E27FC236}">
                <a16:creationId xmlns:a16="http://schemas.microsoft.com/office/drawing/2014/main" id="{31435EBC-72CD-44AB-962C-3C9FD8670617}"/>
              </a:ext>
            </a:extLst>
          </p:cNvPr>
          <p:cNvSpPr>
            <a:spLocks noGrp="1"/>
          </p:cNvSpPr>
          <p:nvPr>
            <p:ph type="ftr" sz="quarter" idx="11"/>
          </p:nvPr>
        </p:nvSpPr>
        <p:spPr>
          <a:xfrm>
            <a:off x="1489074" y="488951"/>
            <a:ext cx="9388926" cy="215900"/>
          </a:xfrm>
          <a:prstGeom prst="rect">
            <a:avLst/>
          </a:prstGeom>
        </p:spPr>
        <p:txBody>
          <a:body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1CD522D-0A7A-4EAD-8C08-C52C0E679D66}"/>
              </a:ext>
            </a:extLst>
          </p:cNvPr>
          <p:cNvSpPr>
            <a:spLocks noGrp="1"/>
          </p:cNvSpPr>
          <p:nvPr>
            <p:ph type="sldNum" sz="quarter" idx="12"/>
          </p:nvPr>
        </p:nvSpPr>
        <p:spPr>
          <a:xfrm>
            <a:off x="10878000" y="488951"/>
            <a:ext cx="762000" cy="215900"/>
          </a:xfrm>
          <a:prstGeom prst="rect">
            <a:avLst/>
          </a:prstGeom>
        </p:spPr>
        <p:txBody>
          <a:bodyPr/>
          <a:lstStyle/>
          <a:p>
            <a:fld id="{60369E12-7D5E-4ED1-AC16-739B6BF9507C}" type="slidenum">
              <a:rPr lang="en-GB" smtClean="0"/>
              <a:t>‹#›</a:t>
            </a:fld>
            <a:endParaRPr lang="en-GB"/>
          </a:p>
        </p:txBody>
      </p:sp>
      <p:sp>
        <p:nvSpPr>
          <p:cNvPr id="10" name="Picture Placeholder 9">
            <a:extLst>
              <a:ext uri="{FF2B5EF4-FFF2-40B4-BE49-F238E27FC236}">
                <a16:creationId xmlns:a16="http://schemas.microsoft.com/office/drawing/2014/main" id="{6CCCED67-4377-4AC6-9FD8-666262AC67AF}"/>
              </a:ext>
            </a:extLst>
          </p:cNvPr>
          <p:cNvSpPr>
            <a:spLocks noGrp="1"/>
          </p:cNvSpPr>
          <p:nvPr>
            <p:ph type="pic" sz="quarter" idx="13"/>
          </p:nvPr>
        </p:nvSpPr>
        <p:spPr>
          <a:xfrm>
            <a:off x="552000" y="1104900"/>
            <a:ext cx="4467225" cy="4848225"/>
          </a:xfrm>
        </p:spPr>
        <p:txBody>
          <a:bodyPr/>
          <a:lstStyle>
            <a:lvl1pPr>
              <a:buNone/>
              <a:defRPr/>
            </a:lvl1pPr>
          </a:lstStyle>
          <a:p>
            <a:pPr marL="180975" marR="0" lvl="0" indent="-180975" algn="l" defTabSz="914400" rtl="0" eaLnBrk="1" fontAlgn="auto" latinLnBrk="0" hangingPunct="1">
              <a:lnSpc>
                <a:spcPct val="95000"/>
              </a:lnSpc>
              <a:spcBef>
                <a:spcPts val="900"/>
              </a:spcBef>
              <a:spcAft>
                <a:spcPts val="0"/>
              </a:spcAft>
              <a:buClr>
                <a:schemeClr val="tx2"/>
              </a:buClr>
              <a:buSzTx/>
              <a:buFont typeface="Arial" panose="020B0604020202020204" pitchFamily="34" charset="0"/>
              <a:buChar char="•"/>
              <a:tabLst/>
              <a:defRPr/>
            </a:pPr>
            <a:r>
              <a:rPr lang="en-US"/>
              <a:t>Click icon to add picture</a:t>
            </a:r>
            <a:endParaRPr lang="en-GB"/>
          </a:p>
        </p:txBody>
      </p:sp>
    </p:spTree>
    <p:extLst>
      <p:ext uri="{BB962C8B-B14F-4D97-AF65-F5344CB8AC3E}">
        <p14:creationId xmlns:p14="http://schemas.microsoft.com/office/powerpoint/2010/main" val="2611200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image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4" name="Rectangle 23"/>
          <p:cNvSpPr/>
          <p:nvPr userDrawn="1"/>
        </p:nvSpPr>
        <p:spPr>
          <a:xfrm>
            <a:off x="2722244" y="3429000"/>
            <a:ext cx="9469756"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 name="Group 4"/>
          <p:cNvGrpSpPr>
            <a:grpSpLocks noChangeAspect="1"/>
          </p:cNvGrpSpPr>
          <p:nvPr userDrawn="1"/>
        </p:nvGrpSpPr>
        <p:grpSpPr bwMode="auto">
          <a:xfrm>
            <a:off x="5111749" y="5922963"/>
            <a:ext cx="1946274" cy="452437"/>
            <a:chOff x="3220" y="3731"/>
            <a:chExt cx="1226" cy="285"/>
          </a:xfrm>
          <a:solidFill>
            <a:schemeClr val="tx2"/>
          </a:solidFill>
        </p:grpSpPr>
        <p:sp>
          <p:nvSpPr>
            <p:cNvPr id="12" name="Freeform 5"/>
            <p:cNvSpPr>
              <a:spLocks/>
            </p:cNvSpPr>
            <p:nvPr userDrawn="1"/>
          </p:nvSpPr>
          <p:spPr bwMode="auto">
            <a:xfrm>
              <a:off x="3373" y="3731"/>
              <a:ext cx="139" cy="168"/>
            </a:xfrm>
            <a:custGeom>
              <a:avLst/>
              <a:gdLst>
                <a:gd name="T0" fmla="*/ 1877 w 2346"/>
                <a:gd name="T1" fmla="*/ 256 h 2836"/>
                <a:gd name="T2" fmla="*/ 347 w 2346"/>
                <a:gd name="T3" fmla="*/ 732 h 2836"/>
                <a:gd name="T4" fmla="*/ 198 w 2346"/>
                <a:gd name="T5" fmla="*/ 2836 h 2836"/>
                <a:gd name="T6" fmla="*/ 1952 w 2346"/>
                <a:gd name="T7" fmla="*/ 1423 h 2836"/>
                <a:gd name="T8" fmla="*/ 1877 w 2346"/>
                <a:gd name="T9" fmla="*/ 256 h 2836"/>
              </a:gdLst>
              <a:ahLst/>
              <a:cxnLst>
                <a:cxn ang="0">
                  <a:pos x="T0" y="T1"/>
                </a:cxn>
                <a:cxn ang="0">
                  <a:pos x="T2" y="T3"/>
                </a:cxn>
                <a:cxn ang="0">
                  <a:pos x="T4" y="T5"/>
                </a:cxn>
                <a:cxn ang="0">
                  <a:pos x="T6" y="T7"/>
                </a:cxn>
                <a:cxn ang="0">
                  <a:pos x="T8" y="T9"/>
                </a:cxn>
              </a:cxnLst>
              <a:rect l="0" t="0" r="r" b="b"/>
              <a:pathLst>
                <a:path w="2346" h="2836">
                  <a:moveTo>
                    <a:pt x="1877" y="256"/>
                  </a:moveTo>
                  <a:cubicBezTo>
                    <a:pt x="1440" y="0"/>
                    <a:pt x="754" y="116"/>
                    <a:pt x="347" y="732"/>
                  </a:cubicBezTo>
                  <a:cubicBezTo>
                    <a:pt x="0" y="1257"/>
                    <a:pt x="25" y="2110"/>
                    <a:pt x="198" y="2836"/>
                  </a:cubicBezTo>
                  <a:cubicBezTo>
                    <a:pt x="553" y="1921"/>
                    <a:pt x="1522" y="1777"/>
                    <a:pt x="1952" y="1423"/>
                  </a:cubicBezTo>
                  <a:cubicBezTo>
                    <a:pt x="2346" y="1097"/>
                    <a:pt x="2320" y="515"/>
                    <a:pt x="1877"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3391" y="3857"/>
              <a:ext cx="97" cy="74"/>
            </a:xfrm>
            <a:custGeom>
              <a:avLst/>
              <a:gdLst>
                <a:gd name="T0" fmla="*/ 399 w 1646"/>
                <a:gd name="T1" fmla="*/ 1221 h 1246"/>
                <a:gd name="T2" fmla="*/ 1232 w 1646"/>
                <a:gd name="T3" fmla="*/ 946 h 1246"/>
                <a:gd name="T4" fmla="*/ 1558 w 1646"/>
                <a:gd name="T5" fmla="*/ 281 h 1246"/>
                <a:gd name="T6" fmla="*/ 866 w 1646"/>
                <a:gd name="T7" fmla="*/ 167 h 1246"/>
                <a:gd name="T8" fmla="*/ 135 w 1646"/>
                <a:gd name="T9" fmla="*/ 812 h 1246"/>
                <a:gd name="T10" fmla="*/ 45 w 1646"/>
                <a:gd name="T11" fmla="*/ 1146 h 1246"/>
                <a:gd name="T12" fmla="*/ 399 w 1646"/>
                <a:gd name="T13" fmla="*/ 1221 h 1246"/>
              </a:gdLst>
              <a:ahLst/>
              <a:cxnLst>
                <a:cxn ang="0">
                  <a:pos x="T0" y="T1"/>
                </a:cxn>
                <a:cxn ang="0">
                  <a:pos x="T2" y="T3"/>
                </a:cxn>
                <a:cxn ang="0">
                  <a:pos x="T4" y="T5"/>
                </a:cxn>
                <a:cxn ang="0">
                  <a:pos x="T6" y="T7"/>
                </a:cxn>
                <a:cxn ang="0">
                  <a:pos x="T8" y="T9"/>
                </a:cxn>
                <a:cxn ang="0">
                  <a:pos x="T10" y="T11"/>
                </a:cxn>
                <a:cxn ang="0">
                  <a:pos x="T12" y="T13"/>
                </a:cxn>
              </a:cxnLst>
              <a:rect l="0" t="0" r="r" b="b"/>
              <a:pathLst>
                <a:path w="1646" h="1246">
                  <a:moveTo>
                    <a:pt x="399" y="1221"/>
                  </a:moveTo>
                  <a:cubicBezTo>
                    <a:pt x="630" y="1195"/>
                    <a:pt x="954" y="1100"/>
                    <a:pt x="1232" y="946"/>
                  </a:cubicBezTo>
                  <a:cubicBezTo>
                    <a:pt x="1630" y="726"/>
                    <a:pt x="1646" y="459"/>
                    <a:pt x="1558" y="281"/>
                  </a:cubicBezTo>
                  <a:cubicBezTo>
                    <a:pt x="1459" y="81"/>
                    <a:pt x="1189" y="0"/>
                    <a:pt x="866" y="167"/>
                  </a:cubicBezTo>
                  <a:cubicBezTo>
                    <a:pt x="551" y="330"/>
                    <a:pt x="287" y="584"/>
                    <a:pt x="135" y="812"/>
                  </a:cubicBezTo>
                  <a:cubicBezTo>
                    <a:pt x="35" y="964"/>
                    <a:pt x="0" y="1069"/>
                    <a:pt x="45" y="1146"/>
                  </a:cubicBezTo>
                  <a:cubicBezTo>
                    <a:pt x="87" y="1219"/>
                    <a:pt x="183" y="1246"/>
                    <a:pt x="399" y="12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3235" y="3900"/>
              <a:ext cx="262" cy="116"/>
            </a:xfrm>
            <a:custGeom>
              <a:avLst/>
              <a:gdLst>
                <a:gd name="T0" fmla="*/ 647 w 4416"/>
                <a:gd name="T1" fmla="*/ 324 h 1943"/>
                <a:gd name="T2" fmla="*/ 169 w 4416"/>
                <a:gd name="T3" fmla="*/ 777 h 1943"/>
                <a:gd name="T4" fmla="*/ 1941 w 4416"/>
                <a:gd name="T5" fmla="*/ 1906 h 1943"/>
                <a:gd name="T6" fmla="*/ 4416 w 4416"/>
                <a:gd name="T7" fmla="*/ 193 h 1943"/>
                <a:gd name="T8" fmla="*/ 2422 w 4416"/>
                <a:gd name="T9" fmla="*/ 890 h 1943"/>
                <a:gd name="T10" fmla="*/ 647 w 4416"/>
                <a:gd name="T11" fmla="*/ 324 h 1943"/>
              </a:gdLst>
              <a:ahLst/>
              <a:cxnLst>
                <a:cxn ang="0">
                  <a:pos x="T0" y="T1"/>
                </a:cxn>
                <a:cxn ang="0">
                  <a:pos x="T2" y="T3"/>
                </a:cxn>
                <a:cxn ang="0">
                  <a:pos x="T4" y="T5"/>
                </a:cxn>
                <a:cxn ang="0">
                  <a:pos x="T6" y="T7"/>
                </a:cxn>
                <a:cxn ang="0">
                  <a:pos x="T8" y="T9"/>
                </a:cxn>
                <a:cxn ang="0">
                  <a:pos x="T10" y="T11"/>
                </a:cxn>
              </a:cxnLst>
              <a:rect l="0" t="0" r="r" b="b"/>
              <a:pathLst>
                <a:path w="4416" h="1943">
                  <a:moveTo>
                    <a:pt x="647" y="324"/>
                  </a:moveTo>
                  <a:cubicBezTo>
                    <a:pt x="160" y="0"/>
                    <a:pt x="0" y="335"/>
                    <a:pt x="169" y="777"/>
                  </a:cubicBezTo>
                  <a:cubicBezTo>
                    <a:pt x="423" y="1444"/>
                    <a:pt x="1102" y="1881"/>
                    <a:pt x="1941" y="1906"/>
                  </a:cubicBezTo>
                  <a:cubicBezTo>
                    <a:pt x="3194" y="1943"/>
                    <a:pt x="4101" y="1092"/>
                    <a:pt x="4416" y="193"/>
                  </a:cubicBezTo>
                  <a:cubicBezTo>
                    <a:pt x="4014" y="567"/>
                    <a:pt x="3326" y="913"/>
                    <a:pt x="2422" y="890"/>
                  </a:cubicBezTo>
                  <a:cubicBezTo>
                    <a:pt x="1832" y="875"/>
                    <a:pt x="1221" y="707"/>
                    <a:pt x="647"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3220" y="3747"/>
              <a:ext cx="147" cy="178"/>
            </a:xfrm>
            <a:custGeom>
              <a:avLst/>
              <a:gdLst>
                <a:gd name="T0" fmla="*/ 1220 w 2480"/>
                <a:gd name="T1" fmla="*/ 1524 h 3000"/>
                <a:gd name="T2" fmla="*/ 2475 w 2480"/>
                <a:gd name="T3" fmla="*/ 2898 h 3000"/>
                <a:gd name="T4" fmla="*/ 2085 w 2480"/>
                <a:gd name="T5" fmla="*/ 1226 h 3000"/>
                <a:gd name="T6" fmla="*/ 429 w 2480"/>
                <a:gd name="T7" fmla="*/ 314 h 3000"/>
                <a:gd name="T8" fmla="*/ 824 w 2480"/>
                <a:gd name="T9" fmla="*/ 2169 h 3000"/>
                <a:gd name="T10" fmla="*/ 2161 w 2480"/>
                <a:gd name="T11" fmla="*/ 3000 h 3000"/>
                <a:gd name="T12" fmla="*/ 1176 w 2480"/>
                <a:gd name="T13" fmla="*/ 1537 h 3000"/>
                <a:gd name="T14" fmla="*/ 1220 w 2480"/>
                <a:gd name="T15" fmla="*/ 1524 h 3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0" h="3000">
                  <a:moveTo>
                    <a:pt x="1220" y="1524"/>
                  </a:moveTo>
                  <a:cubicBezTo>
                    <a:pt x="1665" y="2130"/>
                    <a:pt x="2113" y="2617"/>
                    <a:pt x="2475" y="2898"/>
                  </a:cubicBezTo>
                  <a:cubicBezTo>
                    <a:pt x="2480" y="2419"/>
                    <a:pt x="2337" y="1683"/>
                    <a:pt x="2085" y="1226"/>
                  </a:cubicBezTo>
                  <a:cubicBezTo>
                    <a:pt x="1579" y="311"/>
                    <a:pt x="828" y="0"/>
                    <a:pt x="429" y="314"/>
                  </a:cubicBezTo>
                  <a:cubicBezTo>
                    <a:pt x="0" y="652"/>
                    <a:pt x="256" y="1559"/>
                    <a:pt x="824" y="2169"/>
                  </a:cubicBezTo>
                  <a:cubicBezTo>
                    <a:pt x="1260" y="2638"/>
                    <a:pt x="1766" y="2907"/>
                    <a:pt x="2161" y="3000"/>
                  </a:cubicBezTo>
                  <a:cubicBezTo>
                    <a:pt x="1749" y="2664"/>
                    <a:pt x="1295" y="1923"/>
                    <a:pt x="1176" y="1537"/>
                  </a:cubicBezTo>
                  <a:cubicBezTo>
                    <a:pt x="1156" y="1470"/>
                    <a:pt x="1182" y="1471"/>
                    <a:pt x="1220" y="15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4259" y="3774"/>
              <a:ext cx="128" cy="189"/>
            </a:xfrm>
            <a:custGeom>
              <a:avLst/>
              <a:gdLst>
                <a:gd name="T0" fmla="*/ 1678 w 2160"/>
                <a:gd name="T1" fmla="*/ 0 h 3187"/>
                <a:gd name="T2" fmla="*/ 1678 w 2160"/>
                <a:gd name="T3" fmla="*/ 1237 h 3187"/>
                <a:gd name="T4" fmla="*/ 1030 w 2160"/>
                <a:gd name="T5" fmla="*/ 986 h 3187"/>
                <a:gd name="T6" fmla="*/ 0 w 2160"/>
                <a:gd name="T7" fmla="*/ 2089 h 3187"/>
                <a:gd name="T8" fmla="*/ 1030 w 2160"/>
                <a:gd name="T9" fmla="*/ 3187 h 3187"/>
                <a:gd name="T10" fmla="*/ 1703 w 2160"/>
                <a:gd name="T11" fmla="*/ 2910 h 3187"/>
                <a:gd name="T12" fmla="*/ 1743 w 2160"/>
                <a:gd name="T13" fmla="*/ 3142 h 3187"/>
                <a:gd name="T14" fmla="*/ 2160 w 2160"/>
                <a:gd name="T15" fmla="*/ 3142 h 3187"/>
                <a:gd name="T16" fmla="*/ 2160 w 2160"/>
                <a:gd name="T17" fmla="*/ 0 h 3187"/>
                <a:gd name="T18" fmla="*/ 1678 w 2160"/>
                <a:gd name="T19" fmla="*/ 0 h 3187"/>
                <a:gd name="T20" fmla="*/ 1093 w 2160"/>
                <a:gd name="T21" fmla="*/ 2751 h 3187"/>
                <a:gd name="T22" fmla="*/ 482 w 2160"/>
                <a:gd name="T23" fmla="*/ 2089 h 3187"/>
                <a:gd name="T24" fmla="*/ 1093 w 2160"/>
                <a:gd name="T25" fmla="*/ 1422 h 3187"/>
                <a:gd name="T26" fmla="*/ 1710 w 2160"/>
                <a:gd name="T27" fmla="*/ 2089 h 3187"/>
                <a:gd name="T28" fmla="*/ 1093 w 2160"/>
                <a:gd name="T29" fmla="*/ 275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0" h="3187">
                  <a:moveTo>
                    <a:pt x="1678" y="0"/>
                  </a:moveTo>
                  <a:cubicBezTo>
                    <a:pt x="1678" y="1237"/>
                    <a:pt x="1678" y="1237"/>
                    <a:pt x="1678" y="1237"/>
                  </a:cubicBezTo>
                  <a:cubicBezTo>
                    <a:pt x="1514" y="1072"/>
                    <a:pt x="1284" y="986"/>
                    <a:pt x="1030" y="986"/>
                  </a:cubicBezTo>
                  <a:cubicBezTo>
                    <a:pt x="443" y="986"/>
                    <a:pt x="0" y="1460"/>
                    <a:pt x="0" y="2089"/>
                  </a:cubicBezTo>
                  <a:cubicBezTo>
                    <a:pt x="0" y="2715"/>
                    <a:pt x="443" y="3187"/>
                    <a:pt x="1030" y="3187"/>
                  </a:cubicBezTo>
                  <a:cubicBezTo>
                    <a:pt x="1297" y="3187"/>
                    <a:pt x="1536" y="3093"/>
                    <a:pt x="1703" y="2910"/>
                  </a:cubicBezTo>
                  <a:cubicBezTo>
                    <a:pt x="1743" y="3142"/>
                    <a:pt x="1743" y="3142"/>
                    <a:pt x="1743" y="3142"/>
                  </a:cubicBezTo>
                  <a:cubicBezTo>
                    <a:pt x="2160" y="3142"/>
                    <a:pt x="2160" y="3142"/>
                    <a:pt x="2160" y="3142"/>
                  </a:cubicBezTo>
                  <a:cubicBezTo>
                    <a:pt x="2160" y="0"/>
                    <a:pt x="2160" y="0"/>
                    <a:pt x="2160" y="0"/>
                  </a:cubicBezTo>
                  <a:lnTo>
                    <a:pt x="1678" y="0"/>
                  </a:lnTo>
                  <a:close/>
                  <a:moveTo>
                    <a:pt x="1093" y="2751"/>
                  </a:moveTo>
                  <a:cubicBezTo>
                    <a:pt x="745" y="2751"/>
                    <a:pt x="482" y="2466"/>
                    <a:pt x="482" y="2089"/>
                  </a:cubicBezTo>
                  <a:cubicBezTo>
                    <a:pt x="482" y="1709"/>
                    <a:pt x="745" y="1422"/>
                    <a:pt x="1093" y="1422"/>
                  </a:cubicBezTo>
                  <a:cubicBezTo>
                    <a:pt x="1445" y="1422"/>
                    <a:pt x="1710" y="1709"/>
                    <a:pt x="1710" y="2089"/>
                  </a:cubicBezTo>
                  <a:cubicBezTo>
                    <a:pt x="1710" y="2466"/>
                    <a:pt x="1445" y="2751"/>
                    <a:pt x="1093" y="27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noEditPoints="1"/>
            </p:cNvSpPr>
            <p:nvPr userDrawn="1"/>
          </p:nvSpPr>
          <p:spPr bwMode="auto">
            <a:xfrm>
              <a:off x="3769" y="3832"/>
              <a:ext cx="128" cy="182"/>
            </a:xfrm>
            <a:custGeom>
              <a:avLst/>
              <a:gdLst>
                <a:gd name="T0" fmla="*/ 482 w 2161"/>
                <a:gd name="T1" fmla="*/ 1949 h 3066"/>
                <a:gd name="T2" fmla="*/ 1131 w 2161"/>
                <a:gd name="T3" fmla="*/ 2202 h 3066"/>
                <a:gd name="T4" fmla="*/ 2161 w 2161"/>
                <a:gd name="T5" fmla="*/ 1099 h 3066"/>
                <a:gd name="T6" fmla="*/ 1131 w 2161"/>
                <a:gd name="T7" fmla="*/ 0 h 3066"/>
                <a:gd name="T8" fmla="*/ 457 w 2161"/>
                <a:gd name="T9" fmla="*/ 280 h 3066"/>
                <a:gd name="T10" fmla="*/ 418 w 2161"/>
                <a:gd name="T11" fmla="*/ 46 h 3066"/>
                <a:gd name="T12" fmla="*/ 0 w 2161"/>
                <a:gd name="T13" fmla="*/ 46 h 3066"/>
                <a:gd name="T14" fmla="*/ 0 w 2161"/>
                <a:gd name="T15" fmla="*/ 3066 h 3066"/>
                <a:gd name="T16" fmla="*/ 482 w 2161"/>
                <a:gd name="T17" fmla="*/ 3066 h 3066"/>
                <a:gd name="T18" fmla="*/ 482 w 2161"/>
                <a:gd name="T19" fmla="*/ 1949 h 3066"/>
                <a:gd name="T20" fmla="*/ 450 w 2161"/>
                <a:gd name="T21" fmla="*/ 1099 h 3066"/>
                <a:gd name="T22" fmla="*/ 1067 w 2161"/>
                <a:gd name="T23" fmla="*/ 437 h 3066"/>
                <a:gd name="T24" fmla="*/ 1679 w 2161"/>
                <a:gd name="T25" fmla="*/ 1099 h 3066"/>
                <a:gd name="T26" fmla="*/ 1067 w 2161"/>
                <a:gd name="T27" fmla="*/ 1765 h 3066"/>
                <a:gd name="T28" fmla="*/ 450 w 2161"/>
                <a:gd name="T29" fmla="*/ 1099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1" h="3066">
                  <a:moveTo>
                    <a:pt x="482" y="1949"/>
                  </a:moveTo>
                  <a:cubicBezTo>
                    <a:pt x="648" y="2119"/>
                    <a:pt x="880" y="2202"/>
                    <a:pt x="1131" y="2202"/>
                  </a:cubicBezTo>
                  <a:cubicBezTo>
                    <a:pt x="1718" y="2202"/>
                    <a:pt x="2161" y="1728"/>
                    <a:pt x="2161" y="1099"/>
                  </a:cubicBezTo>
                  <a:cubicBezTo>
                    <a:pt x="2161" y="473"/>
                    <a:pt x="1718" y="0"/>
                    <a:pt x="1131" y="0"/>
                  </a:cubicBezTo>
                  <a:cubicBezTo>
                    <a:pt x="870" y="0"/>
                    <a:pt x="626" y="90"/>
                    <a:pt x="457" y="280"/>
                  </a:cubicBezTo>
                  <a:cubicBezTo>
                    <a:pt x="418" y="46"/>
                    <a:pt x="418" y="46"/>
                    <a:pt x="418" y="46"/>
                  </a:cubicBezTo>
                  <a:cubicBezTo>
                    <a:pt x="0" y="46"/>
                    <a:pt x="0" y="46"/>
                    <a:pt x="0" y="46"/>
                  </a:cubicBezTo>
                  <a:cubicBezTo>
                    <a:pt x="0" y="3066"/>
                    <a:pt x="0" y="3066"/>
                    <a:pt x="0" y="3066"/>
                  </a:cubicBezTo>
                  <a:cubicBezTo>
                    <a:pt x="482" y="3066"/>
                    <a:pt x="482" y="3066"/>
                    <a:pt x="482" y="3066"/>
                  </a:cubicBezTo>
                  <a:lnTo>
                    <a:pt x="482" y="1949"/>
                  </a:lnTo>
                  <a:close/>
                  <a:moveTo>
                    <a:pt x="450" y="1099"/>
                  </a:moveTo>
                  <a:cubicBezTo>
                    <a:pt x="450" y="722"/>
                    <a:pt x="715" y="437"/>
                    <a:pt x="1067" y="437"/>
                  </a:cubicBezTo>
                  <a:cubicBezTo>
                    <a:pt x="1416" y="437"/>
                    <a:pt x="1679" y="722"/>
                    <a:pt x="1679" y="1099"/>
                  </a:cubicBezTo>
                  <a:cubicBezTo>
                    <a:pt x="1679" y="1479"/>
                    <a:pt x="1416" y="1765"/>
                    <a:pt x="1067" y="1765"/>
                  </a:cubicBezTo>
                  <a:cubicBezTo>
                    <a:pt x="715" y="1765"/>
                    <a:pt x="450" y="1479"/>
                    <a:pt x="450" y="10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3587" y="3774"/>
              <a:ext cx="153" cy="189"/>
            </a:xfrm>
            <a:custGeom>
              <a:avLst/>
              <a:gdLst>
                <a:gd name="T0" fmla="*/ 2585 w 2585"/>
                <a:gd name="T1" fmla="*/ 0 h 3187"/>
                <a:gd name="T2" fmla="*/ 2085 w 2585"/>
                <a:gd name="T3" fmla="*/ 0 h 3187"/>
                <a:gd name="T4" fmla="*/ 2085 w 2585"/>
                <a:gd name="T5" fmla="*/ 1889 h 3187"/>
                <a:gd name="T6" fmla="*/ 1290 w 2585"/>
                <a:gd name="T7" fmla="*/ 2724 h 3187"/>
                <a:gd name="T8" fmla="*/ 500 w 2585"/>
                <a:gd name="T9" fmla="*/ 1889 h 3187"/>
                <a:gd name="T10" fmla="*/ 500 w 2585"/>
                <a:gd name="T11" fmla="*/ 0 h 3187"/>
                <a:gd name="T12" fmla="*/ 0 w 2585"/>
                <a:gd name="T13" fmla="*/ 0 h 3187"/>
                <a:gd name="T14" fmla="*/ 0 w 2585"/>
                <a:gd name="T15" fmla="*/ 1898 h 3187"/>
                <a:gd name="T16" fmla="*/ 1290 w 2585"/>
                <a:gd name="T17" fmla="*/ 3187 h 3187"/>
                <a:gd name="T18" fmla="*/ 2585 w 2585"/>
                <a:gd name="T19" fmla="*/ 1898 h 3187"/>
                <a:gd name="T20" fmla="*/ 2585 w 2585"/>
                <a:gd name="T21" fmla="*/ 0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5" h="3187">
                  <a:moveTo>
                    <a:pt x="2585" y="0"/>
                  </a:moveTo>
                  <a:cubicBezTo>
                    <a:pt x="2085" y="0"/>
                    <a:pt x="2085" y="0"/>
                    <a:pt x="2085" y="0"/>
                  </a:cubicBezTo>
                  <a:cubicBezTo>
                    <a:pt x="2085" y="1889"/>
                    <a:pt x="2085" y="1889"/>
                    <a:pt x="2085" y="1889"/>
                  </a:cubicBezTo>
                  <a:cubicBezTo>
                    <a:pt x="2085" y="2420"/>
                    <a:pt x="1740" y="2724"/>
                    <a:pt x="1290" y="2724"/>
                  </a:cubicBezTo>
                  <a:cubicBezTo>
                    <a:pt x="841" y="2724"/>
                    <a:pt x="500" y="2420"/>
                    <a:pt x="500" y="1889"/>
                  </a:cubicBezTo>
                  <a:cubicBezTo>
                    <a:pt x="500" y="0"/>
                    <a:pt x="500" y="0"/>
                    <a:pt x="500" y="0"/>
                  </a:cubicBezTo>
                  <a:cubicBezTo>
                    <a:pt x="0" y="0"/>
                    <a:pt x="0" y="0"/>
                    <a:pt x="0" y="0"/>
                  </a:cubicBezTo>
                  <a:cubicBezTo>
                    <a:pt x="0" y="1898"/>
                    <a:pt x="0" y="1898"/>
                    <a:pt x="0" y="1898"/>
                  </a:cubicBezTo>
                  <a:cubicBezTo>
                    <a:pt x="0" y="2693"/>
                    <a:pt x="545" y="3187"/>
                    <a:pt x="1290" y="3187"/>
                  </a:cubicBezTo>
                  <a:cubicBezTo>
                    <a:pt x="2024" y="3187"/>
                    <a:pt x="2585" y="2681"/>
                    <a:pt x="2585" y="1898"/>
                  </a:cubicBezTo>
                  <a:lnTo>
                    <a:pt x="25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2"/>
            <p:cNvSpPr>
              <a:spLocks noChangeArrowheads="1"/>
            </p:cNvSpPr>
            <p:nvPr userDrawn="1"/>
          </p:nvSpPr>
          <p:spPr bwMode="auto">
            <a:xfrm>
              <a:off x="4205" y="3774"/>
              <a:ext cx="29" cy="18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noEditPoints="1"/>
            </p:cNvSpPr>
            <p:nvPr userDrawn="1"/>
          </p:nvSpPr>
          <p:spPr bwMode="auto">
            <a:xfrm>
              <a:off x="4063" y="3832"/>
              <a:ext cx="117" cy="131"/>
            </a:xfrm>
            <a:custGeom>
              <a:avLst/>
              <a:gdLst>
                <a:gd name="T0" fmla="*/ 1724 w 1970"/>
                <a:gd name="T1" fmla="*/ 208 h 2200"/>
                <a:gd name="T2" fmla="*/ 1068 w 1970"/>
                <a:gd name="T3" fmla="*/ 0 h 2200"/>
                <a:gd name="T4" fmla="*/ 0 w 1970"/>
                <a:gd name="T5" fmla="*/ 1111 h 2200"/>
                <a:gd name="T6" fmla="*/ 1098 w 1970"/>
                <a:gd name="T7" fmla="*/ 2200 h 2200"/>
                <a:gd name="T8" fmla="*/ 1970 w 1970"/>
                <a:gd name="T9" fmla="*/ 1850 h 2200"/>
                <a:gd name="T10" fmla="*/ 1679 w 1970"/>
                <a:gd name="T11" fmla="*/ 1530 h 2200"/>
                <a:gd name="T12" fmla="*/ 1099 w 1970"/>
                <a:gd name="T13" fmla="*/ 1776 h 2200"/>
                <a:gd name="T14" fmla="*/ 480 w 1970"/>
                <a:gd name="T15" fmla="*/ 1290 h 2200"/>
                <a:gd name="T16" fmla="*/ 1038 w 1970"/>
                <a:gd name="T17" fmla="*/ 1382 h 2200"/>
                <a:gd name="T18" fmla="*/ 1965 w 1970"/>
                <a:gd name="T19" fmla="*/ 728 h 2200"/>
                <a:gd name="T20" fmla="*/ 1724 w 1970"/>
                <a:gd name="T21" fmla="*/ 208 h 2200"/>
                <a:gd name="T22" fmla="*/ 1000 w 1970"/>
                <a:gd name="T23" fmla="*/ 987 h 2200"/>
                <a:gd name="T24" fmla="*/ 983 w 1970"/>
                <a:gd name="T25" fmla="*/ 987 h 2200"/>
                <a:gd name="T26" fmla="*/ 488 w 1970"/>
                <a:gd name="T27" fmla="*/ 915 h 2200"/>
                <a:gd name="T28" fmla="*/ 1055 w 1970"/>
                <a:gd name="T29" fmla="*/ 427 h 2200"/>
                <a:gd name="T30" fmla="*/ 1057 w 1970"/>
                <a:gd name="T31" fmla="*/ 427 h 2200"/>
                <a:gd name="T32" fmla="*/ 1482 w 1970"/>
                <a:gd name="T33" fmla="*/ 713 h 2200"/>
                <a:gd name="T34" fmla="*/ 1000 w 1970"/>
                <a:gd name="T35" fmla="*/ 987 h 2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0" h="2200">
                  <a:moveTo>
                    <a:pt x="1724" y="208"/>
                  </a:moveTo>
                  <a:cubicBezTo>
                    <a:pt x="1561" y="72"/>
                    <a:pt x="1334" y="0"/>
                    <a:pt x="1068" y="0"/>
                  </a:cubicBezTo>
                  <a:cubicBezTo>
                    <a:pt x="550" y="0"/>
                    <a:pt x="0" y="389"/>
                    <a:pt x="0" y="1111"/>
                  </a:cubicBezTo>
                  <a:cubicBezTo>
                    <a:pt x="0" y="1773"/>
                    <a:pt x="431" y="2200"/>
                    <a:pt x="1098" y="2200"/>
                  </a:cubicBezTo>
                  <a:cubicBezTo>
                    <a:pt x="1452" y="2200"/>
                    <a:pt x="1721" y="2092"/>
                    <a:pt x="1970" y="1850"/>
                  </a:cubicBezTo>
                  <a:cubicBezTo>
                    <a:pt x="1679" y="1530"/>
                    <a:pt x="1679" y="1530"/>
                    <a:pt x="1679" y="1530"/>
                  </a:cubicBezTo>
                  <a:cubicBezTo>
                    <a:pt x="1510" y="1695"/>
                    <a:pt x="1320" y="1776"/>
                    <a:pt x="1099" y="1776"/>
                  </a:cubicBezTo>
                  <a:cubicBezTo>
                    <a:pt x="767" y="1776"/>
                    <a:pt x="524" y="1578"/>
                    <a:pt x="480" y="1290"/>
                  </a:cubicBezTo>
                  <a:cubicBezTo>
                    <a:pt x="658" y="1356"/>
                    <a:pt x="854" y="1382"/>
                    <a:pt x="1038" y="1382"/>
                  </a:cubicBezTo>
                  <a:cubicBezTo>
                    <a:pt x="1619" y="1382"/>
                    <a:pt x="1965" y="1138"/>
                    <a:pt x="1965" y="728"/>
                  </a:cubicBezTo>
                  <a:cubicBezTo>
                    <a:pt x="1965" y="523"/>
                    <a:pt x="1879" y="339"/>
                    <a:pt x="1724" y="208"/>
                  </a:cubicBezTo>
                  <a:close/>
                  <a:moveTo>
                    <a:pt x="1000" y="987"/>
                  </a:moveTo>
                  <a:cubicBezTo>
                    <a:pt x="994" y="987"/>
                    <a:pt x="989" y="987"/>
                    <a:pt x="983" y="987"/>
                  </a:cubicBezTo>
                  <a:cubicBezTo>
                    <a:pt x="809" y="987"/>
                    <a:pt x="620" y="961"/>
                    <a:pt x="488" y="915"/>
                  </a:cubicBezTo>
                  <a:cubicBezTo>
                    <a:pt x="536" y="633"/>
                    <a:pt x="768" y="427"/>
                    <a:pt x="1055" y="427"/>
                  </a:cubicBezTo>
                  <a:cubicBezTo>
                    <a:pt x="1057" y="427"/>
                    <a:pt x="1057" y="427"/>
                    <a:pt x="1057" y="427"/>
                  </a:cubicBezTo>
                  <a:cubicBezTo>
                    <a:pt x="1311" y="427"/>
                    <a:pt x="1482" y="542"/>
                    <a:pt x="1482" y="713"/>
                  </a:cubicBezTo>
                  <a:cubicBezTo>
                    <a:pt x="1482" y="892"/>
                    <a:pt x="1320" y="984"/>
                    <a:pt x="1000" y="9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14"/>
            <p:cNvSpPr>
              <a:spLocks noChangeArrowheads="1"/>
            </p:cNvSpPr>
            <p:nvPr userDrawn="1"/>
          </p:nvSpPr>
          <p:spPr bwMode="auto">
            <a:xfrm>
              <a:off x="4009" y="3835"/>
              <a:ext cx="29" cy="1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3905" y="3763"/>
              <a:ext cx="132" cy="197"/>
            </a:xfrm>
            <a:custGeom>
              <a:avLst/>
              <a:gdLst>
                <a:gd name="T0" fmla="*/ 1979 w 2223"/>
                <a:gd name="T1" fmla="*/ 261 h 3316"/>
                <a:gd name="T2" fmla="*/ 1320 w 2223"/>
                <a:gd name="T3" fmla="*/ 0 h 3316"/>
                <a:gd name="T4" fmla="*/ 685 w 2223"/>
                <a:gd name="T5" fmla="*/ 256 h 3316"/>
                <a:gd name="T6" fmla="*/ 424 w 2223"/>
                <a:gd name="T7" fmla="*/ 1056 h 3316"/>
                <a:gd name="T8" fmla="*/ 424 w 2223"/>
                <a:gd name="T9" fmla="*/ 1205 h 3316"/>
                <a:gd name="T10" fmla="*/ 0 w 2223"/>
                <a:gd name="T11" fmla="*/ 1205 h 3316"/>
                <a:gd name="T12" fmla="*/ 0 w 2223"/>
                <a:gd name="T13" fmla="*/ 1630 h 3316"/>
                <a:gd name="T14" fmla="*/ 424 w 2223"/>
                <a:gd name="T15" fmla="*/ 1630 h 3316"/>
                <a:gd name="T16" fmla="*/ 424 w 2223"/>
                <a:gd name="T17" fmla="*/ 3316 h 3316"/>
                <a:gd name="T18" fmla="*/ 906 w 2223"/>
                <a:gd name="T19" fmla="*/ 3316 h 3316"/>
                <a:gd name="T20" fmla="*/ 906 w 2223"/>
                <a:gd name="T21" fmla="*/ 1630 h 3316"/>
                <a:gd name="T22" fmla="*/ 1359 w 2223"/>
                <a:gd name="T23" fmla="*/ 1630 h 3316"/>
                <a:gd name="T24" fmla="*/ 1359 w 2223"/>
                <a:gd name="T25" fmla="*/ 1205 h 3316"/>
                <a:gd name="T26" fmla="*/ 906 w 2223"/>
                <a:gd name="T27" fmla="*/ 1205 h 3316"/>
                <a:gd name="T28" fmla="*/ 906 w 2223"/>
                <a:gd name="T29" fmla="*/ 981 h 3316"/>
                <a:gd name="T30" fmla="*/ 1032 w 2223"/>
                <a:gd name="T31" fmla="*/ 553 h 3316"/>
                <a:gd name="T32" fmla="*/ 1329 w 2223"/>
                <a:gd name="T33" fmla="*/ 436 h 3316"/>
                <a:gd name="T34" fmla="*/ 1616 w 2223"/>
                <a:gd name="T35" fmla="*/ 543 h 3316"/>
                <a:gd name="T36" fmla="*/ 1745 w 2223"/>
                <a:gd name="T37" fmla="*/ 821 h 3316"/>
                <a:gd name="T38" fmla="*/ 2223 w 2223"/>
                <a:gd name="T39" fmla="*/ 821 h 3316"/>
                <a:gd name="T40" fmla="*/ 1979 w 2223"/>
                <a:gd name="T41" fmla="*/ 261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23" h="3316">
                  <a:moveTo>
                    <a:pt x="1979" y="261"/>
                  </a:moveTo>
                  <a:cubicBezTo>
                    <a:pt x="1819" y="93"/>
                    <a:pt x="1604" y="0"/>
                    <a:pt x="1320" y="0"/>
                  </a:cubicBezTo>
                  <a:cubicBezTo>
                    <a:pt x="1060" y="0"/>
                    <a:pt x="838" y="94"/>
                    <a:pt x="685" y="256"/>
                  </a:cubicBezTo>
                  <a:cubicBezTo>
                    <a:pt x="498" y="453"/>
                    <a:pt x="424" y="680"/>
                    <a:pt x="424" y="1056"/>
                  </a:cubicBezTo>
                  <a:cubicBezTo>
                    <a:pt x="424" y="1157"/>
                    <a:pt x="424" y="1200"/>
                    <a:pt x="424" y="1205"/>
                  </a:cubicBezTo>
                  <a:cubicBezTo>
                    <a:pt x="0" y="1205"/>
                    <a:pt x="0" y="1205"/>
                    <a:pt x="0" y="1205"/>
                  </a:cubicBezTo>
                  <a:cubicBezTo>
                    <a:pt x="0" y="1630"/>
                    <a:pt x="0" y="1630"/>
                    <a:pt x="0" y="1630"/>
                  </a:cubicBezTo>
                  <a:cubicBezTo>
                    <a:pt x="424" y="1630"/>
                    <a:pt x="424" y="1630"/>
                    <a:pt x="424" y="1630"/>
                  </a:cubicBezTo>
                  <a:cubicBezTo>
                    <a:pt x="424" y="3316"/>
                    <a:pt x="424" y="3316"/>
                    <a:pt x="424" y="3316"/>
                  </a:cubicBezTo>
                  <a:cubicBezTo>
                    <a:pt x="906" y="3316"/>
                    <a:pt x="906" y="3316"/>
                    <a:pt x="906" y="3316"/>
                  </a:cubicBezTo>
                  <a:cubicBezTo>
                    <a:pt x="906" y="1630"/>
                    <a:pt x="906" y="1630"/>
                    <a:pt x="906" y="1630"/>
                  </a:cubicBezTo>
                  <a:cubicBezTo>
                    <a:pt x="1359" y="1630"/>
                    <a:pt x="1359" y="1630"/>
                    <a:pt x="1359" y="1630"/>
                  </a:cubicBezTo>
                  <a:cubicBezTo>
                    <a:pt x="1359" y="1205"/>
                    <a:pt x="1359" y="1205"/>
                    <a:pt x="1359" y="1205"/>
                  </a:cubicBezTo>
                  <a:cubicBezTo>
                    <a:pt x="906" y="1205"/>
                    <a:pt x="906" y="1205"/>
                    <a:pt x="906" y="1205"/>
                  </a:cubicBezTo>
                  <a:cubicBezTo>
                    <a:pt x="906" y="1200"/>
                    <a:pt x="906" y="1014"/>
                    <a:pt x="906" y="981"/>
                  </a:cubicBezTo>
                  <a:cubicBezTo>
                    <a:pt x="906" y="783"/>
                    <a:pt x="930" y="658"/>
                    <a:pt x="1032" y="553"/>
                  </a:cubicBezTo>
                  <a:cubicBezTo>
                    <a:pt x="1100" y="484"/>
                    <a:pt x="1204" y="436"/>
                    <a:pt x="1329" y="436"/>
                  </a:cubicBezTo>
                  <a:cubicBezTo>
                    <a:pt x="1442" y="436"/>
                    <a:pt x="1546" y="475"/>
                    <a:pt x="1616" y="543"/>
                  </a:cubicBezTo>
                  <a:cubicBezTo>
                    <a:pt x="1693" y="618"/>
                    <a:pt x="1732" y="703"/>
                    <a:pt x="1745" y="821"/>
                  </a:cubicBezTo>
                  <a:cubicBezTo>
                    <a:pt x="2223" y="821"/>
                    <a:pt x="2223" y="821"/>
                    <a:pt x="2223" y="821"/>
                  </a:cubicBezTo>
                  <a:cubicBezTo>
                    <a:pt x="2199" y="606"/>
                    <a:pt x="2128" y="418"/>
                    <a:pt x="1979" y="2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
            <p:cNvSpPr>
              <a:spLocks noEditPoints="1"/>
            </p:cNvSpPr>
            <p:nvPr userDrawn="1"/>
          </p:nvSpPr>
          <p:spPr bwMode="auto">
            <a:xfrm>
              <a:off x="4402" y="3774"/>
              <a:ext cx="44" cy="21"/>
            </a:xfrm>
            <a:custGeom>
              <a:avLst/>
              <a:gdLst>
                <a:gd name="T0" fmla="*/ 0 w 44"/>
                <a:gd name="T1" fmla="*/ 3 h 21"/>
                <a:gd name="T2" fmla="*/ 0 w 44"/>
                <a:gd name="T3" fmla="*/ 0 h 21"/>
                <a:gd name="T4" fmla="*/ 18 w 44"/>
                <a:gd name="T5" fmla="*/ 0 h 21"/>
                <a:gd name="T6" fmla="*/ 18 w 44"/>
                <a:gd name="T7" fmla="*/ 3 h 21"/>
                <a:gd name="T8" fmla="*/ 11 w 44"/>
                <a:gd name="T9" fmla="*/ 3 h 21"/>
                <a:gd name="T10" fmla="*/ 11 w 44"/>
                <a:gd name="T11" fmla="*/ 21 h 21"/>
                <a:gd name="T12" fmla="*/ 7 w 44"/>
                <a:gd name="T13" fmla="*/ 21 h 21"/>
                <a:gd name="T14" fmla="*/ 7 w 44"/>
                <a:gd name="T15" fmla="*/ 3 h 21"/>
                <a:gd name="T16" fmla="*/ 0 w 44"/>
                <a:gd name="T17" fmla="*/ 3 h 21"/>
                <a:gd name="T18" fmla="*/ 28 w 44"/>
                <a:gd name="T19" fmla="*/ 0 h 21"/>
                <a:gd name="T20" fmla="*/ 33 w 44"/>
                <a:gd name="T21" fmla="*/ 15 h 21"/>
                <a:gd name="T22" fmla="*/ 38 w 44"/>
                <a:gd name="T23" fmla="*/ 0 h 21"/>
                <a:gd name="T24" fmla="*/ 44 w 44"/>
                <a:gd name="T25" fmla="*/ 0 h 21"/>
                <a:gd name="T26" fmla="*/ 44 w 44"/>
                <a:gd name="T27" fmla="*/ 21 h 21"/>
                <a:gd name="T28" fmla="*/ 40 w 44"/>
                <a:gd name="T29" fmla="*/ 21 h 21"/>
                <a:gd name="T30" fmla="*/ 40 w 44"/>
                <a:gd name="T31" fmla="*/ 4 h 21"/>
                <a:gd name="T32" fmla="*/ 34 w 44"/>
                <a:gd name="T33" fmla="*/ 21 h 21"/>
                <a:gd name="T34" fmla="*/ 31 w 44"/>
                <a:gd name="T35" fmla="*/ 21 h 21"/>
                <a:gd name="T36" fmla="*/ 25 w 44"/>
                <a:gd name="T37" fmla="*/ 4 h 21"/>
                <a:gd name="T38" fmla="*/ 25 w 44"/>
                <a:gd name="T39" fmla="*/ 21 h 21"/>
                <a:gd name="T40" fmla="*/ 22 w 44"/>
                <a:gd name="T41" fmla="*/ 21 h 21"/>
                <a:gd name="T42" fmla="*/ 22 w 44"/>
                <a:gd name="T43" fmla="*/ 0 h 21"/>
                <a:gd name="T44" fmla="*/ 28 w 44"/>
                <a:gd name="T4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21">
                  <a:moveTo>
                    <a:pt x="0" y="3"/>
                  </a:moveTo>
                  <a:lnTo>
                    <a:pt x="0" y="0"/>
                  </a:lnTo>
                  <a:lnTo>
                    <a:pt x="18" y="0"/>
                  </a:lnTo>
                  <a:lnTo>
                    <a:pt x="18" y="3"/>
                  </a:lnTo>
                  <a:lnTo>
                    <a:pt x="11" y="3"/>
                  </a:lnTo>
                  <a:lnTo>
                    <a:pt x="11" y="21"/>
                  </a:lnTo>
                  <a:lnTo>
                    <a:pt x="7" y="21"/>
                  </a:lnTo>
                  <a:lnTo>
                    <a:pt x="7" y="3"/>
                  </a:lnTo>
                  <a:lnTo>
                    <a:pt x="0" y="3"/>
                  </a:lnTo>
                  <a:close/>
                  <a:moveTo>
                    <a:pt x="28" y="0"/>
                  </a:moveTo>
                  <a:lnTo>
                    <a:pt x="33" y="15"/>
                  </a:lnTo>
                  <a:lnTo>
                    <a:pt x="38" y="0"/>
                  </a:lnTo>
                  <a:lnTo>
                    <a:pt x="44" y="0"/>
                  </a:lnTo>
                  <a:lnTo>
                    <a:pt x="44" y="21"/>
                  </a:lnTo>
                  <a:lnTo>
                    <a:pt x="40" y="21"/>
                  </a:lnTo>
                  <a:lnTo>
                    <a:pt x="40" y="4"/>
                  </a:lnTo>
                  <a:lnTo>
                    <a:pt x="34" y="21"/>
                  </a:lnTo>
                  <a:lnTo>
                    <a:pt x="31" y="21"/>
                  </a:lnTo>
                  <a:lnTo>
                    <a:pt x="25" y="4"/>
                  </a:lnTo>
                  <a:lnTo>
                    <a:pt x="25" y="21"/>
                  </a:lnTo>
                  <a:lnTo>
                    <a:pt x="22" y="21"/>
                  </a:lnTo>
                  <a:lnTo>
                    <a:pt x="22" y="0"/>
                  </a:lnTo>
                  <a:lnTo>
                    <a:pt x="2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 name="Title 1"/>
          <p:cNvSpPr>
            <a:spLocks noGrp="1"/>
          </p:cNvSpPr>
          <p:nvPr>
            <p:ph type="ctrTitle"/>
          </p:nvPr>
        </p:nvSpPr>
        <p:spPr>
          <a:xfrm>
            <a:off x="3189288" y="3860802"/>
            <a:ext cx="8559800" cy="1609969"/>
          </a:xfrm>
        </p:spPr>
        <p:txBody>
          <a:bodyPr anchor="t" anchorCtr="0">
            <a:normAutofit/>
          </a:bodyPr>
          <a:lstStyle>
            <a:lvl1pPr algn="l">
              <a:lnSpc>
                <a:spcPct val="87000"/>
              </a:lnSpc>
              <a:defRPr sz="4000"/>
            </a:lvl1pPr>
          </a:lstStyle>
          <a:p>
            <a:r>
              <a:rPr lang="en-US"/>
              <a:t>Click to edit Master title style</a:t>
            </a:r>
            <a:endParaRPr lang="en-GB"/>
          </a:p>
        </p:txBody>
      </p:sp>
    </p:spTree>
    <p:extLst>
      <p:ext uri="{BB962C8B-B14F-4D97-AF65-F5344CB8AC3E}">
        <p14:creationId xmlns:p14="http://schemas.microsoft.com/office/powerpoint/2010/main" val="34098365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 x Big Imag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1E225D5-D12D-4BBC-BA72-C43FA86D9545}"/>
              </a:ext>
            </a:extLst>
          </p:cNvPr>
          <p:cNvSpPr>
            <a:spLocks noGrp="1"/>
          </p:cNvSpPr>
          <p:nvPr>
            <p:ph type="dt" sz="half" idx="10"/>
          </p:nvPr>
        </p:nvSpPr>
        <p:spPr>
          <a:xfrm>
            <a:off x="552000" y="488951"/>
            <a:ext cx="937075" cy="215900"/>
          </a:xfrm>
          <a:prstGeom prst="rect">
            <a:avLst/>
          </a:prstGeom>
        </p:spPr>
        <p:txBody>
          <a:bodyPr/>
          <a:lstStyle/>
          <a:p>
            <a:fld id="{ADB8603B-573F-4B33-B393-91BEB4530672}" type="datetime1">
              <a:rPr lang="en-GB" smtClean="0"/>
              <a:t>21/10/2024</a:t>
            </a:fld>
            <a:endParaRPr lang="en-GB"/>
          </a:p>
        </p:txBody>
      </p:sp>
      <p:sp>
        <p:nvSpPr>
          <p:cNvPr id="5" name="Footer Placeholder 4">
            <a:extLst>
              <a:ext uri="{FF2B5EF4-FFF2-40B4-BE49-F238E27FC236}">
                <a16:creationId xmlns:a16="http://schemas.microsoft.com/office/drawing/2014/main" id="{31435EBC-72CD-44AB-962C-3C9FD8670617}"/>
              </a:ext>
            </a:extLst>
          </p:cNvPr>
          <p:cNvSpPr>
            <a:spLocks noGrp="1"/>
          </p:cNvSpPr>
          <p:nvPr>
            <p:ph type="ftr" sz="quarter" idx="11"/>
          </p:nvPr>
        </p:nvSpPr>
        <p:spPr>
          <a:xfrm>
            <a:off x="1489074" y="488951"/>
            <a:ext cx="9388926" cy="215900"/>
          </a:xfrm>
          <a:prstGeom prst="rect">
            <a:avLst/>
          </a:prstGeom>
        </p:spPr>
        <p:txBody>
          <a:body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1CD522D-0A7A-4EAD-8C08-C52C0E679D66}"/>
              </a:ext>
            </a:extLst>
          </p:cNvPr>
          <p:cNvSpPr>
            <a:spLocks noGrp="1"/>
          </p:cNvSpPr>
          <p:nvPr>
            <p:ph type="sldNum" sz="quarter" idx="12"/>
          </p:nvPr>
        </p:nvSpPr>
        <p:spPr>
          <a:xfrm>
            <a:off x="10878000" y="488951"/>
            <a:ext cx="762000" cy="215900"/>
          </a:xfrm>
          <a:prstGeom prst="rect">
            <a:avLst/>
          </a:prstGeom>
        </p:spPr>
        <p:txBody>
          <a:bodyPr/>
          <a:lstStyle/>
          <a:p>
            <a:fld id="{60369E12-7D5E-4ED1-AC16-739B6BF9507C}" type="slidenum">
              <a:rPr lang="en-GB" smtClean="0"/>
              <a:t>‹#›</a:t>
            </a:fld>
            <a:endParaRPr lang="en-GB"/>
          </a:p>
        </p:txBody>
      </p:sp>
      <p:sp>
        <p:nvSpPr>
          <p:cNvPr id="10" name="Picture Placeholder 9">
            <a:extLst>
              <a:ext uri="{FF2B5EF4-FFF2-40B4-BE49-F238E27FC236}">
                <a16:creationId xmlns:a16="http://schemas.microsoft.com/office/drawing/2014/main" id="{6CCCED67-4377-4AC6-9FD8-666262AC67AF}"/>
              </a:ext>
            </a:extLst>
          </p:cNvPr>
          <p:cNvSpPr>
            <a:spLocks noGrp="1"/>
          </p:cNvSpPr>
          <p:nvPr>
            <p:ph type="pic" sz="quarter" idx="13" hasCustomPrompt="1"/>
          </p:nvPr>
        </p:nvSpPr>
        <p:spPr>
          <a:xfrm>
            <a:off x="552000" y="1104900"/>
            <a:ext cx="11088000" cy="4876800"/>
          </a:xfrm>
        </p:spPr>
        <p:txBody>
          <a:bodyPr>
            <a:normAutofit/>
          </a:bodyPr>
          <a:lstStyle>
            <a:lvl1pPr>
              <a:buNone/>
              <a:defRPr sz="1800"/>
            </a:lvl1pPr>
          </a:lstStyle>
          <a:p>
            <a:pPr marL="180975" marR="0" lvl="0" indent="-180975" algn="l" defTabSz="914400" rtl="0" eaLnBrk="1" fontAlgn="auto" latinLnBrk="0" hangingPunct="1">
              <a:lnSpc>
                <a:spcPct val="95000"/>
              </a:lnSpc>
              <a:spcBef>
                <a:spcPts val="900"/>
              </a:spcBef>
              <a:spcAft>
                <a:spcPts val="0"/>
              </a:spcAft>
              <a:buClr>
                <a:schemeClr val="tx2"/>
              </a:buClr>
              <a:buSzTx/>
              <a:buFont typeface="Arial" panose="020B0604020202020204" pitchFamily="34" charset="0"/>
              <a:buChar char="•"/>
              <a:tabLst/>
              <a:defRPr/>
            </a:pPr>
            <a:r>
              <a:rPr lang="en-GB"/>
              <a:t>Click on icon to insert image then ‘Right-click’ and ‘Send to back’</a:t>
            </a:r>
          </a:p>
        </p:txBody>
      </p:sp>
      <p:sp>
        <p:nvSpPr>
          <p:cNvPr id="13" name="Text Placeholder 11">
            <a:extLst>
              <a:ext uri="{FF2B5EF4-FFF2-40B4-BE49-F238E27FC236}">
                <a16:creationId xmlns:a16="http://schemas.microsoft.com/office/drawing/2014/main" id="{1E242632-C545-403D-ACAA-BEC0199B0C1F}"/>
              </a:ext>
            </a:extLst>
          </p:cNvPr>
          <p:cNvSpPr>
            <a:spLocks noGrp="1"/>
          </p:cNvSpPr>
          <p:nvPr>
            <p:ph type="body" sz="quarter" idx="14"/>
          </p:nvPr>
        </p:nvSpPr>
        <p:spPr>
          <a:xfrm>
            <a:off x="9058275" y="2600326"/>
            <a:ext cx="2581275" cy="3384550"/>
          </a:xfrm>
        </p:spPr>
        <p:txBody>
          <a:bodyPr/>
          <a:lstStyle>
            <a:lvl1pPr marL="0" indent="0">
              <a:buNone/>
              <a:defRPr b="1"/>
            </a:lvl1pPr>
            <a:lvl2pPr marL="0" indent="0">
              <a:buNone/>
              <a:defRPr/>
            </a:lvl2pPr>
            <a:lvl3pPr marL="180975" indent="-180975">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2259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2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E2F89-DD66-4E89-87E7-3A363611DB44}"/>
              </a:ext>
            </a:extLst>
          </p:cNvPr>
          <p:cNvSpPr>
            <a:spLocks noGrp="1"/>
          </p:cNvSpPr>
          <p:nvPr>
            <p:ph type="title"/>
          </p:nvPr>
        </p:nvSpPr>
        <p:spPr>
          <a:xfrm>
            <a:off x="552000" y="1066800"/>
            <a:ext cx="11088000" cy="990599"/>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9F270E6-A09A-4FA9-A57A-40655181314C}"/>
              </a:ext>
            </a:extLst>
          </p:cNvPr>
          <p:cNvSpPr>
            <a:spLocks noGrp="1"/>
          </p:cNvSpPr>
          <p:nvPr>
            <p:ph idx="1"/>
          </p:nvPr>
        </p:nvSpPr>
        <p:spPr>
          <a:xfrm>
            <a:off x="552000" y="2057400"/>
            <a:ext cx="5420176" cy="3927475"/>
          </a:xfrm>
        </p:spPr>
        <p:txBody>
          <a:bodyPr numCol="1" spcCol="252000"/>
          <a:lstStyle>
            <a:lvl1pPr marL="0" indent="0">
              <a:buNone/>
              <a:defRPr b="1"/>
            </a:lvl1pPr>
            <a:lvl2pPr marL="0" indent="0">
              <a:buNone/>
              <a:defRPr/>
            </a:lvl2pPr>
            <a:lvl3pPr marL="177800" indent="-177800">
              <a:buFont typeface="Arial" panose="020B0604020202020204" pitchFamily="34" charset="0"/>
              <a:buChar char="•"/>
              <a:defRPr/>
            </a:lvl3pPr>
            <a:lvl4pPr marL="984250" indent="-88900">
              <a:buNone/>
              <a:defRPr>
                <a:solidFill>
                  <a:schemeClr val="tx2"/>
                </a:solidFill>
              </a:defRPr>
            </a:lvl4pPr>
            <a:lvl5pPr marL="1022350" indent="-127000">
              <a:spcBef>
                <a:spcPts val="300"/>
              </a:spcBef>
              <a:buClr>
                <a:schemeClr val="tx1"/>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E225D5-D12D-4BBC-BA72-C43FA86D9545}"/>
              </a:ext>
            </a:extLst>
          </p:cNvPr>
          <p:cNvSpPr>
            <a:spLocks noGrp="1"/>
          </p:cNvSpPr>
          <p:nvPr>
            <p:ph type="dt" sz="half" idx="10"/>
          </p:nvPr>
        </p:nvSpPr>
        <p:spPr>
          <a:xfrm>
            <a:off x="552000" y="488951"/>
            <a:ext cx="937075" cy="215900"/>
          </a:xfrm>
          <a:prstGeom prst="rect">
            <a:avLst/>
          </a:prstGeom>
        </p:spPr>
        <p:txBody>
          <a:bodyPr/>
          <a:lstStyle/>
          <a:p>
            <a:fld id="{99C334D7-2D31-4B05-A7EE-F1F3742ACA7A}" type="datetime1">
              <a:rPr lang="en-GB" smtClean="0"/>
              <a:t>21/10/2024</a:t>
            </a:fld>
            <a:endParaRPr lang="en-GB"/>
          </a:p>
        </p:txBody>
      </p:sp>
      <p:sp>
        <p:nvSpPr>
          <p:cNvPr id="5" name="Footer Placeholder 4">
            <a:extLst>
              <a:ext uri="{FF2B5EF4-FFF2-40B4-BE49-F238E27FC236}">
                <a16:creationId xmlns:a16="http://schemas.microsoft.com/office/drawing/2014/main" id="{31435EBC-72CD-44AB-962C-3C9FD8670617}"/>
              </a:ext>
            </a:extLst>
          </p:cNvPr>
          <p:cNvSpPr>
            <a:spLocks noGrp="1"/>
          </p:cNvSpPr>
          <p:nvPr>
            <p:ph type="ftr" sz="quarter" idx="11"/>
          </p:nvPr>
        </p:nvSpPr>
        <p:spPr>
          <a:xfrm>
            <a:off x="1489074" y="488951"/>
            <a:ext cx="9388926" cy="215900"/>
          </a:xfrm>
          <a:prstGeom prst="rect">
            <a:avLst/>
          </a:prstGeom>
        </p:spPr>
        <p:txBody>
          <a:body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1CD522D-0A7A-4EAD-8C08-C52C0E679D66}"/>
              </a:ext>
            </a:extLst>
          </p:cNvPr>
          <p:cNvSpPr>
            <a:spLocks noGrp="1"/>
          </p:cNvSpPr>
          <p:nvPr>
            <p:ph type="sldNum" sz="quarter" idx="12"/>
          </p:nvPr>
        </p:nvSpPr>
        <p:spPr>
          <a:xfrm>
            <a:off x="10878000" y="488951"/>
            <a:ext cx="762000" cy="215900"/>
          </a:xfrm>
          <a:prstGeom prst="rect">
            <a:avLst/>
          </a:prstGeom>
        </p:spPr>
        <p:txBody>
          <a:bodyPr/>
          <a:lstStyle/>
          <a:p>
            <a:fld id="{60369E12-7D5E-4ED1-AC16-739B6BF9507C}" type="slidenum">
              <a:rPr lang="en-GB" smtClean="0"/>
              <a:t>‹#›</a:t>
            </a:fld>
            <a:endParaRPr lang="en-GB"/>
          </a:p>
        </p:txBody>
      </p:sp>
      <p:sp>
        <p:nvSpPr>
          <p:cNvPr id="7" name="Content Placeholder 2">
            <a:extLst>
              <a:ext uri="{FF2B5EF4-FFF2-40B4-BE49-F238E27FC236}">
                <a16:creationId xmlns:a16="http://schemas.microsoft.com/office/drawing/2014/main" id="{7A870D18-1891-4F35-93EC-4171C3E0E29E}"/>
              </a:ext>
            </a:extLst>
          </p:cNvPr>
          <p:cNvSpPr>
            <a:spLocks noGrp="1"/>
          </p:cNvSpPr>
          <p:nvPr>
            <p:ph idx="13"/>
          </p:nvPr>
        </p:nvSpPr>
        <p:spPr>
          <a:xfrm>
            <a:off x="6219824" y="2063827"/>
            <a:ext cx="5420176" cy="3927475"/>
          </a:xfrm>
        </p:spPr>
        <p:txBody>
          <a:bodyPr numCol="1" spcCol="252000"/>
          <a:lstStyle>
            <a:lvl1pPr marL="0" indent="0">
              <a:buNone/>
              <a:defRPr b="1"/>
            </a:lvl1pPr>
            <a:lvl2pPr marL="0" indent="0">
              <a:buNone/>
              <a:defRPr/>
            </a:lvl2pPr>
            <a:lvl3pPr marL="177800" indent="-177800">
              <a:buFont typeface="Arial" panose="020B0604020202020204" pitchFamily="34" charset="0"/>
              <a:buChar char="•"/>
              <a:defRPr/>
            </a:lvl3pPr>
            <a:lvl4pPr marL="984250" indent="-88900">
              <a:buNone/>
              <a:defRPr>
                <a:solidFill>
                  <a:schemeClr val="tx2"/>
                </a:solidFill>
              </a:defRPr>
            </a:lvl4pPr>
            <a:lvl5pPr marL="1022350" indent="-127000">
              <a:spcBef>
                <a:spcPts val="300"/>
              </a:spcBef>
              <a:buClr>
                <a:schemeClr val="tx1"/>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7968110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Statement ">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1E225D5-D12D-4BBC-BA72-C43FA86D9545}"/>
              </a:ext>
            </a:extLst>
          </p:cNvPr>
          <p:cNvSpPr>
            <a:spLocks noGrp="1"/>
          </p:cNvSpPr>
          <p:nvPr>
            <p:ph type="dt" sz="half" idx="10"/>
          </p:nvPr>
        </p:nvSpPr>
        <p:spPr>
          <a:xfrm>
            <a:off x="552000" y="488951"/>
            <a:ext cx="937075" cy="215900"/>
          </a:xfrm>
          <a:prstGeom prst="rect">
            <a:avLst/>
          </a:prstGeom>
        </p:spPr>
        <p:txBody>
          <a:bodyPr/>
          <a:lstStyle/>
          <a:p>
            <a:fld id="{8AB35B18-46DA-4C1F-8A44-801F61ECDFEC}" type="datetime1">
              <a:rPr lang="en-GB" smtClean="0"/>
              <a:t>21/10/2024</a:t>
            </a:fld>
            <a:endParaRPr lang="en-GB"/>
          </a:p>
        </p:txBody>
      </p:sp>
      <p:sp>
        <p:nvSpPr>
          <p:cNvPr id="5" name="Footer Placeholder 4">
            <a:extLst>
              <a:ext uri="{FF2B5EF4-FFF2-40B4-BE49-F238E27FC236}">
                <a16:creationId xmlns:a16="http://schemas.microsoft.com/office/drawing/2014/main" id="{31435EBC-72CD-44AB-962C-3C9FD8670617}"/>
              </a:ext>
            </a:extLst>
          </p:cNvPr>
          <p:cNvSpPr>
            <a:spLocks noGrp="1"/>
          </p:cNvSpPr>
          <p:nvPr>
            <p:ph type="ftr" sz="quarter" idx="11"/>
          </p:nvPr>
        </p:nvSpPr>
        <p:spPr>
          <a:xfrm>
            <a:off x="1489074" y="488951"/>
            <a:ext cx="9388926" cy="215900"/>
          </a:xfrm>
          <a:prstGeom prst="rect">
            <a:avLst/>
          </a:prstGeom>
        </p:spPr>
        <p:txBody>
          <a:body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1CD522D-0A7A-4EAD-8C08-C52C0E679D66}"/>
              </a:ext>
            </a:extLst>
          </p:cNvPr>
          <p:cNvSpPr>
            <a:spLocks noGrp="1"/>
          </p:cNvSpPr>
          <p:nvPr>
            <p:ph type="sldNum" sz="quarter" idx="12"/>
          </p:nvPr>
        </p:nvSpPr>
        <p:spPr>
          <a:xfrm>
            <a:off x="10878000" y="488951"/>
            <a:ext cx="762000" cy="215900"/>
          </a:xfrm>
          <a:prstGeom prst="rect">
            <a:avLst/>
          </a:prstGeom>
        </p:spPr>
        <p:txBody>
          <a:bodyPr/>
          <a:lstStyle/>
          <a:p>
            <a:fld id="{60369E12-7D5E-4ED1-AC16-739B6BF9507C}" type="slidenum">
              <a:rPr lang="en-GB" smtClean="0"/>
              <a:t>‹#›</a:t>
            </a:fld>
            <a:endParaRPr lang="en-GB"/>
          </a:p>
        </p:txBody>
      </p:sp>
      <p:sp>
        <p:nvSpPr>
          <p:cNvPr id="9" name="Text Placeholder 8">
            <a:extLst>
              <a:ext uri="{FF2B5EF4-FFF2-40B4-BE49-F238E27FC236}">
                <a16:creationId xmlns:a16="http://schemas.microsoft.com/office/drawing/2014/main" id="{6F43CF2E-77C5-43DF-B5A8-CB9E32A80956}"/>
              </a:ext>
            </a:extLst>
          </p:cNvPr>
          <p:cNvSpPr>
            <a:spLocks noGrp="1"/>
          </p:cNvSpPr>
          <p:nvPr>
            <p:ph type="body" sz="quarter" idx="14"/>
          </p:nvPr>
        </p:nvSpPr>
        <p:spPr>
          <a:xfrm>
            <a:off x="552000" y="1857375"/>
            <a:ext cx="5420175" cy="4127499"/>
          </a:xfrm>
        </p:spPr>
        <p:txBody>
          <a:bodyPr/>
          <a:lstStyle>
            <a:lvl1pPr marL="0" indent="0">
              <a:lnSpc>
                <a:spcPct val="88000"/>
              </a:lnSpc>
              <a:buNone/>
              <a:defRPr sz="3000" b="1"/>
            </a:lvl1pPr>
            <a:lvl2pPr marL="0" indent="0">
              <a:buNone/>
              <a:defRPr sz="2000"/>
            </a:lvl2pPr>
            <a:lvl3pPr>
              <a:buNone/>
              <a:defRPr/>
            </a:lvl3pPr>
          </a:lstStyle>
          <a:p>
            <a:pPr lvl="0"/>
            <a:r>
              <a:rPr lang="en-US"/>
              <a:t>Click to edit Master text styles</a:t>
            </a:r>
          </a:p>
          <a:p>
            <a:pPr lvl="1"/>
            <a:r>
              <a:rPr lang="en-US"/>
              <a:t>Second level</a:t>
            </a:r>
          </a:p>
        </p:txBody>
      </p:sp>
      <p:sp>
        <p:nvSpPr>
          <p:cNvPr id="16" name="Picture Placeholder 15">
            <a:extLst>
              <a:ext uri="{FF2B5EF4-FFF2-40B4-BE49-F238E27FC236}">
                <a16:creationId xmlns:a16="http://schemas.microsoft.com/office/drawing/2014/main" id="{CB065C7E-29A8-4C44-A62C-FCB91E6D93EE}"/>
              </a:ext>
            </a:extLst>
          </p:cNvPr>
          <p:cNvSpPr>
            <a:spLocks noGrp="1"/>
          </p:cNvSpPr>
          <p:nvPr>
            <p:ph type="pic" sz="quarter" idx="15"/>
          </p:nvPr>
        </p:nvSpPr>
        <p:spPr>
          <a:xfrm>
            <a:off x="7165975" y="1089025"/>
            <a:ext cx="4474025" cy="4895851"/>
          </a:xfrm>
        </p:spPr>
        <p:txBody>
          <a:bodyPr/>
          <a:lstStyle/>
          <a:p>
            <a:r>
              <a:rPr lang="en-US"/>
              <a:t>Click icon to add picture</a:t>
            </a:r>
            <a:endParaRPr lang="en-GB"/>
          </a:p>
        </p:txBody>
      </p:sp>
    </p:spTree>
    <p:extLst>
      <p:ext uri="{BB962C8B-B14F-4D97-AF65-F5344CB8AC3E}">
        <p14:creationId xmlns:p14="http://schemas.microsoft.com/office/powerpoint/2010/main" val="7259952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4 x Shapes">
    <p:spTree>
      <p:nvGrpSpPr>
        <p:cNvPr id="1" name=""/>
        <p:cNvGrpSpPr/>
        <p:nvPr/>
      </p:nvGrpSpPr>
      <p:grpSpPr>
        <a:xfrm>
          <a:off x="0" y="0"/>
          <a:ext cx="0" cy="0"/>
          <a:chOff x="0" y="0"/>
          <a:chExt cx="0" cy="0"/>
        </a:xfrm>
      </p:grpSpPr>
      <p:sp>
        <p:nvSpPr>
          <p:cNvPr id="7" name="Graphic 12">
            <a:extLst>
              <a:ext uri="{FF2B5EF4-FFF2-40B4-BE49-F238E27FC236}">
                <a16:creationId xmlns:a16="http://schemas.microsoft.com/office/drawing/2014/main" id="{EC6C5E23-C709-4F22-908D-50DD2E48E658}"/>
              </a:ext>
            </a:extLst>
          </p:cNvPr>
          <p:cNvSpPr>
            <a:spLocks noChangeAspect="1"/>
          </p:cNvSpPr>
          <p:nvPr userDrawn="1"/>
        </p:nvSpPr>
        <p:spPr>
          <a:xfrm rot="16569685">
            <a:off x="669753" y="1733940"/>
            <a:ext cx="2016000" cy="1928236"/>
          </a:xfrm>
          <a:custGeom>
            <a:avLst/>
            <a:gdLst>
              <a:gd name="connsiteX0" fmla="*/ 787837 w 795844"/>
              <a:gd name="connsiteY0" fmla="*/ 288058 h 761198"/>
              <a:gd name="connsiteX1" fmla="*/ 780199 w 795844"/>
              <a:gd name="connsiteY1" fmla="*/ 215145 h 761198"/>
              <a:gd name="connsiteX2" fmla="*/ 703295 w 795844"/>
              <a:gd name="connsiteY2" fmla="*/ 232381 h 761198"/>
              <a:gd name="connsiteX3" fmla="*/ 611425 w 795844"/>
              <a:gd name="connsiteY3" fmla="*/ 194676 h 761198"/>
              <a:gd name="connsiteX4" fmla="*/ 557788 w 795844"/>
              <a:gd name="connsiteY4" fmla="*/ 124070 h 761198"/>
              <a:gd name="connsiteX5" fmla="*/ 546487 w 795844"/>
              <a:gd name="connsiteY5" fmla="*/ 66632 h 761198"/>
              <a:gd name="connsiteX6" fmla="*/ 560907 w 795844"/>
              <a:gd name="connsiteY6" fmla="*/ 5910 h 761198"/>
              <a:gd name="connsiteX7" fmla="*/ 562834 w 795844"/>
              <a:gd name="connsiteY7" fmla="*/ 0 h 761198"/>
              <a:gd name="connsiteX8" fmla="*/ 550133 w 795844"/>
              <a:gd name="connsiteY8" fmla="*/ 1296 h 761198"/>
              <a:gd name="connsiteX9" fmla="*/ 73231 w 795844"/>
              <a:gd name="connsiteY9" fmla="*/ 24425 h 761198"/>
              <a:gd name="connsiteX10" fmla="*/ 3325 w 795844"/>
              <a:gd name="connsiteY10" fmla="*/ 280014 h 761198"/>
              <a:gd name="connsiteX11" fmla="*/ 7697 w 795844"/>
              <a:gd name="connsiteY11" fmla="*/ 491910 h 761198"/>
              <a:gd name="connsiteX12" fmla="*/ 12034 w 795844"/>
              <a:gd name="connsiteY12" fmla="*/ 602476 h 761198"/>
              <a:gd name="connsiteX13" fmla="*/ 14712 w 795844"/>
              <a:gd name="connsiteY13" fmla="*/ 667639 h 761198"/>
              <a:gd name="connsiteX14" fmla="*/ 156659 w 795844"/>
              <a:gd name="connsiteY14" fmla="*/ 753451 h 761198"/>
              <a:gd name="connsiteX15" fmla="*/ 510363 w 795844"/>
              <a:gd name="connsiteY15" fmla="*/ 757166 h 761198"/>
              <a:gd name="connsiteX16" fmla="*/ 621863 w 795844"/>
              <a:gd name="connsiteY16" fmla="*/ 756285 h 761198"/>
              <a:gd name="connsiteX17" fmla="*/ 782497 w 795844"/>
              <a:gd name="connsiteY17" fmla="*/ 704013 h 761198"/>
              <a:gd name="connsiteX18" fmla="*/ 792615 w 795844"/>
              <a:gd name="connsiteY18" fmla="*/ 502321 h 761198"/>
              <a:gd name="connsiteX19" fmla="*/ 787837 w 795844"/>
              <a:gd name="connsiteY19" fmla="*/ 288058 h 76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5844" h="761198">
                <a:moveTo>
                  <a:pt x="787837" y="288058"/>
                </a:moveTo>
                <a:cubicBezTo>
                  <a:pt x="786092" y="263416"/>
                  <a:pt x="782627" y="239216"/>
                  <a:pt x="780199" y="215145"/>
                </a:cubicBezTo>
                <a:cubicBezTo>
                  <a:pt x="758850" y="226636"/>
                  <a:pt x="732195" y="232381"/>
                  <a:pt x="703295" y="232381"/>
                </a:cubicBezTo>
                <a:cubicBezTo>
                  <a:pt x="669002" y="232381"/>
                  <a:pt x="636378" y="217236"/>
                  <a:pt x="611425" y="194676"/>
                </a:cubicBezTo>
                <a:cubicBezTo>
                  <a:pt x="586473" y="172117"/>
                  <a:pt x="569219" y="142128"/>
                  <a:pt x="557788" y="124070"/>
                </a:cubicBezTo>
                <a:cubicBezTo>
                  <a:pt x="546358" y="106021"/>
                  <a:pt x="544275" y="86599"/>
                  <a:pt x="546487" y="66632"/>
                </a:cubicBezTo>
                <a:cubicBezTo>
                  <a:pt x="548699" y="46665"/>
                  <a:pt x="555188" y="26153"/>
                  <a:pt x="560907" y="5910"/>
                </a:cubicBezTo>
                <a:cubicBezTo>
                  <a:pt x="561478" y="3888"/>
                  <a:pt x="562152" y="1944"/>
                  <a:pt x="562834" y="0"/>
                </a:cubicBezTo>
                <a:cubicBezTo>
                  <a:pt x="558557" y="397"/>
                  <a:pt x="554315" y="821"/>
                  <a:pt x="550133" y="1296"/>
                </a:cubicBezTo>
                <a:cubicBezTo>
                  <a:pt x="389568" y="6731"/>
                  <a:pt x="234886" y="-3974"/>
                  <a:pt x="73231" y="24425"/>
                </a:cubicBezTo>
                <a:cubicBezTo>
                  <a:pt x="-26362" y="41921"/>
                  <a:pt x="5183" y="200984"/>
                  <a:pt x="3325" y="280014"/>
                </a:cubicBezTo>
                <a:cubicBezTo>
                  <a:pt x="8543" y="351683"/>
                  <a:pt x="10323" y="420492"/>
                  <a:pt x="7697" y="491910"/>
                </a:cubicBezTo>
                <a:cubicBezTo>
                  <a:pt x="6366" y="527965"/>
                  <a:pt x="11369" y="565842"/>
                  <a:pt x="12034" y="602476"/>
                </a:cubicBezTo>
                <a:cubicBezTo>
                  <a:pt x="12146" y="623886"/>
                  <a:pt x="9321" y="646609"/>
                  <a:pt x="14712" y="667639"/>
                </a:cubicBezTo>
                <a:cubicBezTo>
                  <a:pt x="27024" y="732110"/>
                  <a:pt x="98676" y="751222"/>
                  <a:pt x="156659" y="753451"/>
                </a:cubicBezTo>
                <a:cubicBezTo>
                  <a:pt x="275874" y="766567"/>
                  <a:pt x="390760" y="759594"/>
                  <a:pt x="510363" y="757166"/>
                </a:cubicBezTo>
                <a:cubicBezTo>
                  <a:pt x="547420" y="758661"/>
                  <a:pt x="584823" y="757650"/>
                  <a:pt x="621863" y="756285"/>
                </a:cubicBezTo>
                <a:cubicBezTo>
                  <a:pt x="676718" y="758264"/>
                  <a:pt x="757433" y="765573"/>
                  <a:pt x="782497" y="704013"/>
                </a:cubicBezTo>
                <a:cubicBezTo>
                  <a:pt x="802395" y="640267"/>
                  <a:pt x="794749" y="568702"/>
                  <a:pt x="792615" y="502321"/>
                </a:cubicBezTo>
                <a:cubicBezTo>
                  <a:pt x="786083" y="429520"/>
                  <a:pt x="792995" y="360979"/>
                  <a:pt x="787837" y="288058"/>
                </a:cubicBezTo>
                <a:close/>
              </a:path>
            </a:pathLst>
          </a:custGeom>
          <a:solidFill>
            <a:schemeClr val="accent1"/>
          </a:solidFill>
          <a:ln w="857" cap="flat">
            <a:noFill/>
            <a:prstDash val="solid"/>
            <a:miter/>
          </a:ln>
        </p:spPr>
        <p:txBody>
          <a:bodyPr rtlCol="0" anchor="ctr"/>
          <a:lstStyle/>
          <a:p>
            <a:endParaRPr lang="en-GB"/>
          </a:p>
        </p:txBody>
      </p:sp>
      <p:sp>
        <p:nvSpPr>
          <p:cNvPr id="8" name="Graphic 18">
            <a:extLst>
              <a:ext uri="{FF2B5EF4-FFF2-40B4-BE49-F238E27FC236}">
                <a16:creationId xmlns:a16="http://schemas.microsoft.com/office/drawing/2014/main" id="{FFD08A72-3D3B-4CA0-AE2D-378472127F81}"/>
              </a:ext>
            </a:extLst>
          </p:cNvPr>
          <p:cNvSpPr>
            <a:spLocks noChangeAspect="1"/>
          </p:cNvSpPr>
          <p:nvPr userDrawn="1"/>
        </p:nvSpPr>
        <p:spPr>
          <a:xfrm rot="20358944">
            <a:off x="3510784" y="1437243"/>
            <a:ext cx="2448000" cy="2204300"/>
          </a:xfrm>
          <a:custGeom>
            <a:avLst/>
            <a:gdLst>
              <a:gd name="connsiteX0" fmla="*/ 832030 w 833593"/>
              <a:gd name="connsiteY0" fmla="*/ 511065 h 750618"/>
              <a:gd name="connsiteX1" fmla="*/ 793427 w 833593"/>
              <a:gd name="connsiteY1" fmla="*/ 466433 h 750618"/>
              <a:gd name="connsiteX2" fmla="*/ 656709 w 833593"/>
              <a:gd name="connsiteY2" fmla="*/ 362600 h 750618"/>
              <a:gd name="connsiteX3" fmla="*/ 500366 w 833593"/>
              <a:gd name="connsiteY3" fmla="*/ 239407 h 750618"/>
              <a:gd name="connsiteX4" fmla="*/ 181806 w 833593"/>
              <a:gd name="connsiteY4" fmla="*/ 14829 h 750618"/>
              <a:gd name="connsiteX5" fmla="*/ 153040 w 833593"/>
              <a:gd name="connsiteY5" fmla="*/ 1101 h 750618"/>
              <a:gd name="connsiteX6" fmla="*/ 109383 w 833593"/>
              <a:gd name="connsiteY6" fmla="*/ 13019 h 750618"/>
              <a:gd name="connsiteX7" fmla="*/ 98057 w 833593"/>
              <a:gd name="connsiteY7" fmla="*/ 26841 h 750618"/>
              <a:gd name="connsiteX8" fmla="*/ 88939 w 833593"/>
              <a:gd name="connsiteY8" fmla="*/ 39360 h 750618"/>
              <a:gd name="connsiteX9" fmla="*/ 37935 w 833593"/>
              <a:gd name="connsiteY9" fmla="*/ 125090 h 750618"/>
              <a:gd name="connsiteX10" fmla="*/ 9130 w 833593"/>
              <a:gd name="connsiteY10" fmla="*/ 209634 h 750618"/>
              <a:gd name="connsiteX11" fmla="*/ 5237 w 833593"/>
              <a:gd name="connsiteY11" fmla="*/ 363653 h 750618"/>
              <a:gd name="connsiteX12" fmla="*/ 27530 w 833593"/>
              <a:gd name="connsiteY12" fmla="*/ 468407 h 750618"/>
              <a:gd name="connsiteX13" fmla="*/ 102878 w 833593"/>
              <a:gd name="connsiteY13" fmla="*/ 594868 h 750618"/>
              <a:gd name="connsiteX14" fmla="*/ 149670 w 833593"/>
              <a:gd name="connsiteY14" fmla="*/ 635311 h 750618"/>
              <a:gd name="connsiteX15" fmla="*/ 201400 w 833593"/>
              <a:gd name="connsiteY15" fmla="*/ 677088 h 750618"/>
              <a:gd name="connsiteX16" fmla="*/ 403599 w 833593"/>
              <a:gd name="connsiteY16" fmla="*/ 750619 h 750618"/>
              <a:gd name="connsiteX17" fmla="*/ 403708 w 833593"/>
              <a:gd name="connsiteY17" fmla="*/ 734535 h 750618"/>
              <a:gd name="connsiteX18" fmla="*/ 413349 w 833593"/>
              <a:gd name="connsiteY18" fmla="*/ 693944 h 750618"/>
              <a:gd name="connsiteX19" fmla="*/ 433910 w 833593"/>
              <a:gd name="connsiteY19" fmla="*/ 660833 h 750618"/>
              <a:gd name="connsiteX20" fmla="*/ 461288 w 833593"/>
              <a:gd name="connsiteY20" fmla="*/ 641029 h 750618"/>
              <a:gd name="connsiteX21" fmla="*/ 523438 w 833593"/>
              <a:gd name="connsiteY21" fmla="*/ 628283 h 750618"/>
              <a:gd name="connsiteX22" fmla="*/ 595393 w 833593"/>
              <a:gd name="connsiteY22" fmla="*/ 661753 h 750618"/>
              <a:gd name="connsiteX23" fmla="*/ 620392 w 833593"/>
              <a:gd name="connsiteY23" fmla="*/ 724294 h 750618"/>
              <a:gd name="connsiteX24" fmla="*/ 683018 w 833593"/>
              <a:gd name="connsiteY24" fmla="*/ 694537 h 750618"/>
              <a:gd name="connsiteX25" fmla="*/ 749233 w 833593"/>
              <a:gd name="connsiteY25" fmla="*/ 645256 h 750618"/>
              <a:gd name="connsiteX26" fmla="*/ 807834 w 833593"/>
              <a:gd name="connsiteY26" fmla="*/ 577739 h 750618"/>
              <a:gd name="connsiteX27" fmla="*/ 823785 w 833593"/>
              <a:gd name="connsiteY27" fmla="*/ 555829 h 750618"/>
              <a:gd name="connsiteX28" fmla="*/ 832030 w 833593"/>
              <a:gd name="connsiteY28" fmla="*/ 511065 h 750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33593" h="750618">
                <a:moveTo>
                  <a:pt x="832030" y="511065"/>
                </a:moveTo>
                <a:cubicBezTo>
                  <a:pt x="828418" y="493780"/>
                  <a:pt x="811867" y="480263"/>
                  <a:pt x="793427" y="466433"/>
                </a:cubicBezTo>
                <a:cubicBezTo>
                  <a:pt x="753078" y="436169"/>
                  <a:pt x="696949" y="393035"/>
                  <a:pt x="656709" y="362600"/>
                </a:cubicBezTo>
                <a:cubicBezTo>
                  <a:pt x="617748" y="331899"/>
                  <a:pt x="539335" y="270107"/>
                  <a:pt x="500366" y="239407"/>
                </a:cubicBezTo>
                <a:cubicBezTo>
                  <a:pt x="397156" y="166477"/>
                  <a:pt x="286544" y="85544"/>
                  <a:pt x="181806" y="14829"/>
                </a:cubicBezTo>
                <a:cubicBezTo>
                  <a:pt x="176385" y="10906"/>
                  <a:pt x="163016" y="3324"/>
                  <a:pt x="153040" y="1101"/>
                </a:cubicBezTo>
                <a:cubicBezTo>
                  <a:pt x="137611" y="-2339"/>
                  <a:pt x="121013" y="2458"/>
                  <a:pt x="109383" y="13019"/>
                </a:cubicBezTo>
                <a:cubicBezTo>
                  <a:pt x="105038" y="16787"/>
                  <a:pt x="101489" y="22200"/>
                  <a:pt x="98057" y="26841"/>
                </a:cubicBezTo>
                <a:cubicBezTo>
                  <a:pt x="95203" y="30749"/>
                  <a:pt x="91794" y="35452"/>
                  <a:pt x="88939" y="39360"/>
                </a:cubicBezTo>
                <a:cubicBezTo>
                  <a:pt x="68776" y="66356"/>
                  <a:pt x="51390" y="95380"/>
                  <a:pt x="37935" y="125090"/>
                </a:cubicBezTo>
                <a:cubicBezTo>
                  <a:pt x="25416" y="152569"/>
                  <a:pt x="12788" y="179526"/>
                  <a:pt x="9130" y="209634"/>
                </a:cubicBezTo>
                <a:cubicBezTo>
                  <a:pt x="1275" y="267658"/>
                  <a:pt x="-4770" y="304997"/>
                  <a:pt x="5237" y="363653"/>
                </a:cubicBezTo>
                <a:cubicBezTo>
                  <a:pt x="10541" y="392240"/>
                  <a:pt x="18458" y="439149"/>
                  <a:pt x="27530" y="468407"/>
                </a:cubicBezTo>
                <a:cubicBezTo>
                  <a:pt x="44269" y="518834"/>
                  <a:pt x="70609" y="558723"/>
                  <a:pt x="102878" y="594868"/>
                </a:cubicBezTo>
                <a:cubicBezTo>
                  <a:pt x="115381" y="608908"/>
                  <a:pt x="132440" y="618752"/>
                  <a:pt x="149670" y="635311"/>
                </a:cubicBezTo>
                <a:cubicBezTo>
                  <a:pt x="159724" y="645061"/>
                  <a:pt x="190121" y="669249"/>
                  <a:pt x="201400" y="677088"/>
                </a:cubicBezTo>
                <a:cubicBezTo>
                  <a:pt x="257224" y="715643"/>
                  <a:pt x="330482" y="741188"/>
                  <a:pt x="403599" y="750619"/>
                </a:cubicBezTo>
                <a:cubicBezTo>
                  <a:pt x="403022" y="745338"/>
                  <a:pt x="403108" y="739972"/>
                  <a:pt x="403708" y="734535"/>
                </a:cubicBezTo>
                <a:cubicBezTo>
                  <a:pt x="405182" y="721189"/>
                  <a:pt x="409527" y="707477"/>
                  <a:pt x="413349" y="693944"/>
                </a:cubicBezTo>
                <a:cubicBezTo>
                  <a:pt x="417171" y="680411"/>
                  <a:pt x="424971" y="669678"/>
                  <a:pt x="433910" y="660833"/>
                </a:cubicBezTo>
                <a:cubicBezTo>
                  <a:pt x="442849" y="651988"/>
                  <a:pt x="452926" y="646988"/>
                  <a:pt x="461288" y="641029"/>
                </a:cubicBezTo>
                <a:cubicBezTo>
                  <a:pt x="473097" y="632620"/>
                  <a:pt x="497449" y="625787"/>
                  <a:pt x="523438" y="628283"/>
                </a:cubicBezTo>
                <a:cubicBezTo>
                  <a:pt x="549428" y="630779"/>
                  <a:pt x="581525" y="639235"/>
                  <a:pt x="595393" y="661753"/>
                </a:cubicBezTo>
                <a:cubicBezTo>
                  <a:pt x="608388" y="682868"/>
                  <a:pt x="618450" y="703156"/>
                  <a:pt x="620392" y="724294"/>
                </a:cubicBezTo>
                <a:cubicBezTo>
                  <a:pt x="642068" y="717671"/>
                  <a:pt x="662887" y="709279"/>
                  <a:pt x="683018" y="694537"/>
                </a:cubicBezTo>
                <a:cubicBezTo>
                  <a:pt x="706567" y="677291"/>
                  <a:pt x="728531" y="665318"/>
                  <a:pt x="749233" y="645256"/>
                </a:cubicBezTo>
                <a:cubicBezTo>
                  <a:pt x="769934" y="625195"/>
                  <a:pt x="789364" y="603097"/>
                  <a:pt x="807834" y="577739"/>
                </a:cubicBezTo>
                <a:cubicBezTo>
                  <a:pt x="813052" y="570579"/>
                  <a:pt x="819261" y="563450"/>
                  <a:pt x="823785" y="555829"/>
                </a:cubicBezTo>
                <a:cubicBezTo>
                  <a:pt x="831312" y="543162"/>
                  <a:pt x="836281" y="531415"/>
                  <a:pt x="832030" y="511065"/>
                </a:cubicBezTo>
                <a:close/>
              </a:path>
            </a:pathLst>
          </a:custGeom>
          <a:solidFill>
            <a:schemeClr val="accent3"/>
          </a:solidFill>
          <a:ln w="778" cap="flat">
            <a:noFill/>
            <a:prstDash val="solid"/>
            <a:miter/>
          </a:ln>
        </p:spPr>
        <p:txBody>
          <a:bodyPr rtlCol="0" anchor="ctr"/>
          <a:lstStyle/>
          <a:p>
            <a:endParaRPr lang="en-GB"/>
          </a:p>
        </p:txBody>
      </p:sp>
      <p:sp>
        <p:nvSpPr>
          <p:cNvPr id="12" name="Graphic 18">
            <a:extLst>
              <a:ext uri="{FF2B5EF4-FFF2-40B4-BE49-F238E27FC236}">
                <a16:creationId xmlns:a16="http://schemas.microsoft.com/office/drawing/2014/main" id="{BD80B157-784A-4297-BF15-86C22EFE7019}"/>
              </a:ext>
            </a:extLst>
          </p:cNvPr>
          <p:cNvSpPr>
            <a:spLocks noChangeAspect="1"/>
          </p:cNvSpPr>
          <p:nvPr userDrawn="1"/>
        </p:nvSpPr>
        <p:spPr>
          <a:xfrm rot="10800000" flipH="1">
            <a:off x="6367899" y="1633976"/>
            <a:ext cx="2484000" cy="1854788"/>
          </a:xfrm>
          <a:custGeom>
            <a:avLst/>
            <a:gdLst>
              <a:gd name="connsiteX0" fmla="*/ 999935 w 1000104"/>
              <a:gd name="connsiteY0" fmla="*/ 350442 h 747124"/>
              <a:gd name="connsiteX1" fmla="*/ 992002 w 1000104"/>
              <a:gd name="connsiteY1" fmla="*/ 290160 h 747124"/>
              <a:gd name="connsiteX2" fmla="*/ 979047 w 1000104"/>
              <a:gd name="connsiteY2" fmla="*/ 215639 h 747124"/>
              <a:gd name="connsiteX3" fmla="*/ 930120 w 1000104"/>
              <a:gd name="connsiteY3" fmla="*/ 127122 h 747124"/>
              <a:gd name="connsiteX4" fmla="*/ 863355 w 1000104"/>
              <a:gd name="connsiteY4" fmla="*/ 67248 h 747124"/>
              <a:gd name="connsiteX5" fmla="*/ 761929 w 1000104"/>
              <a:gd name="connsiteY5" fmla="*/ 26012 h 747124"/>
              <a:gd name="connsiteX6" fmla="*/ 642396 w 1000104"/>
              <a:gd name="connsiteY6" fmla="*/ 5254 h 747124"/>
              <a:gd name="connsiteX7" fmla="*/ 516837 w 1000104"/>
              <a:gd name="connsiteY7" fmla="*/ 2102 h 747124"/>
              <a:gd name="connsiteX8" fmla="*/ 381048 w 1000104"/>
              <a:gd name="connsiteY8" fmla="*/ 1497 h 747124"/>
              <a:gd name="connsiteX9" fmla="*/ 261571 w 1000104"/>
              <a:gd name="connsiteY9" fmla="*/ 15522 h 747124"/>
              <a:gd name="connsiteX10" fmla="*/ 167510 w 1000104"/>
              <a:gd name="connsiteY10" fmla="*/ 47653 h 747124"/>
              <a:gd name="connsiteX11" fmla="*/ 83708 w 1000104"/>
              <a:gd name="connsiteY11" fmla="*/ 114390 h 747124"/>
              <a:gd name="connsiteX12" fmla="*/ 28559 w 1000104"/>
              <a:gd name="connsiteY12" fmla="*/ 204181 h 747124"/>
              <a:gd name="connsiteX13" fmla="*/ 3579 w 1000104"/>
              <a:gd name="connsiteY13" fmla="*/ 308351 h 747124"/>
              <a:gd name="connsiteX14" fmla="*/ 1226 w 1000104"/>
              <a:gd name="connsiteY14" fmla="*/ 338362 h 747124"/>
              <a:gd name="connsiteX15" fmla="*/ 92 w 1000104"/>
              <a:gd name="connsiteY15" fmla="*/ 368717 h 747124"/>
              <a:gd name="connsiteX16" fmla="*/ 259 w 1000104"/>
              <a:gd name="connsiteY16" fmla="*/ 401918 h 747124"/>
              <a:gd name="connsiteX17" fmla="*/ 1654 w 1000104"/>
              <a:gd name="connsiteY17" fmla="*/ 434208 h 747124"/>
              <a:gd name="connsiteX18" fmla="*/ 28438 w 1000104"/>
              <a:gd name="connsiteY18" fmla="*/ 525682 h 747124"/>
              <a:gd name="connsiteX19" fmla="*/ 85084 w 1000104"/>
              <a:gd name="connsiteY19" fmla="*/ 630205 h 747124"/>
              <a:gd name="connsiteX20" fmla="*/ 161577 w 1000104"/>
              <a:gd name="connsiteY20" fmla="*/ 688414 h 747124"/>
              <a:gd name="connsiteX21" fmla="*/ 198442 w 1000104"/>
              <a:gd name="connsiteY21" fmla="*/ 706577 h 747124"/>
              <a:gd name="connsiteX22" fmla="*/ 205408 w 1000104"/>
              <a:gd name="connsiteY22" fmla="*/ 681597 h 747124"/>
              <a:gd name="connsiteX23" fmla="*/ 229923 w 1000104"/>
              <a:gd name="connsiteY23" fmla="*/ 642118 h 747124"/>
              <a:gd name="connsiteX24" fmla="*/ 262566 w 1000104"/>
              <a:gd name="connsiteY24" fmla="*/ 618506 h 747124"/>
              <a:gd name="connsiteX25" fmla="*/ 336668 w 1000104"/>
              <a:gd name="connsiteY25" fmla="*/ 603310 h 747124"/>
              <a:gd name="connsiteX26" fmla="*/ 422451 w 1000104"/>
              <a:gd name="connsiteY26" fmla="*/ 643216 h 747124"/>
              <a:gd name="connsiteX27" fmla="*/ 452676 w 1000104"/>
              <a:gd name="connsiteY27" fmla="*/ 724888 h 747124"/>
              <a:gd name="connsiteX28" fmla="*/ 451207 w 1000104"/>
              <a:gd name="connsiteY28" fmla="*/ 747125 h 747124"/>
              <a:gd name="connsiteX29" fmla="*/ 506979 w 1000104"/>
              <a:gd name="connsiteY29" fmla="*/ 745916 h 747124"/>
              <a:gd name="connsiteX30" fmla="*/ 626372 w 1000104"/>
              <a:gd name="connsiteY30" fmla="*/ 744986 h 747124"/>
              <a:gd name="connsiteX31" fmla="*/ 739665 w 1000104"/>
              <a:gd name="connsiteY31" fmla="*/ 726748 h 747124"/>
              <a:gd name="connsiteX32" fmla="*/ 846243 w 1000104"/>
              <a:gd name="connsiteY32" fmla="*/ 691427 h 747124"/>
              <a:gd name="connsiteX33" fmla="*/ 920345 w 1000104"/>
              <a:gd name="connsiteY33" fmla="*/ 633023 h 747124"/>
              <a:gd name="connsiteX34" fmla="*/ 965246 w 1000104"/>
              <a:gd name="connsiteY34" fmla="*/ 548207 h 747124"/>
              <a:gd name="connsiteX35" fmla="*/ 993434 w 1000104"/>
              <a:gd name="connsiteY35" fmla="*/ 450138 h 747124"/>
              <a:gd name="connsiteX36" fmla="*/ 997517 w 1000104"/>
              <a:gd name="connsiteY36" fmla="*/ 419616 h 747124"/>
              <a:gd name="connsiteX37" fmla="*/ 999433 w 1000104"/>
              <a:gd name="connsiteY37" fmla="*/ 386666 h 747124"/>
              <a:gd name="connsiteX38" fmla="*/ 999935 w 1000104"/>
              <a:gd name="connsiteY38" fmla="*/ 350442 h 74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104" h="747124">
                <a:moveTo>
                  <a:pt x="999935" y="350442"/>
                </a:moveTo>
                <a:cubicBezTo>
                  <a:pt x="999414" y="338287"/>
                  <a:pt x="993099" y="302361"/>
                  <a:pt x="992002" y="290160"/>
                </a:cubicBezTo>
                <a:cubicBezTo>
                  <a:pt x="987891" y="264455"/>
                  <a:pt x="988765" y="245613"/>
                  <a:pt x="979047" y="215639"/>
                </a:cubicBezTo>
                <a:cubicBezTo>
                  <a:pt x="968510" y="183145"/>
                  <a:pt x="953026" y="153766"/>
                  <a:pt x="930120" y="127122"/>
                </a:cubicBezTo>
                <a:cubicBezTo>
                  <a:pt x="910413" y="104188"/>
                  <a:pt x="888046" y="83793"/>
                  <a:pt x="863355" y="67248"/>
                </a:cubicBezTo>
                <a:cubicBezTo>
                  <a:pt x="832888" y="46825"/>
                  <a:pt x="798869" y="32262"/>
                  <a:pt x="761929" y="26012"/>
                </a:cubicBezTo>
                <a:cubicBezTo>
                  <a:pt x="727333" y="20153"/>
                  <a:pt x="682303" y="9300"/>
                  <a:pt x="642396" y="5254"/>
                </a:cubicBezTo>
                <a:cubicBezTo>
                  <a:pt x="602490" y="1209"/>
                  <a:pt x="559924" y="2753"/>
                  <a:pt x="516837" y="2102"/>
                </a:cubicBezTo>
                <a:cubicBezTo>
                  <a:pt x="473917" y="1451"/>
                  <a:pt x="423865" y="-1897"/>
                  <a:pt x="381048" y="1497"/>
                </a:cubicBezTo>
                <a:cubicBezTo>
                  <a:pt x="338221" y="4892"/>
                  <a:pt x="299998" y="10053"/>
                  <a:pt x="261571" y="15522"/>
                </a:cubicBezTo>
                <a:cubicBezTo>
                  <a:pt x="228835" y="20181"/>
                  <a:pt x="196908" y="31480"/>
                  <a:pt x="167510" y="47653"/>
                </a:cubicBezTo>
                <a:cubicBezTo>
                  <a:pt x="135946" y="65016"/>
                  <a:pt x="107302" y="87996"/>
                  <a:pt x="83708" y="114390"/>
                </a:cubicBezTo>
                <a:cubicBezTo>
                  <a:pt x="60505" y="140346"/>
                  <a:pt x="42044" y="170720"/>
                  <a:pt x="28559" y="204181"/>
                </a:cubicBezTo>
                <a:cubicBezTo>
                  <a:pt x="15558" y="236424"/>
                  <a:pt x="7169" y="271551"/>
                  <a:pt x="3579" y="308351"/>
                </a:cubicBezTo>
                <a:cubicBezTo>
                  <a:pt x="2612" y="318274"/>
                  <a:pt x="1822" y="328290"/>
                  <a:pt x="1226" y="338362"/>
                </a:cubicBezTo>
                <a:cubicBezTo>
                  <a:pt x="631" y="348434"/>
                  <a:pt x="250" y="358571"/>
                  <a:pt x="92" y="368717"/>
                </a:cubicBezTo>
                <a:cubicBezTo>
                  <a:pt x="-76" y="379914"/>
                  <a:pt x="-11" y="390990"/>
                  <a:pt x="259" y="401918"/>
                </a:cubicBezTo>
                <a:cubicBezTo>
                  <a:pt x="529" y="412845"/>
                  <a:pt x="278" y="423689"/>
                  <a:pt x="1654" y="434208"/>
                </a:cubicBezTo>
                <a:cubicBezTo>
                  <a:pt x="5867" y="466330"/>
                  <a:pt x="17892" y="497875"/>
                  <a:pt x="28438" y="525682"/>
                </a:cubicBezTo>
                <a:cubicBezTo>
                  <a:pt x="43672" y="565821"/>
                  <a:pt x="59035" y="599078"/>
                  <a:pt x="85084" y="630205"/>
                </a:cubicBezTo>
                <a:cubicBezTo>
                  <a:pt x="101425" y="649735"/>
                  <a:pt x="130096" y="670920"/>
                  <a:pt x="161577" y="688414"/>
                </a:cubicBezTo>
                <a:cubicBezTo>
                  <a:pt x="173639" y="695119"/>
                  <a:pt x="186101" y="701257"/>
                  <a:pt x="198442" y="706577"/>
                </a:cubicBezTo>
                <a:cubicBezTo>
                  <a:pt x="200563" y="698253"/>
                  <a:pt x="203064" y="689892"/>
                  <a:pt x="205408" y="681597"/>
                </a:cubicBezTo>
                <a:cubicBezTo>
                  <a:pt x="209965" y="665461"/>
                  <a:pt x="219265" y="652665"/>
                  <a:pt x="229923" y="642118"/>
                </a:cubicBezTo>
                <a:cubicBezTo>
                  <a:pt x="240580" y="631572"/>
                  <a:pt x="252596" y="625611"/>
                  <a:pt x="262566" y="618506"/>
                </a:cubicBezTo>
                <a:cubicBezTo>
                  <a:pt x="276646" y="608480"/>
                  <a:pt x="305680" y="600334"/>
                  <a:pt x="336668" y="603310"/>
                </a:cubicBezTo>
                <a:cubicBezTo>
                  <a:pt x="367656" y="606285"/>
                  <a:pt x="405925" y="616367"/>
                  <a:pt x="422451" y="643216"/>
                </a:cubicBezTo>
                <a:cubicBezTo>
                  <a:pt x="439396" y="670744"/>
                  <a:pt x="452193" y="697091"/>
                  <a:pt x="452676" y="724888"/>
                </a:cubicBezTo>
                <a:cubicBezTo>
                  <a:pt x="452806" y="732347"/>
                  <a:pt x="452276" y="739834"/>
                  <a:pt x="451207" y="747125"/>
                </a:cubicBezTo>
                <a:cubicBezTo>
                  <a:pt x="469900" y="746446"/>
                  <a:pt x="488602" y="745637"/>
                  <a:pt x="506979" y="745916"/>
                </a:cubicBezTo>
                <a:cubicBezTo>
                  <a:pt x="547471" y="746530"/>
                  <a:pt x="585490" y="748306"/>
                  <a:pt x="626372" y="744986"/>
                </a:cubicBezTo>
                <a:cubicBezTo>
                  <a:pt x="667255" y="741666"/>
                  <a:pt x="702558" y="732115"/>
                  <a:pt x="739665" y="726748"/>
                </a:cubicBezTo>
                <a:cubicBezTo>
                  <a:pt x="778753" y="721094"/>
                  <a:pt x="812800" y="712873"/>
                  <a:pt x="846243" y="691427"/>
                </a:cubicBezTo>
                <a:cubicBezTo>
                  <a:pt x="870711" y="675738"/>
                  <a:pt x="901206" y="654571"/>
                  <a:pt x="920345" y="633023"/>
                </a:cubicBezTo>
                <a:cubicBezTo>
                  <a:pt x="941996" y="608638"/>
                  <a:pt x="953695" y="576646"/>
                  <a:pt x="965246" y="548207"/>
                </a:cubicBezTo>
                <a:cubicBezTo>
                  <a:pt x="977847" y="517164"/>
                  <a:pt x="989472" y="489161"/>
                  <a:pt x="993434" y="450138"/>
                </a:cubicBezTo>
                <a:cubicBezTo>
                  <a:pt x="994504" y="439564"/>
                  <a:pt x="996866" y="430339"/>
                  <a:pt x="997517" y="419616"/>
                </a:cubicBezTo>
                <a:cubicBezTo>
                  <a:pt x="998168" y="408893"/>
                  <a:pt x="999265" y="397445"/>
                  <a:pt x="999433" y="386666"/>
                </a:cubicBezTo>
                <a:cubicBezTo>
                  <a:pt x="999628" y="374790"/>
                  <a:pt x="1000456" y="362607"/>
                  <a:pt x="999935" y="350442"/>
                </a:cubicBezTo>
                <a:close/>
              </a:path>
            </a:pathLst>
          </a:custGeom>
          <a:solidFill>
            <a:schemeClr val="tx2"/>
          </a:solidFill>
          <a:ln w="929" cap="flat">
            <a:noFill/>
            <a:prstDash val="solid"/>
            <a:miter/>
          </a:ln>
        </p:spPr>
        <p:txBody>
          <a:bodyPr rtlCol="0" anchor="ctr"/>
          <a:lstStyle/>
          <a:p>
            <a:endParaRPr lang="en-GB"/>
          </a:p>
        </p:txBody>
      </p:sp>
      <p:sp>
        <p:nvSpPr>
          <p:cNvPr id="21" name="Graphic 19">
            <a:extLst>
              <a:ext uri="{FF2B5EF4-FFF2-40B4-BE49-F238E27FC236}">
                <a16:creationId xmlns:a16="http://schemas.microsoft.com/office/drawing/2014/main" id="{8CB2CE43-7ABB-4CEF-A2A6-351128D12CFF}"/>
              </a:ext>
            </a:extLst>
          </p:cNvPr>
          <p:cNvSpPr>
            <a:spLocks noChangeAspect="1"/>
          </p:cNvSpPr>
          <p:nvPr userDrawn="1"/>
        </p:nvSpPr>
        <p:spPr>
          <a:xfrm rot="16784959">
            <a:off x="9203326" y="1546771"/>
            <a:ext cx="2196000" cy="2192373"/>
          </a:xfrm>
          <a:custGeom>
            <a:avLst/>
            <a:gdLst>
              <a:gd name="connsiteX0" fmla="*/ 594172 w 773612"/>
              <a:gd name="connsiteY0" fmla="*/ 63080 h 772334"/>
              <a:gd name="connsiteX1" fmla="*/ 255502 w 773612"/>
              <a:gd name="connsiteY1" fmla="*/ 24562 h 772334"/>
              <a:gd name="connsiteX2" fmla="*/ 165500 w 773612"/>
              <a:gd name="connsiteY2" fmla="*/ 70688 h 772334"/>
              <a:gd name="connsiteX3" fmla="*/ 179007 w 773612"/>
              <a:gd name="connsiteY3" fmla="*/ 85189 h 772334"/>
              <a:gd name="connsiteX4" fmla="*/ 204845 w 773612"/>
              <a:gd name="connsiteY4" fmla="*/ 155005 h 772334"/>
              <a:gd name="connsiteX5" fmla="*/ 186949 w 773612"/>
              <a:gd name="connsiteY5" fmla="*/ 216395 h 772334"/>
              <a:gd name="connsiteX6" fmla="*/ 150674 w 773612"/>
              <a:gd name="connsiteY6" fmla="*/ 255811 h 772334"/>
              <a:gd name="connsiteX7" fmla="*/ 90476 w 773612"/>
              <a:gd name="connsiteY7" fmla="*/ 272308 h 772334"/>
              <a:gd name="connsiteX8" fmla="*/ 29309 w 773612"/>
              <a:gd name="connsiteY8" fmla="*/ 247814 h 772334"/>
              <a:gd name="connsiteX9" fmla="*/ 2247 w 773612"/>
              <a:gd name="connsiteY9" fmla="*/ 418620 h 772334"/>
              <a:gd name="connsiteX10" fmla="*/ 164753 w 773612"/>
              <a:gd name="connsiteY10" fmla="*/ 718231 h 772334"/>
              <a:gd name="connsiteX11" fmla="*/ 530087 w 773612"/>
              <a:gd name="connsiteY11" fmla="*/ 747495 h 772334"/>
              <a:gd name="connsiteX12" fmla="*/ 770297 w 773612"/>
              <a:gd name="connsiteY12" fmla="*/ 500719 h 772334"/>
              <a:gd name="connsiteX13" fmla="*/ 594172 w 773612"/>
              <a:gd name="connsiteY13" fmla="*/ 63080 h 77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3612" h="772334">
                <a:moveTo>
                  <a:pt x="594172" y="63080"/>
                </a:moveTo>
                <a:cubicBezTo>
                  <a:pt x="464055" y="-19569"/>
                  <a:pt x="371437" y="-8025"/>
                  <a:pt x="255502" y="24562"/>
                </a:cubicBezTo>
                <a:cubicBezTo>
                  <a:pt x="224688" y="33227"/>
                  <a:pt x="194160" y="49247"/>
                  <a:pt x="165500" y="70688"/>
                </a:cubicBezTo>
                <a:cubicBezTo>
                  <a:pt x="170882" y="74734"/>
                  <a:pt x="175517" y="79520"/>
                  <a:pt x="179007" y="85189"/>
                </a:cubicBezTo>
                <a:cubicBezTo>
                  <a:pt x="193492" y="108721"/>
                  <a:pt x="204431" y="131251"/>
                  <a:pt x="204845" y="155005"/>
                </a:cubicBezTo>
                <a:cubicBezTo>
                  <a:pt x="205258" y="178760"/>
                  <a:pt x="198048" y="203079"/>
                  <a:pt x="186949" y="216395"/>
                </a:cubicBezTo>
                <a:cubicBezTo>
                  <a:pt x="176090" y="229433"/>
                  <a:pt x="166566" y="244515"/>
                  <a:pt x="150674" y="255811"/>
                </a:cubicBezTo>
                <a:cubicBezTo>
                  <a:pt x="135131" y="266862"/>
                  <a:pt x="113849" y="272308"/>
                  <a:pt x="90476" y="272308"/>
                </a:cubicBezTo>
                <a:cubicBezTo>
                  <a:pt x="67739" y="272308"/>
                  <a:pt x="46123" y="262497"/>
                  <a:pt x="29309" y="247814"/>
                </a:cubicBezTo>
                <a:cubicBezTo>
                  <a:pt x="5960" y="303249"/>
                  <a:pt x="-5091" y="362628"/>
                  <a:pt x="2247" y="418620"/>
                </a:cubicBezTo>
                <a:cubicBezTo>
                  <a:pt x="23609" y="581571"/>
                  <a:pt x="64050" y="665300"/>
                  <a:pt x="164753" y="718231"/>
                </a:cubicBezTo>
                <a:cubicBezTo>
                  <a:pt x="286634" y="782292"/>
                  <a:pt x="420250" y="786013"/>
                  <a:pt x="530087" y="747495"/>
                </a:cubicBezTo>
                <a:cubicBezTo>
                  <a:pt x="639925" y="708977"/>
                  <a:pt x="756400" y="660466"/>
                  <a:pt x="770297" y="500719"/>
                </a:cubicBezTo>
                <a:cubicBezTo>
                  <a:pt x="786515" y="314371"/>
                  <a:pt x="745652" y="159290"/>
                  <a:pt x="594172" y="63080"/>
                </a:cubicBezTo>
                <a:close/>
              </a:path>
            </a:pathLst>
          </a:custGeom>
          <a:solidFill>
            <a:schemeClr val="accent4"/>
          </a:solidFill>
          <a:ln w="794"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F41E2F89-DD66-4E89-87E7-3A363611DB44}"/>
              </a:ext>
            </a:extLst>
          </p:cNvPr>
          <p:cNvSpPr>
            <a:spLocks noGrp="1"/>
          </p:cNvSpPr>
          <p:nvPr>
            <p:ph type="title"/>
          </p:nvPr>
        </p:nvSpPr>
        <p:spPr>
          <a:xfrm>
            <a:off x="552000" y="1066800"/>
            <a:ext cx="11088000" cy="529771"/>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9F270E6-A09A-4FA9-A57A-40655181314C}"/>
              </a:ext>
            </a:extLst>
          </p:cNvPr>
          <p:cNvSpPr>
            <a:spLocks noGrp="1"/>
          </p:cNvSpPr>
          <p:nvPr>
            <p:ph idx="1"/>
          </p:nvPr>
        </p:nvSpPr>
        <p:spPr>
          <a:xfrm>
            <a:off x="552000" y="3976914"/>
            <a:ext cx="2584900" cy="2007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E225D5-D12D-4BBC-BA72-C43FA86D9545}"/>
              </a:ext>
            </a:extLst>
          </p:cNvPr>
          <p:cNvSpPr>
            <a:spLocks noGrp="1"/>
          </p:cNvSpPr>
          <p:nvPr>
            <p:ph type="dt" sz="half" idx="10"/>
          </p:nvPr>
        </p:nvSpPr>
        <p:spPr>
          <a:xfrm>
            <a:off x="552000" y="488951"/>
            <a:ext cx="937075" cy="215900"/>
          </a:xfrm>
          <a:prstGeom prst="rect">
            <a:avLst/>
          </a:prstGeom>
        </p:spPr>
        <p:txBody>
          <a:bodyPr/>
          <a:lstStyle/>
          <a:p>
            <a:fld id="{6077B074-FDC3-45D2-A9AD-19DA1CC2F8D0}" type="datetime1">
              <a:rPr lang="en-GB" smtClean="0"/>
              <a:t>21/10/2024</a:t>
            </a:fld>
            <a:endParaRPr lang="en-GB"/>
          </a:p>
        </p:txBody>
      </p:sp>
      <p:sp>
        <p:nvSpPr>
          <p:cNvPr id="5" name="Footer Placeholder 4">
            <a:extLst>
              <a:ext uri="{FF2B5EF4-FFF2-40B4-BE49-F238E27FC236}">
                <a16:creationId xmlns:a16="http://schemas.microsoft.com/office/drawing/2014/main" id="{31435EBC-72CD-44AB-962C-3C9FD8670617}"/>
              </a:ext>
            </a:extLst>
          </p:cNvPr>
          <p:cNvSpPr>
            <a:spLocks noGrp="1"/>
          </p:cNvSpPr>
          <p:nvPr>
            <p:ph type="ftr" sz="quarter" idx="11"/>
          </p:nvPr>
        </p:nvSpPr>
        <p:spPr>
          <a:xfrm>
            <a:off x="1489074" y="488951"/>
            <a:ext cx="9388926" cy="215900"/>
          </a:xfrm>
          <a:prstGeom prst="rect">
            <a:avLst/>
          </a:prstGeom>
        </p:spPr>
        <p:txBody>
          <a:body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1CD522D-0A7A-4EAD-8C08-C52C0E679D66}"/>
              </a:ext>
            </a:extLst>
          </p:cNvPr>
          <p:cNvSpPr>
            <a:spLocks noGrp="1"/>
          </p:cNvSpPr>
          <p:nvPr>
            <p:ph type="sldNum" sz="quarter" idx="12"/>
          </p:nvPr>
        </p:nvSpPr>
        <p:spPr>
          <a:xfrm>
            <a:off x="10878000" y="488951"/>
            <a:ext cx="762000" cy="215900"/>
          </a:xfrm>
          <a:prstGeom prst="rect">
            <a:avLst/>
          </a:prstGeom>
        </p:spPr>
        <p:txBody>
          <a:bodyPr/>
          <a:lstStyle/>
          <a:p>
            <a:fld id="{60369E12-7D5E-4ED1-AC16-739B6BF9507C}" type="slidenum">
              <a:rPr lang="en-GB" smtClean="0"/>
              <a:t>‹#›</a:t>
            </a:fld>
            <a:endParaRPr lang="en-GB"/>
          </a:p>
        </p:txBody>
      </p:sp>
      <p:sp>
        <p:nvSpPr>
          <p:cNvPr id="9" name="Content Placeholder 2">
            <a:extLst>
              <a:ext uri="{FF2B5EF4-FFF2-40B4-BE49-F238E27FC236}">
                <a16:creationId xmlns:a16="http://schemas.microsoft.com/office/drawing/2014/main" id="{6F64F606-5434-4549-A5C2-18CCC824595A}"/>
              </a:ext>
            </a:extLst>
          </p:cNvPr>
          <p:cNvSpPr>
            <a:spLocks noGrp="1"/>
          </p:cNvSpPr>
          <p:nvPr>
            <p:ph idx="13"/>
          </p:nvPr>
        </p:nvSpPr>
        <p:spPr>
          <a:xfrm>
            <a:off x="3375030" y="3976913"/>
            <a:ext cx="2584899" cy="2007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a:extLst>
              <a:ext uri="{FF2B5EF4-FFF2-40B4-BE49-F238E27FC236}">
                <a16:creationId xmlns:a16="http://schemas.microsoft.com/office/drawing/2014/main" id="{69B85BD3-4240-487C-8557-72B53CCC01B8}"/>
              </a:ext>
            </a:extLst>
          </p:cNvPr>
          <p:cNvSpPr>
            <a:spLocks noGrp="1"/>
          </p:cNvSpPr>
          <p:nvPr>
            <p:ph idx="14"/>
          </p:nvPr>
        </p:nvSpPr>
        <p:spPr>
          <a:xfrm>
            <a:off x="6240692" y="3976912"/>
            <a:ext cx="2563583" cy="2007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a:extLst>
              <a:ext uri="{FF2B5EF4-FFF2-40B4-BE49-F238E27FC236}">
                <a16:creationId xmlns:a16="http://schemas.microsoft.com/office/drawing/2014/main" id="{416E1BA4-DEFC-45DA-ACEB-CCE3A2A73AED}"/>
              </a:ext>
            </a:extLst>
          </p:cNvPr>
          <p:cNvSpPr>
            <a:spLocks noGrp="1"/>
          </p:cNvSpPr>
          <p:nvPr>
            <p:ph idx="15"/>
          </p:nvPr>
        </p:nvSpPr>
        <p:spPr>
          <a:xfrm>
            <a:off x="9055100" y="3976911"/>
            <a:ext cx="2584900" cy="2007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a:extLst>
              <a:ext uri="{FF2B5EF4-FFF2-40B4-BE49-F238E27FC236}">
                <a16:creationId xmlns:a16="http://schemas.microsoft.com/office/drawing/2014/main" id="{8831CE44-E71F-41DD-A705-976218CBD9F6}"/>
              </a:ext>
            </a:extLst>
          </p:cNvPr>
          <p:cNvSpPr>
            <a:spLocks noGrp="1"/>
          </p:cNvSpPr>
          <p:nvPr>
            <p:ph type="body" sz="quarter" idx="16"/>
          </p:nvPr>
        </p:nvSpPr>
        <p:spPr>
          <a:xfrm>
            <a:off x="859970" y="2424611"/>
            <a:ext cx="1730830" cy="1291772"/>
          </a:xfrm>
        </p:spPr>
        <p:txBody>
          <a:bodyPr/>
          <a:lstStyle>
            <a:lvl1pPr marL="0" indent="0">
              <a:spcBef>
                <a:spcPts val="0"/>
              </a:spcBef>
              <a:buNone/>
              <a:defRPr b="1"/>
            </a:lvl1pPr>
            <a:lvl2pPr>
              <a:buNone/>
              <a:defRPr/>
            </a:lvl2pPr>
          </a:lstStyle>
          <a:p>
            <a:pPr lvl="0"/>
            <a:r>
              <a:rPr lang="en-US"/>
              <a:t>Click to edit Master text styles</a:t>
            </a:r>
          </a:p>
        </p:txBody>
      </p:sp>
      <p:sp>
        <p:nvSpPr>
          <p:cNvPr id="14" name="Text Placeholder 12">
            <a:extLst>
              <a:ext uri="{FF2B5EF4-FFF2-40B4-BE49-F238E27FC236}">
                <a16:creationId xmlns:a16="http://schemas.microsoft.com/office/drawing/2014/main" id="{EC6301C2-54C1-4FA7-A974-159CFEFA1310}"/>
              </a:ext>
            </a:extLst>
          </p:cNvPr>
          <p:cNvSpPr>
            <a:spLocks noGrp="1"/>
          </p:cNvSpPr>
          <p:nvPr>
            <p:ph type="body" sz="quarter" idx="17"/>
          </p:nvPr>
        </p:nvSpPr>
        <p:spPr>
          <a:xfrm>
            <a:off x="3717469" y="2424611"/>
            <a:ext cx="2254705" cy="1291772"/>
          </a:xfrm>
        </p:spPr>
        <p:txBody>
          <a:bodyPr/>
          <a:lstStyle>
            <a:lvl1pPr marL="0" indent="0">
              <a:spcBef>
                <a:spcPts val="0"/>
              </a:spcBef>
              <a:buNone/>
              <a:defRPr b="1"/>
            </a:lvl1pPr>
            <a:lvl2pPr>
              <a:buNone/>
              <a:defRPr/>
            </a:lvl2pPr>
          </a:lstStyle>
          <a:p>
            <a:pPr lvl="0"/>
            <a:r>
              <a:rPr lang="en-US"/>
              <a:t>Click to edit Master text styles</a:t>
            </a:r>
          </a:p>
        </p:txBody>
      </p:sp>
      <p:sp>
        <p:nvSpPr>
          <p:cNvPr id="15" name="Text Placeholder 12">
            <a:extLst>
              <a:ext uri="{FF2B5EF4-FFF2-40B4-BE49-F238E27FC236}">
                <a16:creationId xmlns:a16="http://schemas.microsoft.com/office/drawing/2014/main" id="{7BA04842-BF96-4E7E-AF33-27ED7FB79B07}"/>
              </a:ext>
            </a:extLst>
          </p:cNvPr>
          <p:cNvSpPr>
            <a:spLocks noGrp="1"/>
          </p:cNvSpPr>
          <p:nvPr>
            <p:ph type="body" sz="quarter" idx="18"/>
          </p:nvPr>
        </p:nvSpPr>
        <p:spPr>
          <a:xfrm>
            <a:off x="6536870" y="2424611"/>
            <a:ext cx="2127070" cy="1291772"/>
          </a:xfrm>
        </p:spPr>
        <p:txBody>
          <a:bodyPr/>
          <a:lstStyle>
            <a:lvl1pPr marL="0" indent="0">
              <a:spcBef>
                <a:spcPts val="0"/>
              </a:spcBef>
              <a:buNone/>
              <a:defRPr b="1">
                <a:solidFill>
                  <a:schemeClr val="bg1"/>
                </a:solidFill>
              </a:defRPr>
            </a:lvl1pPr>
            <a:lvl2pPr>
              <a:buNone/>
              <a:defRPr/>
            </a:lvl2pPr>
          </a:lstStyle>
          <a:p>
            <a:pPr lvl="0"/>
            <a:r>
              <a:rPr lang="en-US"/>
              <a:t>Click to edit Master text styles</a:t>
            </a:r>
          </a:p>
        </p:txBody>
      </p:sp>
      <p:sp>
        <p:nvSpPr>
          <p:cNvPr id="16" name="Text Placeholder 12">
            <a:extLst>
              <a:ext uri="{FF2B5EF4-FFF2-40B4-BE49-F238E27FC236}">
                <a16:creationId xmlns:a16="http://schemas.microsoft.com/office/drawing/2014/main" id="{939B0FEB-B8B3-4566-92BD-6443C3C855E7}"/>
              </a:ext>
            </a:extLst>
          </p:cNvPr>
          <p:cNvSpPr>
            <a:spLocks noGrp="1"/>
          </p:cNvSpPr>
          <p:nvPr>
            <p:ph type="body" sz="quarter" idx="19"/>
          </p:nvPr>
        </p:nvSpPr>
        <p:spPr>
          <a:xfrm>
            <a:off x="9386750" y="2424611"/>
            <a:ext cx="1899560" cy="1291772"/>
          </a:xfrm>
        </p:spPr>
        <p:txBody>
          <a:bodyPr/>
          <a:lstStyle>
            <a:lvl1pPr marL="0" indent="0">
              <a:spcBef>
                <a:spcPts val="0"/>
              </a:spcBef>
              <a:buNone/>
              <a:defRPr b="1">
                <a:solidFill>
                  <a:schemeClr val="bg1"/>
                </a:solidFill>
              </a:defRPr>
            </a:lvl1pPr>
            <a:lvl2pPr>
              <a:buNone/>
              <a:defRPr/>
            </a:lvl2pPr>
          </a:lstStyle>
          <a:p>
            <a:pPr lvl="0"/>
            <a:r>
              <a:rPr lang="en-US"/>
              <a:t>Click to edit Master text styles</a:t>
            </a:r>
          </a:p>
        </p:txBody>
      </p:sp>
    </p:spTree>
    <p:extLst>
      <p:ext uri="{BB962C8B-B14F-4D97-AF65-F5344CB8AC3E}">
        <p14:creationId xmlns:p14="http://schemas.microsoft.com/office/powerpoint/2010/main" val="7921886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Text and Tab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F270E6-A09A-4FA9-A57A-40655181314C}"/>
              </a:ext>
            </a:extLst>
          </p:cNvPr>
          <p:cNvSpPr>
            <a:spLocks noGrp="1"/>
          </p:cNvSpPr>
          <p:nvPr>
            <p:ph idx="1"/>
          </p:nvPr>
        </p:nvSpPr>
        <p:spPr>
          <a:xfrm>
            <a:off x="552000" y="1089026"/>
            <a:ext cx="2584900" cy="4895850"/>
          </a:xfrm>
        </p:spPr>
        <p:txBody>
          <a:bodyPr/>
          <a:lstStyle>
            <a:lvl1pPr marL="0" indent="0">
              <a:buNone/>
              <a:defRPr sz="2000" b="1"/>
            </a:lvl1pPr>
            <a:lvl2pPr marL="0" indent="0">
              <a:buNone/>
              <a:defRPr b="1"/>
            </a:lvl2pPr>
            <a:lvl3pPr marL="0" indent="0">
              <a:buNone/>
              <a:defRPr/>
            </a:lvl3pPr>
            <a:lvl4pPr marL="177800" indent="-177800">
              <a:defRPr/>
            </a:lvl4pPr>
            <a:lvl5pPr marL="533400" indent="-1778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E225D5-D12D-4BBC-BA72-C43FA86D9545}"/>
              </a:ext>
            </a:extLst>
          </p:cNvPr>
          <p:cNvSpPr>
            <a:spLocks noGrp="1"/>
          </p:cNvSpPr>
          <p:nvPr>
            <p:ph type="dt" sz="half" idx="10"/>
          </p:nvPr>
        </p:nvSpPr>
        <p:spPr>
          <a:xfrm>
            <a:off x="552000" y="488951"/>
            <a:ext cx="937075" cy="215900"/>
          </a:xfrm>
          <a:prstGeom prst="rect">
            <a:avLst/>
          </a:prstGeom>
        </p:spPr>
        <p:txBody>
          <a:bodyPr/>
          <a:lstStyle/>
          <a:p>
            <a:fld id="{3B87C649-56C7-44C4-949F-513567F184AD}" type="datetime1">
              <a:rPr lang="en-GB" smtClean="0"/>
              <a:t>21/10/2024</a:t>
            </a:fld>
            <a:endParaRPr lang="en-GB"/>
          </a:p>
        </p:txBody>
      </p:sp>
      <p:sp>
        <p:nvSpPr>
          <p:cNvPr id="5" name="Footer Placeholder 4">
            <a:extLst>
              <a:ext uri="{FF2B5EF4-FFF2-40B4-BE49-F238E27FC236}">
                <a16:creationId xmlns:a16="http://schemas.microsoft.com/office/drawing/2014/main" id="{31435EBC-72CD-44AB-962C-3C9FD8670617}"/>
              </a:ext>
            </a:extLst>
          </p:cNvPr>
          <p:cNvSpPr>
            <a:spLocks noGrp="1"/>
          </p:cNvSpPr>
          <p:nvPr>
            <p:ph type="ftr" sz="quarter" idx="11"/>
          </p:nvPr>
        </p:nvSpPr>
        <p:spPr>
          <a:xfrm>
            <a:off x="1489074" y="488951"/>
            <a:ext cx="9388926" cy="215900"/>
          </a:xfrm>
          <a:prstGeom prst="rect">
            <a:avLst/>
          </a:prstGeom>
        </p:spPr>
        <p:txBody>
          <a:body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1CD522D-0A7A-4EAD-8C08-C52C0E679D66}"/>
              </a:ext>
            </a:extLst>
          </p:cNvPr>
          <p:cNvSpPr>
            <a:spLocks noGrp="1"/>
          </p:cNvSpPr>
          <p:nvPr>
            <p:ph type="sldNum" sz="quarter" idx="12"/>
          </p:nvPr>
        </p:nvSpPr>
        <p:spPr>
          <a:xfrm>
            <a:off x="10878000" y="488951"/>
            <a:ext cx="762000" cy="215900"/>
          </a:xfrm>
          <a:prstGeom prst="rect">
            <a:avLst/>
          </a:prstGeom>
        </p:spPr>
        <p:txBody>
          <a:bodyPr/>
          <a:lstStyle/>
          <a:p>
            <a:fld id="{60369E12-7D5E-4ED1-AC16-739B6BF9507C}" type="slidenum">
              <a:rPr lang="en-GB" smtClean="0"/>
              <a:t>‹#›</a:t>
            </a:fld>
            <a:endParaRPr lang="en-GB"/>
          </a:p>
        </p:txBody>
      </p:sp>
      <p:sp>
        <p:nvSpPr>
          <p:cNvPr id="9" name="Content Placeholder 2">
            <a:extLst>
              <a:ext uri="{FF2B5EF4-FFF2-40B4-BE49-F238E27FC236}">
                <a16:creationId xmlns:a16="http://schemas.microsoft.com/office/drawing/2014/main" id="{6F64F606-5434-4549-A5C2-18CCC824595A}"/>
              </a:ext>
            </a:extLst>
          </p:cNvPr>
          <p:cNvSpPr>
            <a:spLocks noGrp="1"/>
          </p:cNvSpPr>
          <p:nvPr>
            <p:ph idx="13"/>
          </p:nvPr>
        </p:nvSpPr>
        <p:spPr>
          <a:xfrm>
            <a:off x="4330251" y="1089025"/>
            <a:ext cx="7310887" cy="4895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266188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s (large)">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B772131A-E8BF-4FE7-9674-2A95FE236F0D}"/>
              </a:ext>
            </a:extLst>
          </p:cNvPr>
          <p:cNvSpPr>
            <a:spLocks noChangeAspect="1"/>
          </p:cNvSpPr>
          <p:nvPr userDrawn="1"/>
        </p:nvSpPr>
        <p:spPr>
          <a:xfrm rot="5400000">
            <a:off x="1063883" y="-336452"/>
            <a:ext cx="6705597" cy="7683308"/>
          </a:xfrm>
          <a:custGeom>
            <a:avLst/>
            <a:gdLst>
              <a:gd name="connsiteX0" fmla="*/ 316 w 6705597"/>
              <a:gd name="connsiteY0" fmla="*/ 3857655 h 7683308"/>
              <a:gd name="connsiteX1" fmla="*/ 2541795 w 6705597"/>
              <a:gd name="connsiteY1" fmla="*/ 244326 h 7683308"/>
              <a:gd name="connsiteX2" fmla="*/ 5911046 w 6705597"/>
              <a:gd name="connsiteY2" fmla="*/ 627521 h 7683308"/>
              <a:gd name="connsiteX3" fmla="*/ 6646171 w 6705597"/>
              <a:gd name="connsiteY3" fmla="*/ 1225871 h 7683308"/>
              <a:gd name="connsiteX4" fmla="*/ 6705597 w 6705597"/>
              <a:gd name="connsiteY4" fmla="*/ 1293716 h 7683308"/>
              <a:gd name="connsiteX5" fmla="*/ 6705597 w 6705597"/>
              <a:gd name="connsiteY5" fmla="*/ 6753015 h 7683308"/>
              <a:gd name="connsiteX6" fmla="*/ 6654618 w 6705597"/>
              <a:gd name="connsiteY6" fmla="*/ 6791884 h 7683308"/>
              <a:gd name="connsiteX7" fmla="*/ 5273498 w 6705597"/>
              <a:gd name="connsiteY7" fmla="*/ 7436258 h 7683308"/>
              <a:gd name="connsiteX8" fmla="*/ 1979069 w 6705597"/>
              <a:gd name="connsiteY8" fmla="*/ 7307018 h 7683308"/>
              <a:gd name="connsiteX9" fmla="*/ 2041626 w 6705597"/>
              <a:gd name="connsiteY9" fmla="*/ 7228803 h 7683308"/>
              <a:gd name="connsiteX10" fmla="*/ 2219664 w 6705597"/>
              <a:gd name="connsiteY10" fmla="*/ 6618066 h 7683308"/>
              <a:gd name="connsiteX11" fmla="*/ 1962615 w 6705597"/>
              <a:gd name="connsiteY11" fmla="*/ 5923493 h 7683308"/>
              <a:gd name="connsiteX12" fmla="*/ 1233083 w 6705597"/>
              <a:gd name="connsiteY12" fmla="*/ 5584121 h 7683308"/>
              <a:gd name="connsiteX13" fmla="*/ 602897 w 6705597"/>
              <a:gd name="connsiteY13" fmla="*/ 5713351 h 7683308"/>
              <a:gd name="connsiteX14" fmla="*/ 424073 w 6705597"/>
              <a:gd name="connsiteY14" fmla="*/ 5831987 h 7683308"/>
              <a:gd name="connsiteX15" fmla="*/ 22373 w 6705597"/>
              <a:gd name="connsiteY15" fmla="*/ 4164523 h 7683308"/>
              <a:gd name="connsiteX16" fmla="*/ 316 w 6705597"/>
              <a:gd name="connsiteY16" fmla="*/ 3857655 h 768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05597" h="7683308">
                <a:moveTo>
                  <a:pt x="316" y="3857655"/>
                </a:moveTo>
                <a:cubicBezTo>
                  <a:pt x="-22838" y="2310966"/>
                  <a:pt x="1233689" y="612022"/>
                  <a:pt x="2541795" y="244326"/>
                </a:cubicBezTo>
                <a:cubicBezTo>
                  <a:pt x="3695172" y="-79866"/>
                  <a:pt x="4616570" y="-194622"/>
                  <a:pt x="5911046" y="627521"/>
                </a:cubicBezTo>
                <a:cubicBezTo>
                  <a:pt x="6193605" y="806987"/>
                  <a:pt x="6437477" y="1007041"/>
                  <a:pt x="6646171" y="1225871"/>
                </a:cubicBezTo>
                <a:lnTo>
                  <a:pt x="6705597" y="1293716"/>
                </a:lnTo>
                <a:lnTo>
                  <a:pt x="6705597" y="6753015"/>
                </a:lnTo>
                <a:lnTo>
                  <a:pt x="6654618" y="6791884"/>
                </a:lnTo>
                <a:cubicBezTo>
                  <a:pt x="6242262" y="7081934"/>
                  <a:pt x="5751559" y="7268610"/>
                  <a:pt x="5273498" y="7436258"/>
                </a:cubicBezTo>
                <a:cubicBezTo>
                  <a:pt x="4282102" y="7783858"/>
                  <a:pt x="3096065" y="7785599"/>
                  <a:pt x="1979069" y="7307018"/>
                </a:cubicBezTo>
                <a:cubicBezTo>
                  <a:pt x="1999792" y="7280525"/>
                  <a:pt x="2020435" y="7254191"/>
                  <a:pt x="2041626" y="7228803"/>
                </a:cubicBezTo>
                <a:cubicBezTo>
                  <a:pt x="2152034" y="7096329"/>
                  <a:pt x="2223772" y="6854382"/>
                  <a:pt x="2219664" y="6618066"/>
                </a:cubicBezTo>
                <a:cubicBezTo>
                  <a:pt x="2215545" y="6381660"/>
                  <a:pt x="2106719" y="6157600"/>
                  <a:pt x="1962615" y="5923493"/>
                </a:cubicBezTo>
                <a:cubicBezTo>
                  <a:pt x="1822073" y="5695155"/>
                  <a:pt x="1496618" y="5609429"/>
                  <a:pt x="1233083" y="5584121"/>
                </a:cubicBezTo>
                <a:cubicBezTo>
                  <a:pt x="969558" y="5558812"/>
                  <a:pt x="722637" y="5628093"/>
                  <a:pt x="602897" y="5713351"/>
                </a:cubicBezTo>
                <a:cubicBezTo>
                  <a:pt x="548001" y="5752498"/>
                  <a:pt x="485763" y="5787776"/>
                  <a:pt x="424073" y="5831987"/>
                </a:cubicBezTo>
                <a:cubicBezTo>
                  <a:pt x="235917" y="5392324"/>
                  <a:pt x="112059" y="4848888"/>
                  <a:pt x="22373" y="4164523"/>
                </a:cubicBezTo>
                <a:cubicBezTo>
                  <a:pt x="9091" y="4063203"/>
                  <a:pt x="1860" y="3960767"/>
                  <a:pt x="316" y="3857655"/>
                </a:cubicBezTo>
                <a:close/>
              </a:path>
            </a:pathLst>
          </a:custGeom>
          <a:solidFill>
            <a:schemeClr val="accent3"/>
          </a:solidFill>
          <a:ln w="794" cap="flat">
            <a:noFill/>
            <a:prstDash val="solid"/>
            <a:miter/>
          </a:ln>
        </p:spPr>
        <p:txBody>
          <a:bodyPr wrap="square" rtlCol="0" anchor="ctr">
            <a:noAutofit/>
          </a:bodyPr>
          <a:lstStyle/>
          <a:p>
            <a:endParaRPr lang="en-GB"/>
          </a:p>
        </p:txBody>
      </p:sp>
      <p:sp>
        <p:nvSpPr>
          <p:cNvPr id="2" name="Title 1">
            <a:extLst>
              <a:ext uri="{FF2B5EF4-FFF2-40B4-BE49-F238E27FC236}">
                <a16:creationId xmlns:a16="http://schemas.microsoft.com/office/drawing/2014/main" id="{F41E2F89-DD66-4E89-87E7-3A363611DB44}"/>
              </a:ext>
            </a:extLst>
          </p:cNvPr>
          <p:cNvSpPr>
            <a:spLocks noGrp="1"/>
          </p:cNvSpPr>
          <p:nvPr>
            <p:ph type="title"/>
          </p:nvPr>
        </p:nvSpPr>
        <p:spPr>
          <a:xfrm>
            <a:off x="552000" y="1066801"/>
            <a:ext cx="11088000" cy="809626"/>
          </a:xfrm>
        </p:spPr>
        <p:txBody>
          <a:bodyPr>
            <a:normAutofit/>
          </a:bodyPr>
          <a:lstStyle>
            <a:lvl1pPr>
              <a:defRPr sz="2000"/>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B1E225D5-D12D-4BBC-BA72-C43FA86D9545}"/>
              </a:ext>
            </a:extLst>
          </p:cNvPr>
          <p:cNvSpPr>
            <a:spLocks noGrp="1"/>
          </p:cNvSpPr>
          <p:nvPr>
            <p:ph type="dt" sz="half" idx="10"/>
          </p:nvPr>
        </p:nvSpPr>
        <p:spPr>
          <a:xfrm>
            <a:off x="552000" y="488951"/>
            <a:ext cx="937075" cy="215900"/>
          </a:xfrm>
          <a:prstGeom prst="rect">
            <a:avLst/>
          </a:prstGeom>
        </p:spPr>
        <p:txBody>
          <a:bodyPr/>
          <a:lstStyle/>
          <a:p>
            <a:fld id="{D15EBF45-C15F-4D72-96E0-02DAB9AD918B}" type="datetime1">
              <a:rPr lang="en-GB" smtClean="0"/>
              <a:t>21/10/2024</a:t>
            </a:fld>
            <a:endParaRPr lang="en-GB"/>
          </a:p>
        </p:txBody>
      </p:sp>
      <p:sp>
        <p:nvSpPr>
          <p:cNvPr id="5" name="Footer Placeholder 4">
            <a:extLst>
              <a:ext uri="{FF2B5EF4-FFF2-40B4-BE49-F238E27FC236}">
                <a16:creationId xmlns:a16="http://schemas.microsoft.com/office/drawing/2014/main" id="{31435EBC-72CD-44AB-962C-3C9FD8670617}"/>
              </a:ext>
            </a:extLst>
          </p:cNvPr>
          <p:cNvSpPr>
            <a:spLocks noGrp="1"/>
          </p:cNvSpPr>
          <p:nvPr>
            <p:ph type="ftr" sz="quarter" idx="11"/>
          </p:nvPr>
        </p:nvSpPr>
        <p:spPr>
          <a:xfrm>
            <a:off x="1489074" y="488951"/>
            <a:ext cx="9388926" cy="215900"/>
          </a:xfrm>
          <a:prstGeom prst="rect">
            <a:avLst/>
          </a:prstGeom>
        </p:spPr>
        <p:txBody>
          <a:body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1CD522D-0A7A-4EAD-8C08-C52C0E679D66}"/>
              </a:ext>
            </a:extLst>
          </p:cNvPr>
          <p:cNvSpPr>
            <a:spLocks noGrp="1"/>
          </p:cNvSpPr>
          <p:nvPr>
            <p:ph type="sldNum" sz="quarter" idx="12"/>
          </p:nvPr>
        </p:nvSpPr>
        <p:spPr>
          <a:xfrm>
            <a:off x="10878000" y="488951"/>
            <a:ext cx="762000" cy="215900"/>
          </a:xfrm>
          <a:prstGeom prst="rect">
            <a:avLst/>
          </a:prstGeom>
        </p:spPr>
        <p:txBody>
          <a:bodyPr/>
          <a:lstStyle/>
          <a:p>
            <a:fld id="{60369E12-7D5E-4ED1-AC16-739B6BF9507C}" type="slidenum">
              <a:rPr lang="en-GB" smtClean="0"/>
              <a:t>‹#›</a:t>
            </a:fld>
            <a:endParaRPr lang="en-GB"/>
          </a:p>
        </p:txBody>
      </p:sp>
      <p:sp>
        <p:nvSpPr>
          <p:cNvPr id="10" name="Text Placeholder 9">
            <a:extLst>
              <a:ext uri="{FF2B5EF4-FFF2-40B4-BE49-F238E27FC236}">
                <a16:creationId xmlns:a16="http://schemas.microsoft.com/office/drawing/2014/main" id="{D569FEB2-4DD0-498B-A5B1-5ABA3EAC1AED}"/>
              </a:ext>
            </a:extLst>
          </p:cNvPr>
          <p:cNvSpPr>
            <a:spLocks noGrp="1"/>
          </p:cNvSpPr>
          <p:nvPr>
            <p:ph type="body" sz="quarter" idx="13"/>
          </p:nvPr>
        </p:nvSpPr>
        <p:spPr>
          <a:xfrm>
            <a:off x="552000" y="1876427"/>
            <a:ext cx="5420175" cy="4108448"/>
          </a:xfrm>
        </p:spPr>
        <p:txBody>
          <a:bodyPr numCol="1" spcCol="252000"/>
          <a:lstStyle>
            <a:lvl1pPr marL="939800" indent="-939800">
              <a:spcBef>
                <a:spcPts val="600"/>
              </a:spcBef>
              <a:buNone/>
              <a:defRPr sz="2000" b="1"/>
            </a:lvl1pPr>
            <a:lvl2pPr marL="1111250" indent="-171450">
              <a:spcBef>
                <a:spcPts val="600"/>
              </a:spcBef>
              <a:defRPr/>
            </a:lvl2pPr>
          </a:lstStyle>
          <a:p>
            <a:pPr lvl="0"/>
            <a:r>
              <a:rPr lang="en-US"/>
              <a:t>Click to edit Master text styles</a:t>
            </a:r>
          </a:p>
          <a:p>
            <a:pPr lvl="1"/>
            <a:r>
              <a:rPr lang="en-US"/>
              <a:t>Second level</a:t>
            </a:r>
          </a:p>
        </p:txBody>
      </p:sp>
      <p:sp>
        <p:nvSpPr>
          <p:cNvPr id="9" name="Text Placeholder 9">
            <a:extLst>
              <a:ext uri="{FF2B5EF4-FFF2-40B4-BE49-F238E27FC236}">
                <a16:creationId xmlns:a16="http://schemas.microsoft.com/office/drawing/2014/main" id="{5C11B9F8-86B6-4ADE-AC5C-1FA272F5940E}"/>
              </a:ext>
            </a:extLst>
          </p:cNvPr>
          <p:cNvSpPr>
            <a:spLocks noGrp="1"/>
          </p:cNvSpPr>
          <p:nvPr>
            <p:ph type="body" sz="quarter" idx="14"/>
          </p:nvPr>
        </p:nvSpPr>
        <p:spPr>
          <a:xfrm>
            <a:off x="6242853" y="1876427"/>
            <a:ext cx="5398286" cy="4108448"/>
          </a:xfrm>
        </p:spPr>
        <p:txBody>
          <a:bodyPr numCol="1" spcCol="252000"/>
          <a:lstStyle>
            <a:lvl1pPr marL="939800" indent="-939800">
              <a:spcBef>
                <a:spcPts val="600"/>
              </a:spcBef>
              <a:buNone/>
              <a:defRPr sz="2000" b="1"/>
            </a:lvl1pPr>
            <a:lvl2pPr marL="1111250" indent="-171450">
              <a:spcBef>
                <a:spcPts val="600"/>
              </a:spcBef>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93029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Header 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2EB6B-A53E-44D2-800A-6688D1AA72EE}"/>
              </a:ext>
            </a:extLst>
          </p:cNvPr>
          <p:cNvSpPr>
            <a:spLocks noGrp="1"/>
          </p:cNvSpPr>
          <p:nvPr>
            <p:ph type="title"/>
          </p:nvPr>
        </p:nvSpPr>
        <p:spPr>
          <a:xfrm>
            <a:off x="1489074" y="1863725"/>
            <a:ext cx="7315201" cy="1028701"/>
          </a:xfrm>
        </p:spPr>
        <p:txBody>
          <a:bodyPr anchor="t"/>
          <a:lstStyle>
            <a:lvl1pPr>
              <a:defRPr sz="3000">
                <a:solidFill>
                  <a:schemeClr val="bg1"/>
                </a:solidFill>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FC00B05-676C-47BA-8657-BD5AEF8A00AD}"/>
              </a:ext>
            </a:extLst>
          </p:cNvPr>
          <p:cNvSpPr>
            <a:spLocks noGrp="1"/>
          </p:cNvSpPr>
          <p:nvPr>
            <p:ph type="body" idx="1"/>
          </p:nvPr>
        </p:nvSpPr>
        <p:spPr>
          <a:xfrm>
            <a:off x="1489074" y="2892426"/>
            <a:ext cx="7315201" cy="812800"/>
          </a:xfrm>
        </p:spPr>
        <p:txBody>
          <a:bodyPr>
            <a:normAutofit/>
          </a:bodyPr>
          <a:lstStyle>
            <a:lvl1pPr marL="0" indent="0">
              <a:buNone/>
              <a:defRPr sz="20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94672F4-D8FA-4B9F-B7E3-540BFE6B4FA2}"/>
              </a:ext>
            </a:extLst>
          </p:cNvPr>
          <p:cNvSpPr>
            <a:spLocks noGrp="1"/>
          </p:cNvSpPr>
          <p:nvPr>
            <p:ph type="dt" sz="half" idx="10"/>
          </p:nvPr>
        </p:nvSpPr>
        <p:spPr>
          <a:xfrm>
            <a:off x="552000" y="488951"/>
            <a:ext cx="937075" cy="215900"/>
          </a:xfrm>
          <a:prstGeom prst="rect">
            <a:avLst/>
          </a:prstGeom>
        </p:spPr>
        <p:txBody>
          <a:bodyPr/>
          <a:lstStyle>
            <a:lvl1pPr>
              <a:defRPr>
                <a:solidFill>
                  <a:schemeClr val="bg1"/>
                </a:solidFill>
              </a:defRPr>
            </a:lvl1pPr>
          </a:lstStyle>
          <a:p>
            <a:fld id="{14D4FF48-05F3-4700-BCEB-ED37DEB8616C}" type="datetime1">
              <a:rPr lang="en-GB" smtClean="0"/>
              <a:t>21/10/2024</a:t>
            </a:fld>
            <a:endParaRPr lang="en-GB"/>
          </a:p>
        </p:txBody>
      </p:sp>
      <p:sp>
        <p:nvSpPr>
          <p:cNvPr id="5" name="Footer Placeholder 4">
            <a:extLst>
              <a:ext uri="{FF2B5EF4-FFF2-40B4-BE49-F238E27FC236}">
                <a16:creationId xmlns:a16="http://schemas.microsoft.com/office/drawing/2014/main" id="{9FE3F23B-F88B-48DF-A2A0-FC6B21879AB7}"/>
              </a:ext>
            </a:extLst>
          </p:cNvPr>
          <p:cNvSpPr>
            <a:spLocks noGrp="1"/>
          </p:cNvSpPr>
          <p:nvPr>
            <p:ph type="ftr" sz="quarter" idx="11"/>
          </p:nvPr>
        </p:nvSpPr>
        <p:spPr>
          <a:xfrm>
            <a:off x="1489074" y="488951"/>
            <a:ext cx="9388926" cy="215900"/>
          </a:xfrm>
          <a:prstGeom prst="rect">
            <a:avLst/>
          </a:prstGeom>
        </p:spPr>
        <p:txBody>
          <a:bodyPr/>
          <a:lstStyle>
            <a:lvl1pPr>
              <a:defRPr>
                <a:solidFill>
                  <a:schemeClr val="bg1"/>
                </a:solidFill>
              </a:defRPr>
            </a:lvl1p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45FF631-3A3F-45D0-8D40-BB4610387C27}"/>
              </a:ext>
            </a:extLst>
          </p:cNvPr>
          <p:cNvSpPr>
            <a:spLocks noGrp="1"/>
          </p:cNvSpPr>
          <p:nvPr>
            <p:ph type="sldNum" sz="quarter" idx="12"/>
          </p:nvPr>
        </p:nvSpPr>
        <p:spPr>
          <a:xfrm>
            <a:off x="10878000" y="488951"/>
            <a:ext cx="762000" cy="215900"/>
          </a:xfrm>
          <a:prstGeom prst="rect">
            <a:avLst/>
          </a:prstGeom>
        </p:spPr>
        <p:txBody>
          <a:bodyPr/>
          <a:lstStyle>
            <a:lvl1pPr>
              <a:defRPr>
                <a:solidFill>
                  <a:schemeClr val="bg1"/>
                </a:solidFill>
              </a:defRPr>
            </a:lvl1pPr>
          </a:lstStyle>
          <a:p>
            <a:fld id="{60369E12-7D5E-4ED1-AC16-739B6BF9507C}" type="slidenum">
              <a:rPr lang="en-GB" smtClean="0"/>
              <a:pPr/>
              <a:t>‹#›</a:t>
            </a:fld>
            <a:endParaRPr lang="en-GB"/>
          </a:p>
        </p:txBody>
      </p:sp>
      <p:sp>
        <p:nvSpPr>
          <p:cNvPr id="10" name="Text Placeholder 9">
            <a:extLst>
              <a:ext uri="{FF2B5EF4-FFF2-40B4-BE49-F238E27FC236}">
                <a16:creationId xmlns:a16="http://schemas.microsoft.com/office/drawing/2014/main" id="{CD21EB94-7591-4C6B-B912-0EA64A78B955}"/>
              </a:ext>
            </a:extLst>
          </p:cNvPr>
          <p:cNvSpPr>
            <a:spLocks noGrp="1"/>
          </p:cNvSpPr>
          <p:nvPr>
            <p:ph type="body" sz="quarter" idx="13"/>
          </p:nvPr>
        </p:nvSpPr>
        <p:spPr>
          <a:xfrm>
            <a:off x="1489073" y="3705225"/>
            <a:ext cx="7315202" cy="2279649"/>
          </a:xfrm>
        </p:spPr>
        <p:txBody>
          <a:bodyPr>
            <a:normAutofit/>
          </a:bodyPr>
          <a:lstStyle>
            <a:lvl1pPr marL="0" indent="0">
              <a:spcBef>
                <a:spcPts val="0"/>
              </a:spcBef>
              <a:buNone/>
              <a:defRPr sz="2000">
                <a:solidFill>
                  <a:schemeClr val="bg1"/>
                </a:solidFill>
              </a:defRPr>
            </a:lvl1pPr>
            <a:lvl2pPr>
              <a:spcBef>
                <a:spcPts val="0"/>
              </a:spcBef>
              <a:buNone/>
              <a:defRPr>
                <a:solidFill>
                  <a:schemeClr val="bg1"/>
                </a:solidFill>
              </a:defRPr>
            </a:lvl2pPr>
            <a:lvl3pPr>
              <a:spcBef>
                <a:spcPts val="0"/>
              </a:spcBef>
              <a:buNone/>
              <a:defRPr>
                <a:solidFill>
                  <a:schemeClr val="bg1"/>
                </a:solidFill>
              </a:defRPr>
            </a:lvl3pPr>
            <a:lvl4pPr>
              <a:spcBef>
                <a:spcPts val="0"/>
              </a:spcBef>
              <a:buNone/>
              <a:defRPr>
                <a:solidFill>
                  <a:schemeClr val="bg1"/>
                </a:solidFill>
              </a:defRPr>
            </a:lvl4pPr>
            <a:lvl5pPr>
              <a:spcBef>
                <a:spcPts val="0"/>
              </a:spcBef>
              <a:buNone/>
              <a:defRPr>
                <a:solidFill>
                  <a:schemeClr val="bg1"/>
                </a:solidFill>
              </a:defRPr>
            </a:lvl5pPr>
          </a:lstStyle>
          <a:p>
            <a:pPr lvl="0"/>
            <a:r>
              <a:rPr lang="en-US"/>
              <a:t>Click to edit Master text styles</a:t>
            </a:r>
          </a:p>
        </p:txBody>
      </p:sp>
      <p:sp>
        <p:nvSpPr>
          <p:cNvPr id="11" name="Text Placeholder 9">
            <a:extLst>
              <a:ext uri="{FF2B5EF4-FFF2-40B4-BE49-F238E27FC236}">
                <a16:creationId xmlns:a16="http://schemas.microsoft.com/office/drawing/2014/main" id="{7D8EAB3F-9B60-441C-91CB-5172199F4228}"/>
              </a:ext>
            </a:extLst>
          </p:cNvPr>
          <p:cNvSpPr>
            <a:spLocks noGrp="1"/>
          </p:cNvSpPr>
          <p:nvPr>
            <p:ph type="body" sz="quarter" idx="14" hasCustomPrompt="1"/>
          </p:nvPr>
        </p:nvSpPr>
        <p:spPr>
          <a:xfrm>
            <a:off x="552000" y="1863725"/>
            <a:ext cx="937073" cy="1028701"/>
          </a:xfrm>
        </p:spPr>
        <p:txBody>
          <a:bodyPr>
            <a:normAutofit/>
          </a:bodyPr>
          <a:lstStyle>
            <a:lvl1pPr marL="0" indent="0">
              <a:spcBef>
                <a:spcPts val="0"/>
              </a:spcBef>
              <a:buNone/>
              <a:defRPr sz="3000" b="1">
                <a:solidFill>
                  <a:schemeClr val="bg1"/>
                </a:solidFill>
              </a:defRPr>
            </a:lvl1pPr>
            <a:lvl2pPr>
              <a:spcBef>
                <a:spcPts val="0"/>
              </a:spcBef>
              <a:buNone/>
              <a:defRPr>
                <a:solidFill>
                  <a:schemeClr val="bg1"/>
                </a:solidFill>
              </a:defRPr>
            </a:lvl2pPr>
            <a:lvl3pPr>
              <a:spcBef>
                <a:spcPts val="0"/>
              </a:spcBef>
              <a:buNone/>
              <a:defRPr>
                <a:solidFill>
                  <a:schemeClr val="bg1"/>
                </a:solidFill>
              </a:defRPr>
            </a:lvl3pPr>
            <a:lvl4pPr>
              <a:spcBef>
                <a:spcPts val="0"/>
              </a:spcBef>
              <a:buNone/>
              <a:defRPr>
                <a:solidFill>
                  <a:schemeClr val="bg1"/>
                </a:solidFill>
              </a:defRPr>
            </a:lvl4pPr>
            <a:lvl5pPr>
              <a:spcBef>
                <a:spcPts val="0"/>
              </a:spcBef>
              <a:buNone/>
              <a:defRPr>
                <a:solidFill>
                  <a:schemeClr val="bg1"/>
                </a:solidFill>
              </a:defRPr>
            </a:lvl5pPr>
          </a:lstStyle>
          <a:p>
            <a:pPr lvl="0"/>
            <a:r>
              <a:rPr lang="en-US"/>
              <a:t>#</a:t>
            </a:r>
          </a:p>
        </p:txBody>
      </p:sp>
    </p:spTree>
    <p:extLst>
      <p:ext uri="{BB962C8B-B14F-4D97-AF65-F5344CB8AC3E}">
        <p14:creationId xmlns:p14="http://schemas.microsoft.com/office/powerpoint/2010/main" val="8794454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v2">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8CEE348-59C6-4792-94F0-BAD98DFA6F70}"/>
              </a:ext>
            </a:extLst>
          </p:cNvPr>
          <p:cNvSpPr>
            <a:spLocks noChangeAspect="1"/>
          </p:cNvSpPr>
          <p:nvPr userDrawn="1"/>
        </p:nvSpPr>
        <p:spPr>
          <a:xfrm rot="20867184">
            <a:off x="-191220" y="298861"/>
            <a:ext cx="6092345" cy="6158406"/>
          </a:xfrm>
          <a:custGeom>
            <a:avLst/>
            <a:gdLst>
              <a:gd name="connsiteX0" fmla="*/ 4788286 w 6092345"/>
              <a:gd name="connsiteY0" fmla="*/ 0 h 6158406"/>
              <a:gd name="connsiteX1" fmla="*/ 6092345 w 6092345"/>
              <a:gd name="connsiteY1" fmla="*/ 282272 h 6158406"/>
              <a:gd name="connsiteX2" fmla="*/ 6087635 w 6092345"/>
              <a:gd name="connsiteY2" fmla="*/ 324715 h 6158406"/>
              <a:gd name="connsiteX3" fmla="*/ 5641814 w 6092345"/>
              <a:gd name="connsiteY3" fmla="*/ 1675006 h 6158406"/>
              <a:gd name="connsiteX4" fmla="*/ 3860886 w 6092345"/>
              <a:gd name="connsiteY4" fmla="*/ 5986838 h 6158406"/>
              <a:gd name="connsiteX5" fmla="*/ 3554747 w 6092345"/>
              <a:gd name="connsiteY5" fmla="*/ 6157241 h 6158406"/>
              <a:gd name="connsiteX6" fmla="*/ 2556765 w 6092345"/>
              <a:gd name="connsiteY6" fmla="*/ 5690144 h 6158406"/>
              <a:gd name="connsiteX7" fmla="*/ 1738111 w 6092345"/>
              <a:gd name="connsiteY7" fmla="*/ 5041825 h 6158406"/>
              <a:gd name="connsiteX8" fmla="*/ 543004 w 6092345"/>
              <a:gd name="connsiteY8" fmla="*/ 4085748 h 6158406"/>
              <a:gd name="connsiteX9" fmla="*/ 107885 w 6092345"/>
              <a:gd name="connsiteY9" fmla="*/ 3745015 h 6158406"/>
              <a:gd name="connsiteX10" fmla="*/ 0 w 6092345"/>
              <a:gd name="connsiteY10" fmla="*/ 3657165 h 6158406"/>
              <a:gd name="connsiteX11" fmla="*/ 430997 w 6092345"/>
              <a:gd name="connsiteY11" fmla="*/ 1666011 h 6158406"/>
              <a:gd name="connsiteX12" fmla="*/ 438747 w 6092345"/>
              <a:gd name="connsiteY12" fmla="*/ 1680606 h 6158406"/>
              <a:gd name="connsiteX13" fmla="*/ 735373 w 6092345"/>
              <a:gd name="connsiteY13" fmla="*/ 2071006 h 6158406"/>
              <a:gd name="connsiteX14" fmla="*/ 1243319 w 6092345"/>
              <a:gd name="connsiteY14" fmla="*/ 2279529 h 6158406"/>
              <a:gd name="connsiteX15" fmla="*/ 1731787 w 6092345"/>
              <a:gd name="connsiteY15" fmla="*/ 2145685 h 6158406"/>
              <a:gd name="connsiteX16" fmla="*/ 2026137 w 6092345"/>
              <a:gd name="connsiteY16" fmla="*/ 1825796 h 6158406"/>
              <a:gd name="connsiteX17" fmla="*/ 2171318 w 6092345"/>
              <a:gd name="connsiteY17" fmla="*/ 1327687 h 6158406"/>
              <a:gd name="connsiteX18" fmla="*/ 2076114 w 6092345"/>
              <a:gd name="connsiteY18" fmla="*/ 968171 h 6158406"/>
              <a:gd name="connsiteX19" fmla="*/ 4736530 w 6092345"/>
              <a:gd name="connsiteY19" fmla="*/ 15755 h 6158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2345" h="6158406">
                <a:moveTo>
                  <a:pt x="4788286" y="0"/>
                </a:moveTo>
                <a:lnTo>
                  <a:pt x="6092345" y="282272"/>
                </a:lnTo>
                <a:lnTo>
                  <a:pt x="6087635" y="324715"/>
                </a:lnTo>
                <a:cubicBezTo>
                  <a:pt x="6017582" y="792211"/>
                  <a:pt x="5828552" y="1238072"/>
                  <a:pt x="5641814" y="1675006"/>
                </a:cubicBezTo>
                <a:cubicBezTo>
                  <a:pt x="5129496" y="2873498"/>
                  <a:pt x="4571438" y="4894164"/>
                  <a:pt x="3860886" y="5986838"/>
                </a:cubicBezTo>
                <a:cubicBezTo>
                  <a:pt x="3776371" y="6116770"/>
                  <a:pt x="3554747" y="6157241"/>
                  <a:pt x="3554747" y="6157241"/>
                </a:cubicBezTo>
                <a:cubicBezTo>
                  <a:pt x="3282166" y="6181023"/>
                  <a:pt x="2789206" y="5834481"/>
                  <a:pt x="2556765" y="5690144"/>
                </a:cubicBezTo>
                <a:cubicBezTo>
                  <a:pt x="2324256" y="5545866"/>
                  <a:pt x="1960128" y="5201743"/>
                  <a:pt x="1738111" y="5041825"/>
                </a:cubicBezTo>
                <a:cubicBezTo>
                  <a:pt x="1447809" y="4832782"/>
                  <a:pt x="828029" y="4301958"/>
                  <a:pt x="543004" y="4085748"/>
                </a:cubicBezTo>
                <a:cubicBezTo>
                  <a:pt x="372356" y="3956298"/>
                  <a:pt x="232599" y="3845714"/>
                  <a:pt x="107885" y="3745015"/>
                </a:cubicBezTo>
                <a:lnTo>
                  <a:pt x="0" y="3657165"/>
                </a:lnTo>
                <a:lnTo>
                  <a:pt x="430997" y="1666011"/>
                </a:lnTo>
                <a:lnTo>
                  <a:pt x="438747" y="1680606"/>
                </a:lnTo>
                <a:cubicBezTo>
                  <a:pt x="502021" y="1780439"/>
                  <a:pt x="597421" y="1946214"/>
                  <a:pt x="735373" y="2071006"/>
                </a:cubicBezTo>
                <a:cubicBezTo>
                  <a:pt x="873317" y="2195797"/>
                  <a:pt x="1053694" y="2279528"/>
                  <a:pt x="1243319" y="2279529"/>
                </a:cubicBezTo>
                <a:cubicBezTo>
                  <a:pt x="1432952" y="2279529"/>
                  <a:pt x="1605631" y="2235349"/>
                  <a:pt x="1731787" y="2145685"/>
                </a:cubicBezTo>
                <a:cubicBezTo>
                  <a:pt x="1860746" y="2054000"/>
                  <a:pt x="1937965" y="1931553"/>
                  <a:pt x="2026137" y="1825796"/>
                </a:cubicBezTo>
                <a:cubicBezTo>
                  <a:pt x="2116125" y="1717754"/>
                  <a:pt x="2174711" y="1520441"/>
                  <a:pt x="2171318" y="1327687"/>
                </a:cubicBezTo>
                <a:cubicBezTo>
                  <a:pt x="2169170" y="1205368"/>
                  <a:pt x="2132551" y="1087097"/>
                  <a:pt x="2076114" y="968171"/>
                </a:cubicBezTo>
                <a:cubicBezTo>
                  <a:pt x="2945127" y="628504"/>
                  <a:pt x="3815051" y="304929"/>
                  <a:pt x="4736530" y="15755"/>
                </a:cubicBezTo>
                <a:close/>
              </a:path>
            </a:pathLst>
          </a:custGeom>
          <a:solidFill>
            <a:schemeClr val="accent3"/>
          </a:solidFill>
          <a:ln w="762" cap="flat">
            <a:noFill/>
            <a:prstDash val="solid"/>
            <a:miter/>
          </a:ln>
        </p:spPr>
        <p:txBody>
          <a:bodyPr wrap="square" rtlCol="0" anchor="ctr">
            <a:noAutofit/>
          </a:bodyPr>
          <a:lstStyle/>
          <a:p>
            <a:endParaRPr lang="en-GB"/>
          </a:p>
        </p:txBody>
      </p:sp>
      <p:sp>
        <p:nvSpPr>
          <p:cNvPr id="8" name="Freeform: Shape 7">
            <a:extLst>
              <a:ext uri="{FF2B5EF4-FFF2-40B4-BE49-F238E27FC236}">
                <a16:creationId xmlns:a16="http://schemas.microsoft.com/office/drawing/2014/main" id="{9606A15C-F96E-45B3-B4C0-8218B2CDB57D}"/>
              </a:ext>
            </a:extLst>
          </p:cNvPr>
          <p:cNvSpPr>
            <a:spLocks noChangeAspect="1"/>
          </p:cNvSpPr>
          <p:nvPr userDrawn="1"/>
        </p:nvSpPr>
        <p:spPr>
          <a:xfrm rot="2232694">
            <a:off x="4658792" y="715603"/>
            <a:ext cx="7172482" cy="7327003"/>
          </a:xfrm>
          <a:custGeom>
            <a:avLst/>
            <a:gdLst>
              <a:gd name="connsiteX0" fmla="*/ 1114179 w 7172482"/>
              <a:gd name="connsiteY0" fmla="*/ 132614 h 7327003"/>
              <a:gd name="connsiteX1" fmla="*/ 1558872 w 7172482"/>
              <a:gd name="connsiteY1" fmla="*/ 11207 h 7327003"/>
              <a:gd name="connsiteX2" fmla="*/ 1851883 w 7172482"/>
              <a:gd name="connsiteY2" fmla="*/ 151041 h 7327003"/>
              <a:gd name="connsiteX3" fmla="*/ 4946269 w 7172482"/>
              <a:gd name="connsiteY3" fmla="*/ 2331890 h 7327003"/>
              <a:gd name="connsiteX4" fmla="*/ 4908204 w 7172482"/>
              <a:gd name="connsiteY4" fmla="*/ 2366778 h 7327003"/>
              <a:gd name="connsiteX5" fmla="*/ 4698778 w 7172482"/>
              <a:gd name="connsiteY5" fmla="*/ 2704046 h 7327003"/>
              <a:gd name="connsiteX6" fmla="*/ 4600575 w 7172482"/>
              <a:gd name="connsiteY6" fmla="*/ 3117508 h 7327003"/>
              <a:gd name="connsiteX7" fmla="*/ 4677561 w 7172482"/>
              <a:gd name="connsiteY7" fmla="*/ 3508640 h 7327003"/>
              <a:gd name="connsiteX8" fmla="*/ 5042873 w 7172482"/>
              <a:gd name="connsiteY8" fmla="*/ 3989402 h 7327003"/>
              <a:gd name="connsiteX9" fmla="*/ 5668479 w 7172482"/>
              <a:gd name="connsiteY9" fmla="*/ 4246191 h 7327003"/>
              <a:gd name="connsiteX10" fmla="*/ 6270078 w 7172482"/>
              <a:gd name="connsiteY10" fmla="*/ 4081330 h 7327003"/>
              <a:gd name="connsiteX11" fmla="*/ 6632619 w 7172482"/>
              <a:gd name="connsiteY11" fmla="*/ 3687406 h 7327003"/>
              <a:gd name="connsiteX12" fmla="*/ 6651208 w 7172482"/>
              <a:gd name="connsiteY12" fmla="*/ 3663418 h 7327003"/>
              <a:gd name="connsiteX13" fmla="*/ 6689263 w 7172482"/>
              <a:gd name="connsiteY13" fmla="*/ 3693446 h 7327003"/>
              <a:gd name="connsiteX14" fmla="*/ 7021983 w 7172482"/>
              <a:gd name="connsiteY14" fmla="*/ 3946144 h 7327003"/>
              <a:gd name="connsiteX15" fmla="*/ 7172482 w 7172482"/>
              <a:gd name="connsiteY15" fmla="*/ 4060825 h 7327003"/>
              <a:gd name="connsiteX16" fmla="*/ 2871254 w 7172482"/>
              <a:gd name="connsiteY16" fmla="*/ 7327003 h 7327003"/>
              <a:gd name="connsiteX17" fmla="*/ 2784824 w 7172482"/>
              <a:gd name="connsiteY17" fmla="*/ 7293055 h 7327003"/>
              <a:gd name="connsiteX18" fmla="*/ 2051468 w 7172482"/>
              <a:gd name="connsiteY18" fmla="*/ 6896830 h 7327003"/>
              <a:gd name="connsiteX19" fmla="*/ 1524544 w 7172482"/>
              <a:gd name="connsiteY19" fmla="*/ 6471288 h 7327003"/>
              <a:gd name="connsiteX20" fmla="*/ 1047920 w 7172482"/>
              <a:gd name="connsiteY20" fmla="*/ 6059335 h 7327003"/>
              <a:gd name="connsiteX21" fmla="*/ 280422 w 7172482"/>
              <a:gd name="connsiteY21" fmla="*/ 4771200 h 7327003"/>
              <a:gd name="connsiteX22" fmla="*/ 53344 w 7172482"/>
              <a:gd name="connsiteY22" fmla="*/ 3704172 h 7327003"/>
              <a:gd name="connsiteX23" fmla="*/ 92999 w 7172482"/>
              <a:gd name="connsiteY23" fmla="*/ 2135330 h 7327003"/>
              <a:gd name="connsiteX24" fmla="*/ 386408 w 7172482"/>
              <a:gd name="connsiteY24" fmla="*/ 1274162 h 7327003"/>
              <a:gd name="connsiteX25" fmla="*/ 905936 w 7172482"/>
              <a:gd name="connsiteY25" fmla="*/ 400914 h 7327003"/>
              <a:gd name="connsiteX26" fmla="*/ 998812 w 7172482"/>
              <a:gd name="connsiteY26" fmla="*/ 273395 h 7327003"/>
              <a:gd name="connsiteX27" fmla="*/ 1114179 w 7172482"/>
              <a:gd name="connsiteY27" fmla="*/ 132614 h 732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72482" h="7327003">
                <a:moveTo>
                  <a:pt x="1114179" y="132614"/>
                </a:moveTo>
                <a:cubicBezTo>
                  <a:pt x="1232643" y="25111"/>
                  <a:pt x="1401711" y="-23833"/>
                  <a:pt x="1558872" y="11207"/>
                </a:cubicBezTo>
                <a:cubicBezTo>
                  <a:pt x="1660487" y="33851"/>
                  <a:pt x="1796665" y="111081"/>
                  <a:pt x="1851883" y="151041"/>
                </a:cubicBezTo>
                <a:cubicBezTo>
                  <a:pt x="2868378" y="837345"/>
                  <a:pt x="3938350" y="1617228"/>
                  <a:pt x="4946269" y="2331890"/>
                </a:cubicBezTo>
                <a:cubicBezTo>
                  <a:pt x="4933475" y="2342942"/>
                  <a:pt x="4920682" y="2354381"/>
                  <a:pt x="4908204" y="2366778"/>
                </a:cubicBezTo>
                <a:cubicBezTo>
                  <a:pt x="4817160" y="2456873"/>
                  <a:pt x="4737710" y="2566198"/>
                  <a:pt x="4698778" y="2704046"/>
                </a:cubicBezTo>
                <a:cubicBezTo>
                  <a:pt x="4659847" y="2841894"/>
                  <a:pt x="4615589" y="2981565"/>
                  <a:pt x="4600575" y="3117508"/>
                </a:cubicBezTo>
                <a:cubicBezTo>
                  <a:pt x="4585561" y="3253450"/>
                  <a:pt x="4599699" y="3385736"/>
                  <a:pt x="4677561" y="3508640"/>
                </a:cubicBezTo>
                <a:cubicBezTo>
                  <a:pt x="4755424" y="3631556"/>
                  <a:pt x="4873011" y="3835745"/>
                  <a:pt x="5042873" y="3989402"/>
                </a:cubicBezTo>
                <a:cubicBezTo>
                  <a:pt x="5212746" y="4143058"/>
                  <a:pt x="5434893" y="4246191"/>
                  <a:pt x="5668479" y="4246191"/>
                </a:cubicBezTo>
                <a:cubicBezTo>
                  <a:pt x="5902066" y="4246191"/>
                  <a:pt x="6114750" y="4191767"/>
                  <a:pt x="6270078" y="4081330"/>
                </a:cubicBezTo>
                <a:cubicBezTo>
                  <a:pt x="6428898" y="3968428"/>
                  <a:pt x="6524086" y="3817705"/>
                  <a:pt x="6632619" y="3687406"/>
                </a:cubicBezTo>
                <a:cubicBezTo>
                  <a:pt x="6638975" y="3679776"/>
                  <a:pt x="6645086" y="3671760"/>
                  <a:pt x="6651208" y="3663418"/>
                </a:cubicBezTo>
                <a:cubicBezTo>
                  <a:pt x="6663839" y="3673420"/>
                  <a:pt x="6677263" y="3683993"/>
                  <a:pt x="6689263" y="3693446"/>
                </a:cubicBezTo>
                <a:cubicBezTo>
                  <a:pt x="6791735" y="3770951"/>
                  <a:pt x="6904322" y="3856540"/>
                  <a:pt x="7021983" y="3946144"/>
                </a:cubicBezTo>
                <a:lnTo>
                  <a:pt x="7172482" y="4060825"/>
                </a:lnTo>
                <a:lnTo>
                  <a:pt x="2871254" y="7327003"/>
                </a:lnTo>
                <a:lnTo>
                  <a:pt x="2784824" y="7293055"/>
                </a:lnTo>
                <a:cubicBezTo>
                  <a:pt x="2520540" y="7182224"/>
                  <a:pt x="2272579" y="7049516"/>
                  <a:pt x="2051468" y="6896830"/>
                </a:cubicBezTo>
                <a:cubicBezTo>
                  <a:pt x="1936580" y="6816982"/>
                  <a:pt x="1626955" y="6570602"/>
                  <a:pt x="1524544" y="6471288"/>
                </a:cubicBezTo>
                <a:cubicBezTo>
                  <a:pt x="1349039" y="6302618"/>
                  <a:pt x="1175275" y="6202346"/>
                  <a:pt x="1047920" y="6059335"/>
                </a:cubicBezTo>
                <a:cubicBezTo>
                  <a:pt x="719226" y="5691161"/>
                  <a:pt x="450926" y="5284850"/>
                  <a:pt x="280422" y="4771200"/>
                </a:cubicBezTo>
                <a:cubicBezTo>
                  <a:pt x="188015" y="4473176"/>
                  <a:pt x="107371" y="3995360"/>
                  <a:pt x="53344" y="3704172"/>
                </a:cubicBezTo>
                <a:cubicBezTo>
                  <a:pt x="-48587" y="3106700"/>
                  <a:pt x="12988" y="2726364"/>
                  <a:pt x="92999" y="2135330"/>
                </a:cubicBezTo>
                <a:cubicBezTo>
                  <a:pt x="130259" y="1828649"/>
                  <a:pt x="258888" y="1554064"/>
                  <a:pt x="386408" y="1274162"/>
                </a:cubicBezTo>
                <a:cubicBezTo>
                  <a:pt x="523461" y="971535"/>
                  <a:pt x="700555" y="675896"/>
                  <a:pt x="905936" y="400914"/>
                </a:cubicBezTo>
                <a:cubicBezTo>
                  <a:pt x="935018" y="361107"/>
                  <a:pt x="969741" y="313202"/>
                  <a:pt x="998812" y="273395"/>
                </a:cubicBezTo>
                <a:cubicBezTo>
                  <a:pt x="1033771" y="226122"/>
                  <a:pt x="1069921" y="170985"/>
                  <a:pt x="1114179" y="132614"/>
                </a:cubicBezTo>
                <a:close/>
              </a:path>
            </a:pathLst>
          </a:custGeom>
          <a:solidFill>
            <a:schemeClr val="accent4"/>
          </a:solidFill>
          <a:ln w="778" cap="flat">
            <a:noFill/>
            <a:prstDash val="solid"/>
            <a:miter/>
          </a:ln>
        </p:spPr>
        <p:txBody>
          <a:bodyPr wrap="square" rtlCol="0" anchor="ctr">
            <a:noAutofit/>
          </a:bodyPr>
          <a:lstStyle/>
          <a:p>
            <a:endParaRPr lang="en-GB"/>
          </a:p>
        </p:txBody>
      </p:sp>
      <p:sp>
        <p:nvSpPr>
          <p:cNvPr id="2" name="Title 1">
            <a:extLst>
              <a:ext uri="{FF2B5EF4-FFF2-40B4-BE49-F238E27FC236}">
                <a16:creationId xmlns:a16="http://schemas.microsoft.com/office/drawing/2014/main" id="{A312EB6B-A53E-44D2-800A-6688D1AA72EE}"/>
              </a:ext>
            </a:extLst>
          </p:cNvPr>
          <p:cNvSpPr>
            <a:spLocks noGrp="1"/>
          </p:cNvSpPr>
          <p:nvPr>
            <p:ph type="title"/>
          </p:nvPr>
        </p:nvSpPr>
        <p:spPr>
          <a:xfrm>
            <a:off x="1489074" y="1863725"/>
            <a:ext cx="7378701" cy="1028701"/>
          </a:xfrm>
        </p:spPr>
        <p:txBody>
          <a:bodyPr anchor="t"/>
          <a:lstStyle>
            <a:lvl1pPr>
              <a:defRPr sz="3000">
                <a:solidFill>
                  <a:schemeClr val="tx1"/>
                </a:solidFill>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FC00B05-676C-47BA-8657-BD5AEF8A00AD}"/>
              </a:ext>
            </a:extLst>
          </p:cNvPr>
          <p:cNvSpPr>
            <a:spLocks noGrp="1"/>
          </p:cNvSpPr>
          <p:nvPr>
            <p:ph type="body" idx="1"/>
          </p:nvPr>
        </p:nvSpPr>
        <p:spPr>
          <a:xfrm>
            <a:off x="1489074" y="2892426"/>
            <a:ext cx="7378701" cy="812800"/>
          </a:xfrm>
        </p:spPr>
        <p:txBody>
          <a:bodyPr>
            <a:normAutofit/>
          </a:bodyPr>
          <a:lstStyle>
            <a:lvl1pPr marL="0" indent="0">
              <a:buNone/>
              <a:defRPr sz="20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94672F4-D8FA-4B9F-B7E3-540BFE6B4FA2}"/>
              </a:ext>
            </a:extLst>
          </p:cNvPr>
          <p:cNvSpPr>
            <a:spLocks noGrp="1"/>
          </p:cNvSpPr>
          <p:nvPr>
            <p:ph type="dt" sz="half" idx="10"/>
          </p:nvPr>
        </p:nvSpPr>
        <p:spPr>
          <a:xfrm>
            <a:off x="552000" y="488951"/>
            <a:ext cx="937075" cy="215900"/>
          </a:xfrm>
          <a:prstGeom prst="rect">
            <a:avLst/>
          </a:prstGeom>
        </p:spPr>
        <p:txBody>
          <a:bodyPr/>
          <a:lstStyle>
            <a:lvl1pPr>
              <a:defRPr>
                <a:solidFill>
                  <a:schemeClr val="tx1"/>
                </a:solidFill>
              </a:defRPr>
            </a:lvl1pPr>
          </a:lstStyle>
          <a:p>
            <a:fld id="{0BB84E8C-3BFA-4B4A-917D-0C775222AEED}" type="datetime1">
              <a:rPr lang="en-GB" smtClean="0"/>
              <a:t>21/10/2024</a:t>
            </a:fld>
            <a:endParaRPr lang="en-GB"/>
          </a:p>
        </p:txBody>
      </p:sp>
      <p:sp>
        <p:nvSpPr>
          <p:cNvPr id="5" name="Footer Placeholder 4">
            <a:extLst>
              <a:ext uri="{FF2B5EF4-FFF2-40B4-BE49-F238E27FC236}">
                <a16:creationId xmlns:a16="http://schemas.microsoft.com/office/drawing/2014/main" id="{9FE3F23B-F88B-48DF-A2A0-FC6B21879AB7}"/>
              </a:ext>
            </a:extLst>
          </p:cNvPr>
          <p:cNvSpPr>
            <a:spLocks noGrp="1"/>
          </p:cNvSpPr>
          <p:nvPr>
            <p:ph type="ftr" sz="quarter" idx="11"/>
          </p:nvPr>
        </p:nvSpPr>
        <p:spPr>
          <a:xfrm>
            <a:off x="1489074" y="488951"/>
            <a:ext cx="9388926" cy="215900"/>
          </a:xfrm>
          <a:prstGeom prst="rect">
            <a:avLst/>
          </a:prstGeom>
        </p:spPr>
        <p:txBody>
          <a:bodyPr/>
          <a:lstStyle>
            <a:lvl1pPr>
              <a:defRPr>
                <a:solidFill>
                  <a:schemeClr val="tx1"/>
                </a:solidFill>
              </a:defRPr>
            </a:lvl1p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45FF631-3A3F-45D0-8D40-BB4610387C27}"/>
              </a:ext>
            </a:extLst>
          </p:cNvPr>
          <p:cNvSpPr>
            <a:spLocks noGrp="1"/>
          </p:cNvSpPr>
          <p:nvPr>
            <p:ph type="sldNum" sz="quarter" idx="12"/>
          </p:nvPr>
        </p:nvSpPr>
        <p:spPr>
          <a:xfrm>
            <a:off x="10878000" y="488951"/>
            <a:ext cx="762000" cy="215900"/>
          </a:xfrm>
          <a:prstGeom prst="rect">
            <a:avLst/>
          </a:prstGeom>
        </p:spPr>
        <p:txBody>
          <a:bodyPr/>
          <a:lstStyle>
            <a:lvl1pPr>
              <a:defRPr>
                <a:solidFill>
                  <a:schemeClr val="tx2"/>
                </a:solidFill>
              </a:defRPr>
            </a:lvl1pPr>
          </a:lstStyle>
          <a:p>
            <a:fld id="{60369E12-7D5E-4ED1-AC16-739B6BF9507C}" type="slidenum">
              <a:rPr lang="en-GB" smtClean="0"/>
              <a:pPr/>
              <a:t>‹#›</a:t>
            </a:fld>
            <a:endParaRPr lang="en-GB"/>
          </a:p>
        </p:txBody>
      </p:sp>
      <p:sp>
        <p:nvSpPr>
          <p:cNvPr id="10" name="Text Placeholder 9">
            <a:extLst>
              <a:ext uri="{FF2B5EF4-FFF2-40B4-BE49-F238E27FC236}">
                <a16:creationId xmlns:a16="http://schemas.microsoft.com/office/drawing/2014/main" id="{CD21EB94-7591-4C6B-B912-0EA64A78B955}"/>
              </a:ext>
            </a:extLst>
          </p:cNvPr>
          <p:cNvSpPr>
            <a:spLocks noGrp="1"/>
          </p:cNvSpPr>
          <p:nvPr>
            <p:ph type="body" sz="quarter" idx="13"/>
          </p:nvPr>
        </p:nvSpPr>
        <p:spPr>
          <a:xfrm>
            <a:off x="1489073" y="3705225"/>
            <a:ext cx="7378701" cy="2279649"/>
          </a:xfrm>
        </p:spPr>
        <p:txBody>
          <a:bodyPr>
            <a:normAutofit/>
          </a:bodyPr>
          <a:lstStyle>
            <a:lvl1pPr marL="0" indent="0">
              <a:spcBef>
                <a:spcPts val="0"/>
              </a:spcBef>
              <a:buNone/>
              <a:defRPr sz="2000">
                <a:solidFill>
                  <a:schemeClr val="tx1"/>
                </a:solidFill>
              </a:defRPr>
            </a:lvl1pPr>
            <a:lvl2pPr>
              <a:spcBef>
                <a:spcPts val="0"/>
              </a:spcBef>
              <a:buNone/>
              <a:defRPr>
                <a:solidFill>
                  <a:schemeClr val="bg1"/>
                </a:solidFill>
              </a:defRPr>
            </a:lvl2pPr>
            <a:lvl3pPr>
              <a:spcBef>
                <a:spcPts val="0"/>
              </a:spcBef>
              <a:buNone/>
              <a:defRPr>
                <a:solidFill>
                  <a:schemeClr val="bg1"/>
                </a:solidFill>
              </a:defRPr>
            </a:lvl3pPr>
            <a:lvl4pPr>
              <a:spcBef>
                <a:spcPts val="0"/>
              </a:spcBef>
              <a:buNone/>
              <a:defRPr>
                <a:solidFill>
                  <a:schemeClr val="bg1"/>
                </a:solidFill>
              </a:defRPr>
            </a:lvl4pPr>
            <a:lvl5pPr>
              <a:spcBef>
                <a:spcPts val="0"/>
              </a:spcBef>
              <a:buNone/>
              <a:defRPr>
                <a:solidFill>
                  <a:schemeClr val="bg1"/>
                </a:solidFill>
              </a:defRPr>
            </a:lvl5pPr>
          </a:lstStyle>
          <a:p>
            <a:pPr lvl="0"/>
            <a:r>
              <a:rPr lang="en-US"/>
              <a:t>Click to edit Master text styles</a:t>
            </a:r>
          </a:p>
        </p:txBody>
      </p:sp>
      <p:sp>
        <p:nvSpPr>
          <p:cNvPr id="11" name="Text Placeholder 9">
            <a:extLst>
              <a:ext uri="{FF2B5EF4-FFF2-40B4-BE49-F238E27FC236}">
                <a16:creationId xmlns:a16="http://schemas.microsoft.com/office/drawing/2014/main" id="{7D8EAB3F-9B60-441C-91CB-5172199F4228}"/>
              </a:ext>
            </a:extLst>
          </p:cNvPr>
          <p:cNvSpPr>
            <a:spLocks noGrp="1"/>
          </p:cNvSpPr>
          <p:nvPr>
            <p:ph type="body" sz="quarter" idx="14" hasCustomPrompt="1"/>
          </p:nvPr>
        </p:nvSpPr>
        <p:spPr>
          <a:xfrm>
            <a:off x="552000" y="1863725"/>
            <a:ext cx="937073" cy="1028701"/>
          </a:xfrm>
        </p:spPr>
        <p:txBody>
          <a:bodyPr>
            <a:normAutofit/>
          </a:bodyPr>
          <a:lstStyle>
            <a:lvl1pPr marL="0" indent="0">
              <a:spcBef>
                <a:spcPts val="0"/>
              </a:spcBef>
              <a:buNone/>
              <a:defRPr sz="3000" b="1">
                <a:solidFill>
                  <a:schemeClr val="tx1"/>
                </a:solidFill>
              </a:defRPr>
            </a:lvl1pPr>
            <a:lvl2pPr>
              <a:spcBef>
                <a:spcPts val="0"/>
              </a:spcBef>
              <a:buNone/>
              <a:defRPr>
                <a:solidFill>
                  <a:schemeClr val="bg1"/>
                </a:solidFill>
              </a:defRPr>
            </a:lvl2pPr>
            <a:lvl3pPr>
              <a:spcBef>
                <a:spcPts val="0"/>
              </a:spcBef>
              <a:buNone/>
              <a:defRPr>
                <a:solidFill>
                  <a:schemeClr val="bg1"/>
                </a:solidFill>
              </a:defRPr>
            </a:lvl3pPr>
            <a:lvl4pPr>
              <a:spcBef>
                <a:spcPts val="0"/>
              </a:spcBef>
              <a:buNone/>
              <a:defRPr>
                <a:solidFill>
                  <a:schemeClr val="bg1"/>
                </a:solidFill>
              </a:defRPr>
            </a:lvl4pPr>
            <a:lvl5pPr>
              <a:spcBef>
                <a:spcPts val="0"/>
              </a:spcBef>
              <a:buNone/>
              <a:defRPr>
                <a:solidFill>
                  <a:schemeClr val="bg1"/>
                </a:solidFill>
              </a:defRPr>
            </a:lvl5pPr>
          </a:lstStyle>
          <a:p>
            <a:pPr lvl="0"/>
            <a:r>
              <a:rPr lang="en-US"/>
              <a:t>#</a:t>
            </a:r>
          </a:p>
        </p:txBody>
      </p:sp>
    </p:spTree>
    <p:extLst>
      <p:ext uri="{BB962C8B-B14F-4D97-AF65-F5344CB8AC3E}">
        <p14:creationId xmlns:p14="http://schemas.microsoft.com/office/powerpoint/2010/main" val="5260915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Header v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0093BD1F-E738-46CD-BFAE-AD53820A5988}"/>
              </a:ext>
            </a:extLst>
          </p:cNvPr>
          <p:cNvSpPr>
            <a:spLocks noChangeAspect="1"/>
          </p:cNvSpPr>
          <p:nvPr userDrawn="1"/>
        </p:nvSpPr>
        <p:spPr>
          <a:xfrm rot="20585162">
            <a:off x="5682300" y="1267407"/>
            <a:ext cx="6876000" cy="6384579"/>
          </a:xfrm>
          <a:custGeom>
            <a:avLst/>
            <a:gdLst>
              <a:gd name="connsiteX0" fmla="*/ 6055563 w 6876000"/>
              <a:gd name="connsiteY0" fmla="*/ 106835 h 6384579"/>
              <a:gd name="connsiteX1" fmla="*/ 6733075 w 6876000"/>
              <a:gd name="connsiteY1" fmla="*/ 1019183 h 6384579"/>
              <a:gd name="connsiteX2" fmla="*/ 6800084 w 6876000"/>
              <a:gd name="connsiteY2" fmla="*/ 1751692 h 6384579"/>
              <a:gd name="connsiteX3" fmla="*/ 6840309 w 6876000"/>
              <a:gd name="connsiteY3" fmla="*/ 2141104 h 6384579"/>
              <a:gd name="connsiteX4" fmla="*/ 6876000 w 6876000"/>
              <a:gd name="connsiteY4" fmla="*/ 2492444 h 6384579"/>
              <a:gd name="connsiteX5" fmla="*/ 5692442 w 6876000"/>
              <a:gd name="connsiteY5" fmla="*/ 6384579 h 6384579"/>
              <a:gd name="connsiteX6" fmla="*/ 73552 w 6876000"/>
              <a:gd name="connsiteY6" fmla="*/ 4675934 h 6384579"/>
              <a:gd name="connsiteX7" fmla="*/ 67425 w 6876000"/>
              <a:gd name="connsiteY7" fmla="*/ 4554499 h 6384579"/>
              <a:gd name="connsiteX8" fmla="*/ 67217 w 6876000"/>
              <a:gd name="connsiteY8" fmla="*/ 4315777 h 6384579"/>
              <a:gd name="connsiteX9" fmla="*/ 29036 w 6876000"/>
              <a:gd name="connsiteY9" fmla="*/ 2465259 h 6384579"/>
              <a:gd name="connsiteX10" fmla="*/ 639535 w 6876000"/>
              <a:gd name="connsiteY10" fmla="*/ 233175 h 6384579"/>
              <a:gd name="connsiteX11" fmla="*/ 4804387 w 6876000"/>
              <a:gd name="connsiteY11" fmla="*/ 31185 h 6384579"/>
              <a:gd name="connsiteX12" fmla="*/ 6055563 w 6876000"/>
              <a:gd name="connsiteY12" fmla="*/ 106835 h 638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76000" h="6384579">
                <a:moveTo>
                  <a:pt x="6055563" y="106835"/>
                </a:moveTo>
                <a:cubicBezTo>
                  <a:pt x="6427598" y="237682"/>
                  <a:pt x="6704025" y="507980"/>
                  <a:pt x="6733075" y="1019183"/>
                </a:cubicBezTo>
                <a:cubicBezTo>
                  <a:pt x="6747564" y="1273309"/>
                  <a:pt x="6779562" y="1472206"/>
                  <a:pt x="6800084" y="1751692"/>
                </a:cubicBezTo>
                <a:cubicBezTo>
                  <a:pt x="6809589" y="1881096"/>
                  <a:pt x="6824963" y="2010690"/>
                  <a:pt x="6840309" y="2141104"/>
                </a:cubicBezTo>
                <a:lnTo>
                  <a:pt x="6876000" y="2492444"/>
                </a:lnTo>
                <a:lnTo>
                  <a:pt x="5692442" y="6384579"/>
                </a:lnTo>
                <a:lnTo>
                  <a:pt x="73552" y="4675934"/>
                </a:lnTo>
                <a:lnTo>
                  <a:pt x="67425" y="4554499"/>
                </a:lnTo>
                <a:cubicBezTo>
                  <a:pt x="64867" y="4474209"/>
                  <a:pt x="64312" y="4394496"/>
                  <a:pt x="67217" y="4315777"/>
                </a:cubicBezTo>
                <a:cubicBezTo>
                  <a:pt x="90151" y="3692074"/>
                  <a:pt x="74605" y="3091086"/>
                  <a:pt x="29036" y="2465259"/>
                </a:cubicBezTo>
                <a:cubicBezTo>
                  <a:pt x="45262" y="1775080"/>
                  <a:pt x="-230225" y="385969"/>
                  <a:pt x="639535" y="233175"/>
                </a:cubicBezTo>
                <a:cubicBezTo>
                  <a:pt x="2051291" y="-14847"/>
                  <a:pt x="3402150" y="78642"/>
                  <a:pt x="4804387" y="31185"/>
                </a:cubicBezTo>
                <a:cubicBezTo>
                  <a:pt x="5215880" y="-15411"/>
                  <a:pt x="5683526" y="-24013"/>
                  <a:pt x="6055563" y="106835"/>
                </a:cubicBezTo>
                <a:close/>
              </a:path>
            </a:pathLst>
          </a:custGeom>
          <a:solidFill>
            <a:schemeClr val="accent1"/>
          </a:solidFill>
          <a:ln w="857" cap="flat">
            <a:noFill/>
            <a:prstDash val="solid"/>
            <a:miter/>
          </a:ln>
        </p:spPr>
        <p:txBody>
          <a:bodyPr wrap="square" rtlCol="0" anchor="ctr">
            <a:noAutofit/>
          </a:bodyPr>
          <a:lstStyle/>
          <a:p>
            <a:endParaRPr lang="en-GB"/>
          </a:p>
        </p:txBody>
      </p:sp>
      <p:sp>
        <p:nvSpPr>
          <p:cNvPr id="14" name="Freeform: Shape 13">
            <a:extLst>
              <a:ext uri="{FF2B5EF4-FFF2-40B4-BE49-F238E27FC236}">
                <a16:creationId xmlns:a16="http://schemas.microsoft.com/office/drawing/2014/main" id="{B5E6E33C-2822-4E57-A5E8-D89C8CEC03C4}"/>
              </a:ext>
            </a:extLst>
          </p:cNvPr>
          <p:cNvSpPr>
            <a:spLocks noChangeAspect="1"/>
          </p:cNvSpPr>
          <p:nvPr userDrawn="1"/>
        </p:nvSpPr>
        <p:spPr>
          <a:xfrm rot="6882028" flipH="1">
            <a:off x="-207794" y="709346"/>
            <a:ext cx="7571015" cy="6588303"/>
          </a:xfrm>
          <a:custGeom>
            <a:avLst/>
            <a:gdLst>
              <a:gd name="connsiteX0" fmla="*/ 7523595 w 7571015"/>
              <a:gd name="connsiteY0" fmla="*/ 4547963 h 6588303"/>
              <a:gd name="connsiteX1" fmla="*/ 7555394 w 7571015"/>
              <a:gd name="connsiteY1" fmla="*/ 4195489 h 6588303"/>
              <a:gd name="connsiteX2" fmla="*/ 7169799 w 7571015"/>
              <a:gd name="connsiteY2" fmla="*/ 3749678 h 6588303"/>
              <a:gd name="connsiteX3" fmla="*/ 5804159 w 7571015"/>
              <a:gd name="connsiteY3" fmla="*/ 2712530 h 6588303"/>
              <a:gd name="connsiteX4" fmla="*/ 4242491 w 7571015"/>
              <a:gd name="connsiteY4" fmla="*/ 1482002 h 6588303"/>
              <a:gd name="connsiteX5" fmla="*/ 2657209 w 7571015"/>
              <a:gd name="connsiteY5" fmla="*/ 352094 h 6588303"/>
              <a:gd name="connsiteX6" fmla="*/ 2158702 w 7571015"/>
              <a:gd name="connsiteY6" fmla="*/ 0 h 6588303"/>
              <a:gd name="connsiteX7" fmla="*/ 0 w 7571015"/>
              <a:gd name="connsiteY7" fmla="*/ 4693255 h 6588303"/>
              <a:gd name="connsiteX8" fmla="*/ 97269 w 7571015"/>
              <a:gd name="connsiteY8" fmla="*/ 4825090 h 6588303"/>
              <a:gd name="connsiteX9" fmla="*/ 272090 w 7571015"/>
              <a:gd name="connsiteY9" fmla="*/ 5032566 h 6588303"/>
              <a:gd name="connsiteX10" fmla="*/ 739482 w 7571015"/>
              <a:gd name="connsiteY10" fmla="*/ 5436535 h 6588303"/>
              <a:gd name="connsiteX11" fmla="*/ 1256200 w 7571015"/>
              <a:gd name="connsiteY11" fmla="*/ 5853829 h 6588303"/>
              <a:gd name="connsiteX12" fmla="*/ 3275912 w 7571015"/>
              <a:gd name="connsiteY12" fmla="*/ 6588303 h 6588303"/>
              <a:gd name="connsiteX13" fmla="*/ 3277000 w 7571015"/>
              <a:gd name="connsiteY13" fmla="*/ 6427646 h 6588303"/>
              <a:gd name="connsiteX14" fmla="*/ 3373302 w 7571015"/>
              <a:gd name="connsiteY14" fmla="*/ 6022197 h 6588303"/>
              <a:gd name="connsiteX15" fmla="*/ 3578680 w 7571015"/>
              <a:gd name="connsiteY15" fmla="*/ 5691465 h 6588303"/>
              <a:gd name="connsiteX16" fmla="*/ 3852151 w 7571015"/>
              <a:gd name="connsiteY16" fmla="*/ 5493650 h 6588303"/>
              <a:gd name="connsiteX17" fmla="*/ 4472951 w 7571015"/>
              <a:gd name="connsiteY17" fmla="*/ 5366335 h 6588303"/>
              <a:gd name="connsiteX18" fmla="*/ 5191690 w 7571015"/>
              <a:gd name="connsiteY18" fmla="*/ 5700654 h 6588303"/>
              <a:gd name="connsiteX19" fmla="*/ 5441398 w 7571015"/>
              <a:gd name="connsiteY19" fmla="*/ 6325352 h 6588303"/>
              <a:gd name="connsiteX20" fmla="*/ 6066953 w 7571015"/>
              <a:gd name="connsiteY20" fmla="*/ 6028121 h 6588303"/>
              <a:gd name="connsiteX21" fmla="*/ 6728357 w 7571015"/>
              <a:gd name="connsiteY21" fmla="*/ 5535872 h 6588303"/>
              <a:gd name="connsiteX22" fmla="*/ 7313706 w 7571015"/>
              <a:gd name="connsiteY22" fmla="*/ 4861470 h 6588303"/>
              <a:gd name="connsiteX23" fmla="*/ 7473037 w 7571015"/>
              <a:gd name="connsiteY23" fmla="*/ 4642621 h 6588303"/>
              <a:gd name="connsiteX24" fmla="*/ 7523595 w 7571015"/>
              <a:gd name="connsiteY24" fmla="*/ 4547963 h 658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571015" h="6588303">
                <a:moveTo>
                  <a:pt x="7523595" y="4547963"/>
                </a:moveTo>
                <a:cubicBezTo>
                  <a:pt x="7567284" y="4452055"/>
                  <a:pt x="7587241" y="4347941"/>
                  <a:pt x="7555394" y="4195489"/>
                </a:cubicBezTo>
                <a:cubicBezTo>
                  <a:pt x="7519315" y="4022837"/>
                  <a:pt x="7353991" y="3887821"/>
                  <a:pt x="7169799" y="3749678"/>
                </a:cubicBezTo>
                <a:cubicBezTo>
                  <a:pt x="6766764" y="3447382"/>
                  <a:pt x="6206105" y="3016534"/>
                  <a:pt x="5804159" y="2712530"/>
                </a:cubicBezTo>
                <a:cubicBezTo>
                  <a:pt x="5414988" y="2405869"/>
                  <a:pt x="4631742" y="1788653"/>
                  <a:pt x="4242491" y="1482002"/>
                </a:cubicBezTo>
                <a:cubicBezTo>
                  <a:pt x="3727023" y="1117767"/>
                  <a:pt x="3193070" y="733548"/>
                  <a:pt x="2657209" y="352094"/>
                </a:cubicBezTo>
                <a:lnTo>
                  <a:pt x="2158702" y="0"/>
                </a:lnTo>
                <a:lnTo>
                  <a:pt x="0" y="4693255"/>
                </a:lnTo>
                <a:lnTo>
                  <a:pt x="97269" y="4825090"/>
                </a:lnTo>
                <a:cubicBezTo>
                  <a:pt x="153299" y="4895862"/>
                  <a:pt x="211653" y="4964871"/>
                  <a:pt x="272090" y="5032566"/>
                </a:cubicBezTo>
                <a:cubicBezTo>
                  <a:pt x="396979" y="5172806"/>
                  <a:pt x="567377" y="5271134"/>
                  <a:pt x="739482" y="5436535"/>
                </a:cubicBezTo>
                <a:cubicBezTo>
                  <a:pt x="839909" y="5533925"/>
                  <a:pt x="1143537" y="5775529"/>
                  <a:pt x="1256200" y="5853829"/>
                </a:cubicBezTo>
                <a:cubicBezTo>
                  <a:pt x="1813811" y="6238940"/>
                  <a:pt x="2545565" y="6494100"/>
                  <a:pt x="3275912" y="6588303"/>
                </a:cubicBezTo>
                <a:cubicBezTo>
                  <a:pt x="3270148" y="6535553"/>
                  <a:pt x="3271007" y="6481953"/>
                  <a:pt x="3277000" y="6427646"/>
                </a:cubicBezTo>
                <a:cubicBezTo>
                  <a:pt x="3291724" y="6294337"/>
                  <a:pt x="3335125" y="6157373"/>
                  <a:pt x="3373302" y="6022197"/>
                </a:cubicBezTo>
                <a:cubicBezTo>
                  <a:pt x="3411479" y="5887022"/>
                  <a:pt x="3489390" y="5779814"/>
                  <a:pt x="3578680" y="5691465"/>
                </a:cubicBezTo>
                <a:cubicBezTo>
                  <a:pt x="3667969" y="5603115"/>
                  <a:pt x="3768626" y="5553172"/>
                  <a:pt x="3852151" y="5493650"/>
                </a:cubicBezTo>
                <a:cubicBezTo>
                  <a:pt x="3970109" y="5409656"/>
                  <a:pt x="4213354" y="5341403"/>
                  <a:pt x="4472951" y="5366335"/>
                </a:cubicBezTo>
                <a:cubicBezTo>
                  <a:pt x="4732558" y="5391267"/>
                  <a:pt x="5053166" y="5475730"/>
                  <a:pt x="5191690" y="5700654"/>
                </a:cubicBezTo>
                <a:cubicBezTo>
                  <a:pt x="5321493" y="5911564"/>
                  <a:pt x="5422000" y="6114212"/>
                  <a:pt x="5441398" y="6325352"/>
                </a:cubicBezTo>
                <a:cubicBezTo>
                  <a:pt x="5657915" y="6259198"/>
                  <a:pt x="5865870" y="6175373"/>
                  <a:pt x="6066953" y="6028121"/>
                </a:cubicBezTo>
                <a:cubicBezTo>
                  <a:pt x="6302177" y="5855857"/>
                  <a:pt x="6521570" y="5736263"/>
                  <a:pt x="6728357" y="5535872"/>
                </a:cubicBezTo>
                <a:cubicBezTo>
                  <a:pt x="6935134" y="5335490"/>
                  <a:pt x="7129215" y="5114762"/>
                  <a:pt x="7313706" y="4861470"/>
                </a:cubicBezTo>
                <a:cubicBezTo>
                  <a:pt x="7365828" y="4789952"/>
                  <a:pt x="7427847" y="4718743"/>
                  <a:pt x="7473037" y="4642621"/>
                </a:cubicBezTo>
                <a:cubicBezTo>
                  <a:pt x="7491833" y="4610988"/>
                  <a:pt x="7509033" y="4579932"/>
                  <a:pt x="7523595" y="4547963"/>
                </a:cubicBezTo>
                <a:close/>
              </a:path>
            </a:pathLst>
          </a:custGeom>
          <a:solidFill>
            <a:schemeClr val="accent2"/>
          </a:solidFill>
          <a:ln w="778" cap="flat">
            <a:noFill/>
            <a:prstDash val="solid"/>
            <a:miter/>
          </a:ln>
        </p:spPr>
        <p:txBody>
          <a:bodyPr wrap="square" rtlCol="0" anchor="ctr">
            <a:noAutofit/>
          </a:bodyPr>
          <a:lstStyle/>
          <a:p>
            <a:endParaRPr lang="en-GB"/>
          </a:p>
        </p:txBody>
      </p:sp>
      <p:sp>
        <p:nvSpPr>
          <p:cNvPr id="2" name="Title 1">
            <a:extLst>
              <a:ext uri="{FF2B5EF4-FFF2-40B4-BE49-F238E27FC236}">
                <a16:creationId xmlns:a16="http://schemas.microsoft.com/office/drawing/2014/main" id="{A312EB6B-A53E-44D2-800A-6688D1AA72EE}"/>
              </a:ext>
            </a:extLst>
          </p:cNvPr>
          <p:cNvSpPr>
            <a:spLocks noGrp="1"/>
          </p:cNvSpPr>
          <p:nvPr>
            <p:ph type="title"/>
          </p:nvPr>
        </p:nvSpPr>
        <p:spPr>
          <a:xfrm>
            <a:off x="1489074" y="1863725"/>
            <a:ext cx="7378701" cy="1028701"/>
          </a:xfrm>
        </p:spPr>
        <p:txBody>
          <a:bodyPr anchor="t"/>
          <a:lstStyle>
            <a:lvl1pPr>
              <a:defRPr sz="3000">
                <a:solidFill>
                  <a:schemeClr val="tx1"/>
                </a:solidFill>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FC00B05-676C-47BA-8657-BD5AEF8A00AD}"/>
              </a:ext>
            </a:extLst>
          </p:cNvPr>
          <p:cNvSpPr>
            <a:spLocks noGrp="1"/>
          </p:cNvSpPr>
          <p:nvPr>
            <p:ph type="body" idx="1"/>
          </p:nvPr>
        </p:nvSpPr>
        <p:spPr>
          <a:xfrm>
            <a:off x="1489074" y="2892426"/>
            <a:ext cx="7378701" cy="812800"/>
          </a:xfrm>
        </p:spPr>
        <p:txBody>
          <a:bodyPr>
            <a:normAutofit/>
          </a:bodyPr>
          <a:lstStyle>
            <a:lvl1pPr marL="0" indent="0">
              <a:buNone/>
              <a:defRPr sz="20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94672F4-D8FA-4B9F-B7E3-540BFE6B4FA2}"/>
              </a:ext>
            </a:extLst>
          </p:cNvPr>
          <p:cNvSpPr>
            <a:spLocks noGrp="1"/>
          </p:cNvSpPr>
          <p:nvPr>
            <p:ph type="dt" sz="half" idx="10"/>
          </p:nvPr>
        </p:nvSpPr>
        <p:spPr>
          <a:xfrm>
            <a:off x="552000" y="488951"/>
            <a:ext cx="937075" cy="215900"/>
          </a:xfrm>
          <a:prstGeom prst="rect">
            <a:avLst/>
          </a:prstGeom>
        </p:spPr>
        <p:txBody>
          <a:bodyPr/>
          <a:lstStyle>
            <a:lvl1pPr>
              <a:defRPr>
                <a:solidFill>
                  <a:schemeClr val="tx1"/>
                </a:solidFill>
              </a:defRPr>
            </a:lvl1pPr>
          </a:lstStyle>
          <a:p>
            <a:fld id="{0BB84E8C-3BFA-4B4A-917D-0C775222AEED}" type="datetime1">
              <a:rPr lang="en-GB" smtClean="0"/>
              <a:t>21/10/2024</a:t>
            </a:fld>
            <a:endParaRPr lang="en-GB"/>
          </a:p>
        </p:txBody>
      </p:sp>
      <p:sp>
        <p:nvSpPr>
          <p:cNvPr id="5" name="Footer Placeholder 4">
            <a:extLst>
              <a:ext uri="{FF2B5EF4-FFF2-40B4-BE49-F238E27FC236}">
                <a16:creationId xmlns:a16="http://schemas.microsoft.com/office/drawing/2014/main" id="{9FE3F23B-F88B-48DF-A2A0-FC6B21879AB7}"/>
              </a:ext>
            </a:extLst>
          </p:cNvPr>
          <p:cNvSpPr>
            <a:spLocks noGrp="1"/>
          </p:cNvSpPr>
          <p:nvPr>
            <p:ph type="ftr" sz="quarter" idx="11"/>
          </p:nvPr>
        </p:nvSpPr>
        <p:spPr>
          <a:xfrm>
            <a:off x="1489074" y="488951"/>
            <a:ext cx="9388926" cy="215900"/>
          </a:xfrm>
          <a:prstGeom prst="rect">
            <a:avLst/>
          </a:prstGeom>
        </p:spPr>
        <p:txBody>
          <a:bodyPr/>
          <a:lstStyle>
            <a:lvl1pPr>
              <a:defRPr>
                <a:solidFill>
                  <a:schemeClr val="tx1"/>
                </a:solidFill>
              </a:defRPr>
            </a:lvl1pPr>
          </a:lstStyle>
          <a:p>
            <a:r>
              <a:rPr lang="en-GB"/>
              <a:t>Presentation title runs here (Go Insert &gt; Header &amp; Footer to edit this text) </a:t>
            </a:r>
          </a:p>
        </p:txBody>
      </p:sp>
      <p:sp>
        <p:nvSpPr>
          <p:cNvPr id="6" name="Slide Number Placeholder 5">
            <a:extLst>
              <a:ext uri="{FF2B5EF4-FFF2-40B4-BE49-F238E27FC236}">
                <a16:creationId xmlns:a16="http://schemas.microsoft.com/office/drawing/2014/main" id="{845FF631-3A3F-45D0-8D40-BB4610387C27}"/>
              </a:ext>
            </a:extLst>
          </p:cNvPr>
          <p:cNvSpPr>
            <a:spLocks noGrp="1"/>
          </p:cNvSpPr>
          <p:nvPr>
            <p:ph type="sldNum" sz="quarter" idx="12"/>
          </p:nvPr>
        </p:nvSpPr>
        <p:spPr>
          <a:xfrm>
            <a:off x="10878000" y="488951"/>
            <a:ext cx="762000" cy="215900"/>
          </a:xfrm>
          <a:prstGeom prst="rect">
            <a:avLst/>
          </a:prstGeom>
        </p:spPr>
        <p:txBody>
          <a:bodyPr/>
          <a:lstStyle>
            <a:lvl1pPr>
              <a:defRPr>
                <a:solidFill>
                  <a:schemeClr val="tx2"/>
                </a:solidFill>
              </a:defRPr>
            </a:lvl1pPr>
          </a:lstStyle>
          <a:p>
            <a:fld id="{60369E12-7D5E-4ED1-AC16-739B6BF9507C}" type="slidenum">
              <a:rPr lang="en-GB" smtClean="0"/>
              <a:pPr/>
              <a:t>‹#›</a:t>
            </a:fld>
            <a:endParaRPr lang="en-GB"/>
          </a:p>
        </p:txBody>
      </p:sp>
      <p:sp>
        <p:nvSpPr>
          <p:cNvPr id="10" name="Text Placeholder 9">
            <a:extLst>
              <a:ext uri="{FF2B5EF4-FFF2-40B4-BE49-F238E27FC236}">
                <a16:creationId xmlns:a16="http://schemas.microsoft.com/office/drawing/2014/main" id="{CD21EB94-7591-4C6B-B912-0EA64A78B955}"/>
              </a:ext>
            </a:extLst>
          </p:cNvPr>
          <p:cNvSpPr>
            <a:spLocks noGrp="1"/>
          </p:cNvSpPr>
          <p:nvPr>
            <p:ph type="body" sz="quarter" idx="13"/>
          </p:nvPr>
        </p:nvSpPr>
        <p:spPr>
          <a:xfrm>
            <a:off x="1489073" y="3705225"/>
            <a:ext cx="7378701" cy="2279649"/>
          </a:xfrm>
        </p:spPr>
        <p:txBody>
          <a:bodyPr>
            <a:normAutofit/>
          </a:bodyPr>
          <a:lstStyle>
            <a:lvl1pPr marL="0" indent="0">
              <a:spcBef>
                <a:spcPts val="0"/>
              </a:spcBef>
              <a:buNone/>
              <a:defRPr sz="2000">
                <a:solidFill>
                  <a:schemeClr val="tx1"/>
                </a:solidFill>
              </a:defRPr>
            </a:lvl1pPr>
            <a:lvl2pPr>
              <a:spcBef>
                <a:spcPts val="0"/>
              </a:spcBef>
              <a:buNone/>
              <a:defRPr>
                <a:solidFill>
                  <a:schemeClr val="bg1"/>
                </a:solidFill>
              </a:defRPr>
            </a:lvl2pPr>
            <a:lvl3pPr>
              <a:spcBef>
                <a:spcPts val="0"/>
              </a:spcBef>
              <a:buNone/>
              <a:defRPr>
                <a:solidFill>
                  <a:schemeClr val="bg1"/>
                </a:solidFill>
              </a:defRPr>
            </a:lvl3pPr>
            <a:lvl4pPr>
              <a:spcBef>
                <a:spcPts val="0"/>
              </a:spcBef>
              <a:buNone/>
              <a:defRPr>
                <a:solidFill>
                  <a:schemeClr val="bg1"/>
                </a:solidFill>
              </a:defRPr>
            </a:lvl4pPr>
            <a:lvl5pPr>
              <a:spcBef>
                <a:spcPts val="0"/>
              </a:spcBef>
              <a:buNone/>
              <a:defRPr>
                <a:solidFill>
                  <a:schemeClr val="bg1"/>
                </a:solidFill>
              </a:defRPr>
            </a:lvl5pPr>
          </a:lstStyle>
          <a:p>
            <a:pPr lvl="0"/>
            <a:r>
              <a:rPr lang="en-US"/>
              <a:t>Click to edit Master text styles</a:t>
            </a:r>
          </a:p>
        </p:txBody>
      </p:sp>
      <p:sp>
        <p:nvSpPr>
          <p:cNvPr id="11" name="Text Placeholder 9">
            <a:extLst>
              <a:ext uri="{FF2B5EF4-FFF2-40B4-BE49-F238E27FC236}">
                <a16:creationId xmlns:a16="http://schemas.microsoft.com/office/drawing/2014/main" id="{7D8EAB3F-9B60-441C-91CB-5172199F4228}"/>
              </a:ext>
            </a:extLst>
          </p:cNvPr>
          <p:cNvSpPr>
            <a:spLocks noGrp="1"/>
          </p:cNvSpPr>
          <p:nvPr>
            <p:ph type="body" sz="quarter" idx="14" hasCustomPrompt="1"/>
          </p:nvPr>
        </p:nvSpPr>
        <p:spPr>
          <a:xfrm>
            <a:off x="552000" y="1863725"/>
            <a:ext cx="937073" cy="1028701"/>
          </a:xfrm>
        </p:spPr>
        <p:txBody>
          <a:bodyPr>
            <a:normAutofit/>
          </a:bodyPr>
          <a:lstStyle>
            <a:lvl1pPr marL="0" indent="0">
              <a:spcBef>
                <a:spcPts val="0"/>
              </a:spcBef>
              <a:buNone/>
              <a:defRPr sz="3000" b="1">
                <a:solidFill>
                  <a:schemeClr val="tx1"/>
                </a:solidFill>
              </a:defRPr>
            </a:lvl1pPr>
            <a:lvl2pPr>
              <a:spcBef>
                <a:spcPts val="0"/>
              </a:spcBef>
              <a:buNone/>
              <a:defRPr>
                <a:solidFill>
                  <a:schemeClr val="bg1"/>
                </a:solidFill>
              </a:defRPr>
            </a:lvl2pPr>
            <a:lvl3pPr>
              <a:spcBef>
                <a:spcPts val="0"/>
              </a:spcBef>
              <a:buNone/>
              <a:defRPr>
                <a:solidFill>
                  <a:schemeClr val="bg1"/>
                </a:solidFill>
              </a:defRPr>
            </a:lvl3pPr>
            <a:lvl4pPr>
              <a:spcBef>
                <a:spcPts val="0"/>
              </a:spcBef>
              <a:buNone/>
              <a:defRPr>
                <a:solidFill>
                  <a:schemeClr val="bg1"/>
                </a:solidFill>
              </a:defRPr>
            </a:lvl4pPr>
            <a:lvl5pPr>
              <a:spcBef>
                <a:spcPts val="0"/>
              </a:spcBef>
              <a:buNone/>
              <a:defRPr>
                <a:solidFill>
                  <a:schemeClr val="bg1"/>
                </a:solidFill>
              </a:defRPr>
            </a:lvl5pPr>
          </a:lstStyle>
          <a:p>
            <a:pPr lvl="0"/>
            <a:r>
              <a:rPr lang="en-US"/>
              <a:t>#</a:t>
            </a:r>
          </a:p>
        </p:txBody>
      </p:sp>
    </p:spTree>
    <p:extLst>
      <p:ext uri="{BB962C8B-B14F-4D97-AF65-F5344CB8AC3E}">
        <p14:creationId xmlns:p14="http://schemas.microsoft.com/office/powerpoint/2010/main" val="3029622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pening quote or statem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00400" y="2289336"/>
            <a:ext cx="8548688" cy="3690465"/>
          </a:xfrm>
        </p:spPr>
        <p:txBody>
          <a:bodyPr/>
          <a:lstStyle>
            <a:lvl1pPr>
              <a:defRPr sz="3000"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254DD8A2-7386-4299-81AA-D5F2734F4B20}" type="datetime1">
              <a:rPr lang="en-GB" smtClean="0"/>
              <a:t>21/10/2024</a:t>
            </a:fld>
            <a:endParaRPr lang="en-GB"/>
          </a:p>
        </p:txBody>
      </p:sp>
      <p:sp>
        <p:nvSpPr>
          <p:cNvPr id="5" name="Footer Placeholder 4"/>
          <p:cNvSpPr>
            <a:spLocks noGrp="1"/>
          </p:cNvSpPr>
          <p:nvPr>
            <p:ph type="ftr" sz="quarter" idx="11"/>
          </p:nvPr>
        </p:nvSpPr>
        <p:spPr/>
        <p:txBody>
          <a:bodyPr/>
          <a:lstStyle/>
          <a:p>
            <a:r>
              <a:rPr lang="en-GB"/>
              <a:t>Presentation title</a:t>
            </a:r>
          </a:p>
        </p:txBody>
      </p:sp>
      <p:sp>
        <p:nvSpPr>
          <p:cNvPr id="6" name="Slide Number Placeholder 5"/>
          <p:cNvSpPr>
            <a:spLocks noGrp="1"/>
          </p:cNvSpPr>
          <p:nvPr>
            <p:ph type="sldNum" sz="quarter" idx="12"/>
          </p:nvPr>
        </p:nvSpPr>
        <p:spPr/>
        <p:txBody>
          <a:bodyPr/>
          <a:lstStyle/>
          <a:p>
            <a:fld id="{8470F1AB-319E-48AE-9489-D88EBE16142A}" type="slidenum">
              <a:rPr lang="en-GB" smtClean="0"/>
              <a:t>‹#›</a:t>
            </a:fld>
            <a:endParaRPr lang="en-GB"/>
          </a:p>
        </p:txBody>
      </p:sp>
    </p:spTree>
    <p:extLst>
      <p:ext uri="{BB962C8B-B14F-4D97-AF65-F5344CB8AC3E}">
        <p14:creationId xmlns:p14="http://schemas.microsoft.com/office/powerpoint/2010/main" val="4022789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21045DB-082C-43D5-9301-6D430F6FEA9C}" type="datetime1">
              <a:rPr lang="en-GB" smtClean="0"/>
              <a:t>21/10/2024</a:t>
            </a:fld>
            <a:endParaRPr lang="en-GB"/>
          </a:p>
        </p:txBody>
      </p:sp>
      <p:sp>
        <p:nvSpPr>
          <p:cNvPr id="5" name="Footer Placeholder 4"/>
          <p:cNvSpPr>
            <a:spLocks noGrp="1"/>
          </p:cNvSpPr>
          <p:nvPr>
            <p:ph type="ftr" sz="quarter" idx="11"/>
          </p:nvPr>
        </p:nvSpPr>
        <p:spPr/>
        <p:txBody>
          <a:bodyPr/>
          <a:lstStyle/>
          <a:p>
            <a:r>
              <a:rPr lang="en-GB"/>
              <a:t>Presentation title</a:t>
            </a:r>
          </a:p>
        </p:txBody>
      </p:sp>
      <p:sp>
        <p:nvSpPr>
          <p:cNvPr id="6" name="Slide Number Placeholder 5"/>
          <p:cNvSpPr>
            <a:spLocks noGrp="1"/>
          </p:cNvSpPr>
          <p:nvPr>
            <p:ph type="sldNum" sz="quarter" idx="12"/>
          </p:nvPr>
        </p:nvSpPr>
        <p:spPr/>
        <p:txBody>
          <a:bodyPr/>
          <a:lstStyle/>
          <a:p>
            <a:fld id="{8470F1AB-319E-48AE-9489-D88EBE16142A}" type="slidenum">
              <a:rPr lang="en-GB" smtClean="0"/>
              <a:t>‹#›</a:t>
            </a:fld>
            <a:endParaRPr lang="en-GB"/>
          </a:p>
        </p:txBody>
      </p:sp>
    </p:spTree>
    <p:extLst>
      <p:ext uri="{BB962C8B-B14F-4D97-AF65-F5344CB8AC3E}">
        <p14:creationId xmlns:p14="http://schemas.microsoft.com/office/powerpoint/2010/main" val="41407912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heme" Target="../theme/theme2.xml"/><Relationship Id="rId7" Type="http://schemas.openxmlformats.org/officeDocument/2006/relationships/image" Target="../media/image17.pn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8.png"/><Relationship Id="rId2" Type="http://schemas.openxmlformats.org/officeDocument/2006/relationships/theme" Target="../theme/theme3.xml"/><Relationship Id="rId1" Type="http://schemas.openxmlformats.org/officeDocument/2006/relationships/slideLayout" Target="../slideLayouts/slideLayout38.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slideLayout" Target="../slideLayouts/slideLayout77.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tags" Target="../tags/tag3.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45" Type="http://schemas.openxmlformats.org/officeDocument/2006/relationships/image" Target="../media/image19.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4" Type="http://schemas.openxmlformats.org/officeDocument/2006/relationships/oleObject" Target="../embeddings/oleObject3.bin"/><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tags" Target="../tags/tag4.xml"/><Relationship Id="rId8" Type="http://schemas.openxmlformats.org/officeDocument/2006/relationships/slideLayout" Target="../slideLayouts/slideLayout46.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image" Target="../media/image20.jpeg"/><Relationship Id="rId20" Type="http://schemas.openxmlformats.org/officeDocument/2006/relationships/slideLayout" Target="../slideLayouts/slideLayout58.xml"/><Relationship Id="rId41"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2913" y="891539"/>
            <a:ext cx="11306175" cy="1237932"/>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42913" y="2320289"/>
            <a:ext cx="11306175" cy="369046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724400" y="6254593"/>
            <a:ext cx="2743200" cy="365125"/>
          </a:xfrm>
          <a:prstGeom prst="rect">
            <a:avLst/>
          </a:prstGeom>
        </p:spPr>
        <p:txBody>
          <a:bodyPr vert="horz" lIns="0" tIns="0" rIns="0" bIns="0" rtlCol="0" anchor="t" anchorCtr="0">
            <a:noAutofit/>
          </a:bodyPr>
          <a:lstStyle>
            <a:lvl1pPr algn="ctr">
              <a:defRPr sz="1250">
                <a:solidFill>
                  <a:schemeClr val="tx1">
                    <a:tint val="75000"/>
                  </a:schemeClr>
                </a:solidFill>
              </a:defRPr>
            </a:lvl1pPr>
          </a:lstStyle>
          <a:p>
            <a:fld id="{F0E11FB7-C87E-4AC4-8BBD-176C1694A54D}" type="datetime1">
              <a:rPr lang="en-GB" smtClean="0"/>
              <a:t>21/10/2024</a:t>
            </a:fld>
            <a:endParaRPr lang="en-GB"/>
          </a:p>
        </p:txBody>
      </p:sp>
      <p:sp>
        <p:nvSpPr>
          <p:cNvPr id="5" name="Footer Placeholder 4"/>
          <p:cNvSpPr>
            <a:spLocks noGrp="1"/>
          </p:cNvSpPr>
          <p:nvPr>
            <p:ph type="ftr" sz="quarter" idx="3"/>
          </p:nvPr>
        </p:nvSpPr>
        <p:spPr>
          <a:xfrm>
            <a:off x="442912" y="359726"/>
            <a:ext cx="11306175" cy="365125"/>
          </a:xfrm>
          <a:prstGeom prst="rect">
            <a:avLst/>
          </a:prstGeom>
        </p:spPr>
        <p:txBody>
          <a:bodyPr vert="horz" lIns="0" tIns="0" rIns="0" bIns="0" rtlCol="0" anchor="ctr">
            <a:noAutofit/>
          </a:bodyPr>
          <a:lstStyle>
            <a:lvl1pPr algn="l">
              <a:defRPr sz="1600">
                <a:solidFill>
                  <a:schemeClr val="tx2"/>
                </a:solidFill>
              </a:defRPr>
            </a:lvl1pPr>
          </a:lstStyle>
          <a:p>
            <a:r>
              <a:rPr lang="en-GB"/>
              <a:t>Presentation title</a:t>
            </a:r>
          </a:p>
        </p:txBody>
      </p:sp>
      <p:sp>
        <p:nvSpPr>
          <p:cNvPr id="6" name="Slide Number Placeholder 5"/>
          <p:cNvSpPr>
            <a:spLocks noGrp="1"/>
          </p:cNvSpPr>
          <p:nvPr>
            <p:ph type="sldNum" sz="quarter" idx="4"/>
          </p:nvPr>
        </p:nvSpPr>
        <p:spPr>
          <a:xfrm>
            <a:off x="836930" y="6258561"/>
            <a:ext cx="476250" cy="181293"/>
          </a:xfrm>
          <a:prstGeom prst="rect">
            <a:avLst/>
          </a:prstGeom>
        </p:spPr>
        <p:txBody>
          <a:bodyPr vert="horz" lIns="0" tIns="0" rIns="0" bIns="0" rtlCol="0" anchor="t" anchorCtr="0">
            <a:noAutofit/>
          </a:bodyPr>
          <a:lstStyle>
            <a:lvl1pPr algn="l">
              <a:defRPr sz="1250">
                <a:solidFill>
                  <a:schemeClr val="tx2"/>
                </a:solidFill>
              </a:defRPr>
            </a:lvl1pPr>
          </a:lstStyle>
          <a:p>
            <a:fld id="{8470F1AB-319E-48AE-9489-D88EBE16142A}" type="slidenum">
              <a:rPr lang="en-GB" smtClean="0"/>
              <a:pPr/>
              <a:t>‹#›</a:t>
            </a:fld>
            <a:endParaRPr lang="en-GB"/>
          </a:p>
        </p:txBody>
      </p:sp>
      <p:sp>
        <p:nvSpPr>
          <p:cNvPr id="8" name="TextBox 7"/>
          <p:cNvSpPr txBox="1"/>
          <p:nvPr userDrawn="1"/>
        </p:nvSpPr>
        <p:spPr>
          <a:xfrm>
            <a:off x="9795510" y="6249036"/>
            <a:ext cx="1953578" cy="207749"/>
          </a:xfrm>
          <a:prstGeom prst="rect">
            <a:avLst/>
          </a:prstGeom>
          <a:noFill/>
        </p:spPr>
        <p:txBody>
          <a:bodyPr wrap="square" lIns="0" tIns="0" rIns="0" bIns="0" rtlCol="0">
            <a:noAutofit/>
          </a:bodyPr>
          <a:lstStyle/>
          <a:p>
            <a:pPr algn="r"/>
            <a:r>
              <a:rPr lang="en-GB" sz="1350">
                <a:solidFill>
                  <a:schemeClr val="tx2"/>
                </a:solidFill>
              </a:rPr>
              <a:t>www.upfield.com</a:t>
            </a:r>
          </a:p>
        </p:txBody>
      </p:sp>
      <p:sp>
        <p:nvSpPr>
          <p:cNvPr id="9" name="TextBox 8"/>
          <p:cNvSpPr txBox="1"/>
          <p:nvPr userDrawn="1"/>
        </p:nvSpPr>
        <p:spPr>
          <a:xfrm>
            <a:off x="442912" y="6258561"/>
            <a:ext cx="474663" cy="180000"/>
          </a:xfrm>
          <a:prstGeom prst="rect">
            <a:avLst/>
          </a:prstGeom>
          <a:noFill/>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50">
                <a:solidFill>
                  <a:schemeClr val="tx2"/>
                </a:solidFill>
              </a:rPr>
              <a:t>Slide  </a:t>
            </a:r>
          </a:p>
        </p:txBody>
      </p:sp>
    </p:spTree>
    <p:extLst>
      <p:ext uri="{BB962C8B-B14F-4D97-AF65-F5344CB8AC3E}">
        <p14:creationId xmlns:p14="http://schemas.microsoft.com/office/powerpoint/2010/main" val="480132290"/>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30" r:id="rId35"/>
  </p:sldLayoutIdLst>
  <p:hf hdr="0" ftr="0" dt="0"/>
  <p:txStyles>
    <p:titleStyle>
      <a:lvl1pPr algn="l" defTabSz="914400" rtl="0" eaLnBrk="1" latinLnBrk="0" hangingPunct="1">
        <a:lnSpc>
          <a:spcPct val="100000"/>
        </a:lnSpc>
        <a:spcBef>
          <a:spcPct val="0"/>
        </a:spcBef>
        <a:buNone/>
        <a:defRPr sz="3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100" b="1"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2100" kern="1200">
          <a:solidFill>
            <a:schemeClr val="tx1"/>
          </a:solidFill>
          <a:latin typeface="+mn-lt"/>
          <a:ea typeface="+mn-ea"/>
          <a:cs typeface="+mn-cs"/>
        </a:defRPr>
      </a:lvl2pPr>
      <a:lvl3pPr marL="182563" indent="-182563" algn="l" defTabSz="914400" rtl="0" eaLnBrk="1" latinLnBrk="0" hangingPunct="1">
        <a:lnSpc>
          <a:spcPct val="100000"/>
        </a:lnSpc>
        <a:spcBef>
          <a:spcPts val="0"/>
        </a:spcBef>
        <a:buFont typeface="Arial" panose="020B0604020202020204" pitchFamily="34" charset="0"/>
        <a:buChar char="•"/>
        <a:defRPr sz="2100" kern="1200">
          <a:solidFill>
            <a:schemeClr val="tx1"/>
          </a:solidFill>
          <a:latin typeface="+mn-lt"/>
          <a:ea typeface="+mn-ea"/>
          <a:cs typeface="+mn-cs"/>
        </a:defRPr>
      </a:lvl3pPr>
      <a:lvl4pPr marL="446088" indent="-263525"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28650" indent="-182563"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79">
          <p15:clr>
            <a:srgbClr val="F26B43"/>
          </p15:clr>
        </p15:guide>
        <p15:guide id="4" pos="7401">
          <p15:clr>
            <a:srgbClr val="F26B43"/>
          </p15:clr>
        </p15:guide>
        <p15:guide id="5" pos="2009">
          <p15:clr>
            <a:srgbClr val="F26B43"/>
          </p15:clr>
        </p15:guide>
        <p15:guide id="6" pos="200">
          <p15:clr>
            <a:srgbClr val="F26B43"/>
          </p15:clr>
        </p15:guide>
        <p15:guide id="7" pos="7479">
          <p15:clr>
            <a:srgbClr val="F26B43"/>
          </p15:clr>
        </p15:guide>
        <p15:guide id="8" orient="horz" pos="200">
          <p15:clr>
            <a:srgbClr val="F26B43"/>
          </p15:clr>
        </p15:guide>
        <p15:guide id="9" orient="horz" pos="4119">
          <p15:clr>
            <a:srgbClr val="F26B43"/>
          </p15:clr>
        </p15:guide>
        <p15:guide id="10" orient="horz" pos="525">
          <p15:clr>
            <a:srgbClr val="F26B43"/>
          </p15:clr>
        </p15:guide>
        <p15:guide id="11" orient="horz" pos="1461">
          <p15:clr>
            <a:srgbClr val="F26B43"/>
          </p15:clr>
        </p15:guide>
        <p15:guide id="12" orient="horz" pos="3788">
          <p15:clr>
            <a:srgbClr val="F26B43"/>
          </p15:clr>
        </p15:guide>
        <p15:guide id="13" orient="horz" pos="403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574431" y="304571"/>
            <a:ext cx="10779370" cy="565381"/>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574432" y="1233175"/>
            <a:ext cx="10779370" cy="49096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grpSp>
        <p:nvGrpSpPr>
          <p:cNvPr id="24" name="Group 23"/>
          <p:cNvGrpSpPr/>
          <p:nvPr userDrawn="1"/>
        </p:nvGrpSpPr>
        <p:grpSpPr>
          <a:xfrm>
            <a:off x="-1085177" y="1"/>
            <a:ext cx="979370" cy="1687609"/>
            <a:chOff x="3231811" y="4139230"/>
            <a:chExt cx="1619396" cy="1687609"/>
          </a:xfrm>
        </p:grpSpPr>
        <p:sp>
          <p:nvSpPr>
            <p:cNvPr id="25" name="Rectangle 24"/>
            <p:cNvSpPr/>
            <p:nvPr userDrawn="1"/>
          </p:nvSpPr>
          <p:spPr>
            <a:xfrm>
              <a:off x="3231811" y="4139230"/>
              <a:ext cx="488611" cy="300147"/>
            </a:xfrm>
            <a:prstGeom prst="rect">
              <a:avLst/>
            </a:prstGeom>
            <a:solidFill>
              <a:srgbClr val="B2D7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26" name="Rectangle 25"/>
            <p:cNvSpPr/>
            <p:nvPr userDrawn="1"/>
          </p:nvSpPr>
          <p:spPr>
            <a:xfrm>
              <a:off x="4362596" y="4139230"/>
              <a:ext cx="488611" cy="300147"/>
            </a:xfrm>
            <a:prstGeom prst="rect">
              <a:avLst/>
            </a:prstGeom>
            <a:solidFill>
              <a:srgbClr val="389FD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27" name="Rectangle 26"/>
            <p:cNvSpPr/>
            <p:nvPr userDrawn="1"/>
          </p:nvSpPr>
          <p:spPr>
            <a:xfrm>
              <a:off x="3524978" y="4139230"/>
              <a:ext cx="1033063" cy="300147"/>
            </a:xfrm>
            <a:prstGeom prst="rect">
              <a:avLst/>
            </a:prstGeom>
            <a:solidFill>
              <a:srgbClr val="7FC1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28" name="Rectangle 27"/>
            <p:cNvSpPr/>
            <p:nvPr userDrawn="1"/>
          </p:nvSpPr>
          <p:spPr>
            <a:xfrm>
              <a:off x="3231811" y="4481729"/>
              <a:ext cx="488611" cy="300147"/>
            </a:xfrm>
            <a:prstGeom prst="rect">
              <a:avLst/>
            </a:prstGeom>
            <a:solidFill>
              <a:srgbClr val="CADE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29" name="Rectangle 28"/>
            <p:cNvSpPr/>
            <p:nvPr userDrawn="1"/>
          </p:nvSpPr>
          <p:spPr>
            <a:xfrm>
              <a:off x="4362596" y="4481729"/>
              <a:ext cx="488611" cy="300147"/>
            </a:xfrm>
            <a:prstGeom prst="rect">
              <a:avLst/>
            </a:prstGeom>
            <a:solidFill>
              <a:srgbClr val="73B12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0" name="Rectangle 29"/>
            <p:cNvSpPr/>
            <p:nvPr userDrawn="1"/>
          </p:nvSpPr>
          <p:spPr>
            <a:xfrm>
              <a:off x="3524978" y="4481729"/>
              <a:ext cx="1033063" cy="300147"/>
            </a:xfrm>
            <a:prstGeom prst="rect">
              <a:avLst/>
            </a:prstGeom>
            <a:solidFill>
              <a:srgbClr val="B7D0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1" name="Rectangle 30"/>
            <p:cNvSpPr/>
            <p:nvPr userDrawn="1"/>
          </p:nvSpPr>
          <p:spPr>
            <a:xfrm>
              <a:off x="3231811" y="4830050"/>
              <a:ext cx="488611" cy="300147"/>
            </a:xfrm>
            <a:prstGeom prst="rect">
              <a:avLst/>
            </a:prstGeom>
            <a:solidFill>
              <a:srgbClr val="FFE2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2" name="Rectangle 31"/>
            <p:cNvSpPr/>
            <p:nvPr userDrawn="1"/>
          </p:nvSpPr>
          <p:spPr>
            <a:xfrm>
              <a:off x="4362596" y="4830050"/>
              <a:ext cx="488611" cy="300147"/>
            </a:xfrm>
            <a:prstGeom prst="rect">
              <a:avLst/>
            </a:prstGeom>
            <a:solidFill>
              <a:srgbClr val="F5B00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3" name="Rectangle 32"/>
            <p:cNvSpPr/>
            <p:nvPr userDrawn="1"/>
          </p:nvSpPr>
          <p:spPr>
            <a:xfrm>
              <a:off x="3524978" y="4830050"/>
              <a:ext cx="1033063" cy="300147"/>
            </a:xfrm>
            <a:prstGeom prst="rect">
              <a:avLst/>
            </a:prstGeom>
            <a:solidFill>
              <a:srgbClr val="FFD02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4" name="Rectangle 33"/>
            <p:cNvSpPr/>
            <p:nvPr userDrawn="1"/>
          </p:nvSpPr>
          <p:spPr>
            <a:xfrm>
              <a:off x="3231811" y="5178371"/>
              <a:ext cx="488611" cy="300147"/>
            </a:xfrm>
            <a:prstGeom prst="rect">
              <a:avLst/>
            </a:prstGeom>
            <a:solidFill>
              <a:srgbClr val="ECBAD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5" name="Rectangle 34"/>
            <p:cNvSpPr/>
            <p:nvPr userDrawn="1"/>
          </p:nvSpPr>
          <p:spPr>
            <a:xfrm>
              <a:off x="4362596" y="5178371"/>
              <a:ext cx="488611" cy="300147"/>
            </a:xfrm>
            <a:prstGeom prst="rect">
              <a:avLst/>
            </a:prstGeom>
            <a:solidFill>
              <a:srgbClr val="D587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6" name="Rectangle 35"/>
            <p:cNvSpPr/>
            <p:nvPr userDrawn="1"/>
          </p:nvSpPr>
          <p:spPr>
            <a:xfrm>
              <a:off x="3524978" y="5178371"/>
              <a:ext cx="1033063" cy="300147"/>
            </a:xfrm>
            <a:prstGeom prst="rect">
              <a:avLst/>
            </a:prstGeom>
            <a:solidFill>
              <a:srgbClr val="E4A4D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7" name="Rectangle 36"/>
            <p:cNvSpPr/>
            <p:nvPr userDrawn="1"/>
          </p:nvSpPr>
          <p:spPr>
            <a:xfrm>
              <a:off x="3231811" y="5526692"/>
              <a:ext cx="488611" cy="300147"/>
            </a:xfrm>
            <a:prstGeom prst="rect">
              <a:avLst/>
            </a:prstGeom>
            <a:solidFill>
              <a:srgbClr val="E0A9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8" name="Rectangle 37"/>
            <p:cNvSpPr/>
            <p:nvPr userDrawn="1"/>
          </p:nvSpPr>
          <p:spPr>
            <a:xfrm>
              <a:off x="4362596" y="5526692"/>
              <a:ext cx="488611" cy="300147"/>
            </a:xfrm>
            <a:prstGeom prst="rect">
              <a:avLst/>
            </a:prstGeom>
            <a:solidFill>
              <a:srgbClr val="8E5A0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9" name="Rectangle 38"/>
            <p:cNvSpPr/>
            <p:nvPr userDrawn="1"/>
          </p:nvSpPr>
          <p:spPr>
            <a:xfrm>
              <a:off x="3524978" y="5526692"/>
              <a:ext cx="1033063" cy="300147"/>
            </a:xfrm>
            <a:prstGeom prst="rect">
              <a:avLst/>
            </a:prstGeom>
            <a:solidFill>
              <a:srgbClr val="BC891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grpSp>
      <p:sp>
        <p:nvSpPr>
          <p:cNvPr id="40" name="Rectangle 39"/>
          <p:cNvSpPr/>
          <p:nvPr userDrawn="1"/>
        </p:nvSpPr>
        <p:spPr>
          <a:xfrm>
            <a:off x="-1085177" y="1767510"/>
            <a:ext cx="979370" cy="134937"/>
          </a:xfrm>
          <a:prstGeom prst="rect">
            <a:avLst/>
          </a:prstGeom>
          <a:solidFill>
            <a:srgbClr val="683C1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GB" sz="1801">
              <a:solidFill>
                <a:srgbClr val="FFFFFF"/>
              </a:solidFill>
            </a:endParaRPr>
          </a:p>
        </p:txBody>
      </p:sp>
      <p:pic>
        <p:nvPicPr>
          <p:cNvPr id="22" name="Picture 2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6517234"/>
            <a:ext cx="12192000" cy="340766"/>
          </a:xfrm>
          <a:prstGeom prst="rect">
            <a:avLst/>
          </a:prstGeom>
        </p:spPr>
      </p:pic>
      <p:sp>
        <p:nvSpPr>
          <p:cNvPr id="23" name="Content Placeholder 2"/>
          <p:cNvSpPr txBox="1">
            <a:spLocks/>
          </p:cNvSpPr>
          <p:nvPr userDrawn="1"/>
        </p:nvSpPr>
        <p:spPr>
          <a:xfrm>
            <a:off x="11483607" y="6286084"/>
            <a:ext cx="708393" cy="301147"/>
          </a:xfrm>
          <a:prstGeom prst="rect">
            <a:avLst/>
          </a:prstGeom>
        </p:spPr>
        <p:txBody>
          <a:bodyPr/>
          <a:lstStyle>
            <a:lvl1pPr marL="228600" indent="-228600" algn="r" defTabSz="914400" rtl="0" eaLnBrk="1" latinLnBrk="0" hangingPunct="1">
              <a:lnSpc>
                <a:spcPts val="1600"/>
              </a:lnSpc>
              <a:spcBef>
                <a:spcPts val="1000"/>
              </a:spcBef>
              <a:buFontTx/>
              <a:buBlip>
                <a:blip r:embed="rId8"/>
              </a:buBlip>
              <a:defRPr sz="1100" kern="1200">
                <a:solidFill>
                  <a:schemeClr val="bg2">
                    <a:lumMod val="50000"/>
                  </a:schemeClr>
                </a:solidFill>
                <a:latin typeface="+mn-lt"/>
                <a:ea typeface="Trebuchet MS" charset="0"/>
                <a:cs typeface="Trebuchet MS" charset="0"/>
              </a:defRPr>
            </a:lvl1pPr>
            <a:lvl2pPr marL="685800" indent="-228600" algn="l" defTabSz="914400" rtl="0" eaLnBrk="1" latinLnBrk="0" hangingPunct="1">
              <a:lnSpc>
                <a:spcPts val="1600"/>
              </a:lnSpc>
              <a:spcBef>
                <a:spcPts val="500"/>
              </a:spcBef>
              <a:buFont typeface="Symbol" panose="05050102010706020507" pitchFamily="18" charset="2"/>
              <a:buChar char="-"/>
              <a:defRPr sz="1400" kern="1200">
                <a:solidFill>
                  <a:schemeClr val="bg2">
                    <a:lumMod val="50000"/>
                  </a:schemeClr>
                </a:solidFill>
                <a:latin typeface="Trebuchet MS" charset="0"/>
                <a:ea typeface="Trebuchet MS" charset="0"/>
                <a:cs typeface="Trebuchet MS" charset="0"/>
              </a:defRPr>
            </a:lvl2pPr>
            <a:lvl3pPr marL="1143000" indent="-228600" algn="l" defTabSz="914400" rtl="0" eaLnBrk="1" latinLnBrk="0" hangingPunct="1">
              <a:lnSpc>
                <a:spcPts val="1600"/>
              </a:lnSpc>
              <a:spcBef>
                <a:spcPts val="500"/>
              </a:spcBef>
              <a:buFont typeface="Symbol" panose="05050102010706020507" pitchFamily="18" charset="2"/>
              <a:buChar char="-"/>
              <a:defRPr sz="1200" kern="1200">
                <a:solidFill>
                  <a:schemeClr val="bg2">
                    <a:lumMod val="50000"/>
                  </a:schemeClr>
                </a:solidFill>
                <a:latin typeface="Trebuchet MS" charset="0"/>
                <a:ea typeface="Trebuchet MS" charset="0"/>
                <a:cs typeface="Trebuchet MS" charset="0"/>
              </a:defRPr>
            </a:lvl3pPr>
            <a:lvl4pPr marL="1600200" indent="-228600" algn="l" defTabSz="914400" rtl="0" eaLnBrk="1" latinLnBrk="0" hangingPunct="1">
              <a:lnSpc>
                <a:spcPct val="90000"/>
              </a:lnSpc>
              <a:spcBef>
                <a:spcPts val="500"/>
              </a:spcBef>
              <a:buFontTx/>
              <a:buBlip>
                <a:blip r:embed="rId8"/>
              </a:buBlip>
              <a:defRPr sz="1400" kern="1200">
                <a:solidFill>
                  <a:srgbClr val="582F18"/>
                </a:solidFill>
                <a:latin typeface="Trebuchet MS" charset="0"/>
                <a:ea typeface="Trebuchet MS" charset="0"/>
                <a:cs typeface="Trebuchet MS" charset="0"/>
              </a:defRPr>
            </a:lvl4pPr>
            <a:lvl5pPr marL="2057400" indent="-228600" algn="l" defTabSz="914400" rtl="0" eaLnBrk="1" latinLnBrk="0" hangingPunct="1">
              <a:lnSpc>
                <a:spcPct val="90000"/>
              </a:lnSpc>
              <a:spcBef>
                <a:spcPts val="500"/>
              </a:spcBef>
              <a:buFontTx/>
              <a:buBlip>
                <a:blip r:embed="rId8"/>
              </a:buBlip>
              <a:defRPr sz="1200" kern="1200">
                <a:solidFill>
                  <a:srgbClr val="582F18"/>
                </a:solidFill>
                <a:latin typeface="Trebuchet MS" charset="0"/>
                <a:ea typeface="Trebuchet MS" charset="0"/>
                <a:cs typeface="Trebuchet M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910F6237-2B81-4EB0-ACA0-427E086587DA}" type="slidenum">
              <a:rPr lang="en-GB" sz="1100" smtClean="0"/>
              <a:pPr/>
              <a:t>‹#›</a:t>
            </a:fld>
            <a:endParaRPr lang="en-GB" sz="1100"/>
          </a:p>
        </p:txBody>
      </p:sp>
    </p:spTree>
    <p:extLst>
      <p:ext uri="{BB962C8B-B14F-4D97-AF65-F5344CB8AC3E}">
        <p14:creationId xmlns:p14="http://schemas.microsoft.com/office/powerpoint/2010/main" val="255494591"/>
      </p:ext>
    </p:extLst>
  </p:cSld>
  <p:clrMap bg1="lt1" tx1="dk1" bg2="lt2" tx2="dk2" accent1="accent1" accent2="accent2" accent3="accent3" accent4="accent4" accent5="accent5" accent6="accent6" hlink="hlink" folHlink="folHlink"/>
  <p:sldLayoutIdLst>
    <p:sldLayoutId id="2147483717" r:id="rId1"/>
    <p:sldLayoutId id="2147483718" r:id="rId2"/>
  </p:sldLayoutIdLst>
  <p:hf hdr="0" ftr="0" dt="0"/>
  <p:txStyles>
    <p:titleStyle>
      <a:lvl1pPr algn="l" defTabSz="914400" rtl="0" eaLnBrk="1" latinLnBrk="0" hangingPunct="1">
        <a:lnSpc>
          <a:spcPct val="90000"/>
        </a:lnSpc>
        <a:spcBef>
          <a:spcPct val="0"/>
        </a:spcBef>
        <a:buNone/>
        <a:defRPr sz="2600" b="1" kern="1200">
          <a:solidFill>
            <a:schemeClr val="tx1"/>
          </a:solidFill>
          <a:latin typeface="Trebuchet MS" charset="0"/>
          <a:ea typeface="Trebuchet MS" charset="0"/>
          <a:cs typeface="Trebuchet MS" charset="0"/>
        </a:defRPr>
      </a:lvl1pPr>
    </p:titleStyle>
    <p:bodyStyle>
      <a:lvl1pPr marL="228600" indent="-228600" algn="l" defTabSz="914400" rtl="0" eaLnBrk="1" latinLnBrk="0" hangingPunct="1">
        <a:lnSpc>
          <a:spcPts val="1600"/>
        </a:lnSpc>
        <a:spcBef>
          <a:spcPts val="1000"/>
        </a:spcBef>
        <a:buFontTx/>
        <a:buBlip>
          <a:blip r:embed="rId8"/>
        </a:buBlip>
        <a:defRPr sz="1600" kern="1200">
          <a:solidFill>
            <a:schemeClr val="bg2">
              <a:lumMod val="50000"/>
            </a:schemeClr>
          </a:solidFill>
          <a:latin typeface="Trebuchet MS" charset="0"/>
          <a:ea typeface="Trebuchet MS" charset="0"/>
          <a:cs typeface="Trebuchet MS" charset="0"/>
        </a:defRPr>
      </a:lvl1pPr>
      <a:lvl2pPr marL="685800" indent="-228600" algn="l" defTabSz="914400" rtl="0" eaLnBrk="1" latinLnBrk="0" hangingPunct="1">
        <a:lnSpc>
          <a:spcPts val="1600"/>
        </a:lnSpc>
        <a:spcBef>
          <a:spcPts val="500"/>
        </a:spcBef>
        <a:buFont typeface="Symbol" panose="05050102010706020507" pitchFamily="18" charset="2"/>
        <a:buChar char="-"/>
        <a:defRPr sz="1400" kern="1200">
          <a:solidFill>
            <a:schemeClr val="bg2">
              <a:lumMod val="50000"/>
            </a:schemeClr>
          </a:solidFill>
          <a:latin typeface="Trebuchet MS" charset="0"/>
          <a:ea typeface="Trebuchet MS" charset="0"/>
          <a:cs typeface="Trebuchet MS" charset="0"/>
        </a:defRPr>
      </a:lvl2pPr>
      <a:lvl3pPr marL="1143000" indent="-228600" algn="l" defTabSz="914400" rtl="0" eaLnBrk="1" latinLnBrk="0" hangingPunct="1">
        <a:lnSpc>
          <a:spcPts val="1600"/>
        </a:lnSpc>
        <a:spcBef>
          <a:spcPts val="500"/>
        </a:spcBef>
        <a:buFont typeface="Symbol" panose="05050102010706020507" pitchFamily="18" charset="2"/>
        <a:buChar char="-"/>
        <a:defRPr sz="1200" kern="1200">
          <a:solidFill>
            <a:schemeClr val="bg2">
              <a:lumMod val="50000"/>
            </a:schemeClr>
          </a:solidFill>
          <a:latin typeface="Trebuchet MS" charset="0"/>
          <a:ea typeface="Trebuchet MS" charset="0"/>
          <a:cs typeface="Trebuchet MS" charset="0"/>
        </a:defRPr>
      </a:lvl3pPr>
      <a:lvl4pPr marL="1600200" indent="-228600" algn="l" defTabSz="914400" rtl="0" eaLnBrk="1" latinLnBrk="0" hangingPunct="1">
        <a:lnSpc>
          <a:spcPct val="90000"/>
        </a:lnSpc>
        <a:spcBef>
          <a:spcPts val="500"/>
        </a:spcBef>
        <a:buFontTx/>
        <a:buBlip>
          <a:blip r:embed="rId8"/>
        </a:buBlip>
        <a:defRPr sz="1400" kern="1200">
          <a:solidFill>
            <a:srgbClr val="582F18"/>
          </a:solidFill>
          <a:latin typeface="Trebuchet MS" charset="0"/>
          <a:ea typeface="Trebuchet MS" charset="0"/>
          <a:cs typeface="Trebuchet MS" charset="0"/>
        </a:defRPr>
      </a:lvl4pPr>
      <a:lvl5pPr marL="2057400" indent="-228600" algn="l" defTabSz="914400" rtl="0" eaLnBrk="1" latinLnBrk="0" hangingPunct="1">
        <a:lnSpc>
          <a:spcPct val="90000"/>
        </a:lnSpc>
        <a:spcBef>
          <a:spcPts val="500"/>
        </a:spcBef>
        <a:buFontTx/>
        <a:buBlip>
          <a:blip r:embed="rId8"/>
        </a:buBlip>
        <a:defRPr sz="1200" kern="1200">
          <a:solidFill>
            <a:srgbClr val="582F18"/>
          </a:solidFill>
          <a:latin typeface="Trebuchet MS" charset="0"/>
          <a:ea typeface="Trebuchet MS" charset="0"/>
          <a:cs typeface="Trebuchet M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574431" y="304571"/>
            <a:ext cx="10779370" cy="565381"/>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574432" y="1233175"/>
            <a:ext cx="10779370" cy="49096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grpSp>
        <p:nvGrpSpPr>
          <p:cNvPr id="24" name="Group 23"/>
          <p:cNvGrpSpPr/>
          <p:nvPr userDrawn="1"/>
        </p:nvGrpSpPr>
        <p:grpSpPr>
          <a:xfrm>
            <a:off x="-1085177" y="1"/>
            <a:ext cx="979370" cy="1687609"/>
            <a:chOff x="3231811" y="4139230"/>
            <a:chExt cx="1619396" cy="1687609"/>
          </a:xfrm>
        </p:grpSpPr>
        <p:sp>
          <p:nvSpPr>
            <p:cNvPr id="25" name="Rectangle 24"/>
            <p:cNvSpPr/>
            <p:nvPr userDrawn="1"/>
          </p:nvSpPr>
          <p:spPr>
            <a:xfrm>
              <a:off x="3231811" y="4139230"/>
              <a:ext cx="488611" cy="300147"/>
            </a:xfrm>
            <a:prstGeom prst="rect">
              <a:avLst/>
            </a:prstGeom>
            <a:solidFill>
              <a:srgbClr val="B2D7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26" name="Rectangle 25"/>
            <p:cNvSpPr/>
            <p:nvPr userDrawn="1"/>
          </p:nvSpPr>
          <p:spPr>
            <a:xfrm>
              <a:off x="4362596" y="4139230"/>
              <a:ext cx="488611" cy="300147"/>
            </a:xfrm>
            <a:prstGeom prst="rect">
              <a:avLst/>
            </a:prstGeom>
            <a:solidFill>
              <a:srgbClr val="389FD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27" name="Rectangle 26"/>
            <p:cNvSpPr/>
            <p:nvPr userDrawn="1"/>
          </p:nvSpPr>
          <p:spPr>
            <a:xfrm>
              <a:off x="3524978" y="4139230"/>
              <a:ext cx="1033063" cy="300147"/>
            </a:xfrm>
            <a:prstGeom prst="rect">
              <a:avLst/>
            </a:prstGeom>
            <a:solidFill>
              <a:srgbClr val="7FC1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28" name="Rectangle 27"/>
            <p:cNvSpPr/>
            <p:nvPr userDrawn="1"/>
          </p:nvSpPr>
          <p:spPr>
            <a:xfrm>
              <a:off x="3231811" y="4481729"/>
              <a:ext cx="488611" cy="300147"/>
            </a:xfrm>
            <a:prstGeom prst="rect">
              <a:avLst/>
            </a:prstGeom>
            <a:solidFill>
              <a:srgbClr val="CADE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29" name="Rectangle 28"/>
            <p:cNvSpPr/>
            <p:nvPr userDrawn="1"/>
          </p:nvSpPr>
          <p:spPr>
            <a:xfrm>
              <a:off x="4362596" y="4481729"/>
              <a:ext cx="488611" cy="300147"/>
            </a:xfrm>
            <a:prstGeom prst="rect">
              <a:avLst/>
            </a:prstGeom>
            <a:solidFill>
              <a:srgbClr val="73B12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0" name="Rectangle 29"/>
            <p:cNvSpPr/>
            <p:nvPr userDrawn="1"/>
          </p:nvSpPr>
          <p:spPr>
            <a:xfrm>
              <a:off x="3524978" y="4481729"/>
              <a:ext cx="1033063" cy="300147"/>
            </a:xfrm>
            <a:prstGeom prst="rect">
              <a:avLst/>
            </a:prstGeom>
            <a:solidFill>
              <a:srgbClr val="B7D0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1" name="Rectangle 30"/>
            <p:cNvSpPr/>
            <p:nvPr userDrawn="1"/>
          </p:nvSpPr>
          <p:spPr>
            <a:xfrm>
              <a:off x="3231811" y="4830050"/>
              <a:ext cx="488611" cy="300147"/>
            </a:xfrm>
            <a:prstGeom prst="rect">
              <a:avLst/>
            </a:prstGeom>
            <a:solidFill>
              <a:srgbClr val="FFE2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2" name="Rectangle 31"/>
            <p:cNvSpPr/>
            <p:nvPr userDrawn="1"/>
          </p:nvSpPr>
          <p:spPr>
            <a:xfrm>
              <a:off x="4362596" y="4830050"/>
              <a:ext cx="488611" cy="300147"/>
            </a:xfrm>
            <a:prstGeom prst="rect">
              <a:avLst/>
            </a:prstGeom>
            <a:solidFill>
              <a:srgbClr val="F5B00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3" name="Rectangle 32"/>
            <p:cNvSpPr/>
            <p:nvPr userDrawn="1"/>
          </p:nvSpPr>
          <p:spPr>
            <a:xfrm>
              <a:off x="3524978" y="4830050"/>
              <a:ext cx="1033063" cy="300147"/>
            </a:xfrm>
            <a:prstGeom prst="rect">
              <a:avLst/>
            </a:prstGeom>
            <a:solidFill>
              <a:srgbClr val="FFD02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4" name="Rectangle 33"/>
            <p:cNvSpPr/>
            <p:nvPr userDrawn="1"/>
          </p:nvSpPr>
          <p:spPr>
            <a:xfrm>
              <a:off x="3231811" y="5178371"/>
              <a:ext cx="488611" cy="300147"/>
            </a:xfrm>
            <a:prstGeom prst="rect">
              <a:avLst/>
            </a:prstGeom>
            <a:solidFill>
              <a:srgbClr val="ECBAD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5" name="Rectangle 34"/>
            <p:cNvSpPr/>
            <p:nvPr userDrawn="1"/>
          </p:nvSpPr>
          <p:spPr>
            <a:xfrm>
              <a:off x="4362596" y="5178371"/>
              <a:ext cx="488611" cy="300147"/>
            </a:xfrm>
            <a:prstGeom prst="rect">
              <a:avLst/>
            </a:prstGeom>
            <a:solidFill>
              <a:srgbClr val="D587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6" name="Rectangle 35"/>
            <p:cNvSpPr/>
            <p:nvPr userDrawn="1"/>
          </p:nvSpPr>
          <p:spPr>
            <a:xfrm>
              <a:off x="3524978" y="5178371"/>
              <a:ext cx="1033063" cy="300147"/>
            </a:xfrm>
            <a:prstGeom prst="rect">
              <a:avLst/>
            </a:prstGeom>
            <a:solidFill>
              <a:srgbClr val="E4A4D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7" name="Rectangle 36"/>
            <p:cNvSpPr/>
            <p:nvPr userDrawn="1"/>
          </p:nvSpPr>
          <p:spPr>
            <a:xfrm>
              <a:off x="3231811" y="5526692"/>
              <a:ext cx="488611" cy="300147"/>
            </a:xfrm>
            <a:prstGeom prst="rect">
              <a:avLst/>
            </a:prstGeom>
            <a:solidFill>
              <a:srgbClr val="E0A9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8" name="Rectangle 37"/>
            <p:cNvSpPr/>
            <p:nvPr userDrawn="1"/>
          </p:nvSpPr>
          <p:spPr>
            <a:xfrm>
              <a:off x="4362596" y="5526692"/>
              <a:ext cx="488611" cy="300147"/>
            </a:xfrm>
            <a:prstGeom prst="rect">
              <a:avLst/>
            </a:prstGeom>
            <a:solidFill>
              <a:srgbClr val="8E5A0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sp>
          <p:nvSpPr>
            <p:cNvPr id="39" name="Rectangle 38"/>
            <p:cNvSpPr/>
            <p:nvPr userDrawn="1"/>
          </p:nvSpPr>
          <p:spPr>
            <a:xfrm>
              <a:off x="3524978" y="5526692"/>
              <a:ext cx="1033063" cy="300147"/>
            </a:xfrm>
            <a:prstGeom prst="rect">
              <a:avLst/>
            </a:prstGeom>
            <a:solidFill>
              <a:srgbClr val="BC891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rgbClr val="FFFFFF"/>
                </a:solidFill>
              </a:endParaRPr>
            </a:p>
          </p:txBody>
        </p:sp>
      </p:grpSp>
      <p:sp>
        <p:nvSpPr>
          <p:cNvPr id="40" name="Rectangle 39"/>
          <p:cNvSpPr/>
          <p:nvPr userDrawn="1"/>
        </p:nvSpPr>
        <p:spPr>
          <a:xfrm>
            <a:off x="-1085177" y="1767510"/>
            <a:ext cx="979370" cy="134937"/>
          </a:xfrm>
          <a:prstGeom prst="rect">
            <a:avLst/>
          </a:prstGeom>
          <a:solidFill>
            <a:srgbClr val="683C1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GB" sz="1801">
              <a:solidFill>
                <a:srgbClr val="FFFFFF"/>
              </a:solidFill>
            </a:endParaRPr>
          </a:p>
        </p:txBody>
      </p:sp>
      <p:pic>
        <p:nvPicPr>
          <p:cNvPr id="22" name="Picture 2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517234"/>
            <a:ext cx="12192000" cy="340766"/>
          </a:xfrm>
          <a:prstGeom prst="rect">
            <a:avLst/>
          </a:prstGeom>
        </p:spPr>
      </p:pic>
      <p:sp>
        <p:nvSpPr>
          <p:cNvPr id="5" name="Slide Number Placeholder 4"/>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22A38D-A97F-4F97-9FC7-877081678527}" type="slidenum">
              <a:rPr lang="en-GB" smtClean="0"/>
              <a:t>‹#›</a:t>
            </a:fld>
            <a:endParaRPr lang="en-GB"/>
          </a:p>
        </p:txBody>
      </p:sp>
    </p:spTree>
    <p:extLst>
      <p:ext uri="{BB962C8B-B14F-4D97-AF65-F5344CB8AC3E}">
        <p14:creationId xmlns:p14="http://schemas.microsoft.com/office/powerpoint/2010/main" val="721964027"/>
      </p:ext>
    </p:extLst>
  </p:cSld>
  <p:clrMap bg1="lt1" tx1="dk1" bg2="lt2" tx2="dk2" accent1="accent1" accent2="accent2" accent3="accent3" accent4="accent4" accent5="accent5" accent6="accent6" hlink="hlink" folHlink="folHlink"/>
  <p:sldLayoutIdLst>
    <p:sldLayoutId id="2147483729" r:id="rId1"/>
  </p:sldLayoutIdLst>
  <p:hf hdr="0" ftr="0" dt="0"/>
  <p:txStyles>
    <p:titleStyle>
      <a:lvl1pPr algn="l" defTabSz="914400" rtl="0" eaLnBrk="1" latinLnBrk="0" hangingPunct="1">
        <a:lnSpc>
          <a:spcPct val="90000"/>
        </a:lnSpc>
        <a:spcBef>
          <a:spcPct val="0"/>
        </a:spcBef>
        <a:buNone/>
        <a:defRPr sz="2600" b="1" kern="1200">
          <a:solidFill>
            <a:schemeClr val="tx1"/>
          </a:solidFill>
          <a:latin typeface="Trebuchet MS" charset="0"/>
          <a:ea typeface="Trebuchet MS" charset="0"/>
          <a:cs typeface="Trebuchet MS" charset="0"/>
        </a:defRPr>
      </a:lvl1pPr>
    </p:titleStyle>
    <p:bodyStyle>
      <a:lvl1pPr marL="228600" indent="-228600" algn="l" defTabSz="914400" rtl="0" eaLnBrk="1" latinLnBrk="0" hangingPunct="1">
        <a:lnSpc>
          <a:spcPts val="1600"/>
        </a:lnSpc>
        <a:spcBef>
          <a:spcPts val="1000"/>
        </a:spcBef>
        <a:buFontTx/>
        <a:buBlip>
          <a:blip r:embed="rId7"/>
        </a:buBlip>
        <a:defRPr sz="1600" kern="1200">
          <a:solidFill>
            <a:schemeClr val="bg2">
              <a:lumMod val="50000"/>
            </a:schemeClr>
          </a:solidFill>
          <a:latin typeface="Trebuchet MS" charset="0"/>
          <a:ea typeface="Trebuchet MS" charset="0"/>
          <a:cs typeface="Trebuchet MS" charset="0"/>
        </a:defRPr>
      </a:lvl1pPr>
      <a:lvl2pPr marL="685800" indent="-228600" algn="l" defTabSz="914400" rtl="0" eaLnBrk="1" latinLnBrk="0" hangingPunct="1">
        <a:lnSpc>
          <a:spcPts val="1600"/>
        </a:lnSpc>
        <a:spcBef>
          <a:spcPts val="500"/>
        </a:spcBef>
        <a:buFont typeface="Symbol" panose="05050102010706020507" pitchFamily="18" charset="2"/>
        <a:buChar char="-"/>
        <a:defRPr sz="1400" kern="1200">
          <a:solidFill>
            <a:schemeClr val="bg2">
              <a:lumMod val="50000"/>
            </a:schemeClr>
          </a:solidFill>
          <a:latin typeface="Trebuchet MS" charset="0"/>
          <a:ea typeface="Trebuchet MS" charset="0"/>
          <a:cs typeface="Trebuchet MS" charset="0"/>
        </a:defRPr>
      </a:lvl2pPr>
      <a:lvl3pPr marL="1143000" indent="-228600" algn="l" defTabSz="914400" rtl="0" eaLnBrk="1" latinLnBrk="0" hangingPunct="1">
        <a:lnSpc>
          <a:spcPts val="1600"/>
        </a:lnSpc>
        <a:spcBef>
          <a:spcPts val="500"/>
        </a:spcBef>
        <a:buFont typeface="Symbol" panose="05050102010706020507" pitchFamily="18" charset="2"/>
        <a:buChar char="-"/>
        <a:defRPr sz="1200" kern="1200">
          <a:solidFill>
            <a:schemeClr val="bg2">
              <a:lumMod val="50000"/>
            </a:schemeClr>
          </a:solidFill>
          <a:latin typeface="Trebuchet MS" charset="0"/>
          <a:ea typeface="Trebuchet MS" charset="0"/>
          <a:cs typeface="Trebuchet MS" charset="0"/>
        </a:defRPr>
      </a:lvl3pPr>
      <a:lvl4pPr marL="1600200" indent="-228600" algn="l" defTabSz="914400" rtl="0" eaLnBrk="1" latinLnBrk="0" hangingPunct="1">
        <a:lnSpc>
          <a:spcPct val="90000"/>
        </a:lnSpc>
        <a:spcBef>
          <a:spcPts val="500"/>
        </a:spcBef>
        <a:buFontTx/>
        <a:buBlip>
          <a:blip r:embed="rId7"/>
        </a:buBlip>
        <a:defRPr sz="1400" kern="1200">
          <a:solidFill>
            <a:srgbClr val="582F18"/>
          </a:solidFill>
          <a:latin typeface="Trebuchet MS" charset="0"/>
          <a:ea typeface="Trebuchet MS" charset="0"/>
          <a:cs typeface="Trebuchet MS" charset="0"/>
        </a:defRPr>
      </a:lvl4pPr>
      <a:lvl5pPr marL="2057400" indent="-228600" algn="l" defTabSz="914400" rtl="0" eaLnBrk="1" latinLnBrk="0" hangingPunct="1">
        <a:lnSpc>
          <a:spcPct val="90000"/>
        </a:lnSpc>
        <a:spcBef>
          <a:spcPts val="500"/>
        </a:spcBef>
        <a:buFontTx/>
        <a:buBlip>
          <a:blip r:embed="rId7"/>
        </a:buBlip>
        <a:defRPr sz="1200" kern="1200">
          <a:solidFill>
            <a:srgbClr val="582F18"/>
          </a:solidFill>
          <a:latin typeface="Trebuchet MS" charset="0"/>
          <a:ea typeface="Trebuchet MS" charset="0"/>
          <a:cs typeface="Trebuchet M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pl-PL"/>
              <a:t>Kliknij, aby edytować styl</a:t>
            </a:r>
            <a:endParaRPr lang="en-US"/>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0E11FB7-C87E-4AC4-8BBD-176C1694A54D}" type="datetime1">
              <a:rPr lang="en-GB" smtClean="0"/>
              <a:t>21/10/2024</a:t>
            </a:fld>
            <a:endParaRPr lang="en-GB"/>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GB"/>
              <a:t>Presentation title</a:t>
            </a: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8470F1AB-319E-48AE-9489-D88EBE16142A}" type="slidenum">
              <a:rPr lang="en-GB" smtClean="0"/>
              <a:pPr/>
              <a:t>‹#›</a:t>
            </a:fld>
            <a:endParaRPr lang="en-GB"/>
          </a:p>
        </p:txBody>
      </p:sp>
      <p:graphicFrame>
        <p:nvGraphicFramePr>
          <p:cNvPr id="8" name="Object 6" hidden="1">
            <a:extLst>
              <a:ext uri="{FF2B5EF4-FFF2-40B4-BE49-F238E27FC236}">
                <a16:creationId xmlns:a16="http://schemas.microsoft.com/office/drawing/2014/main" id="{757D05ED-66E4-A43C-F2AD-7CB63C864B7F}"/>
              </a:ext>
            </a:extLst>
          </p:cNvPr>
          <p:cNvGraphicFramePr>
            <a:graphicFrameLocks noChangeAspect="1"/>
          </p:cNvGraphicFramePr>
          <p:nvPr userDrawn="1">
            <p:custDataLst>
              <p:tags r:id="rId42"/>
            </p:custDataLst>
            <p:extLst>
              <p:ext uri="{D42A27DB-BD31-4B8C-83A1-F6EECF244321}">
                <p14:modId xmlns:p14="http://schemas.microsoft.com/office/powerpoint/2010/main" val="3803881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6" imgH="416" progId="TCLayout.ActiveDocument.1">
                  <p:embed/>
                </p:oleObj>
              </mc:Choice>
              <mc:Fallback>
                <p:oleObj name="think-cell Slide" r:id="rId44" imgW="416" imgH="416" progId="TCLayout.ActiveDocument.1">
                  <p:embed/>
                  <p:pic>
                    <p:nvPicPr>
                      <p:cNvPr id="8" name="Object 6" hidden="1">
                        <a:extLst>
                          <a:ext uri="{FF2B5EF4-FFF2-40B4-BE49-F238E27FC236}">
                            <a16:creationId xmlns:a16="http://schemas.microsoft.com/office/drawing/2014/main" id="{757D05ED-66E4-A43C-F2AD-7CB63C864B7F}"/>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9" name="Rectangle 5" hidden="1">
            <a:extLst>
              <a:ext uri="{FF2B5EF4-FFF2-40B4-BE49-F238E27FC236}">
                <a16:creationId xmlns:a16="http://schemas.microsoft.com/office/drawing/2014/main" id="{3B1E71F7-4C50-D79B-B094-147F2617FA7D}"/>
              </a:ext>
            </a:extLst>
          </p:cNvPr>
          <p:cNvSpPr/>
          <p:nvPr userDrawn="1">
            <p:custDataLst>
              <p:tags r:id="rId4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buNone/>
            </a:pPr>
            <a:endParaRPr lang="en-US" sz="2400" b="0" i="0" baseline="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0" name="BtfpConfiguration" hidden="1">
            <a:extLst>
              <a:ext uri="{FF2B5EF4-FFF2-40B4-BE49-F238E27FC236}">
                <a16:creationId xmlns:a16="http://schemas.microsoft.com/office/drawing/2014/main" id="{9ED976C1-FB2F-5959-6931-E8B0A11A1EED}"/>
              </a:ext>
            </a:extLst>
          </p:cNvPr>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a:t>
            </a:r>
          </a:p>
          <a:p>
            <a:pPr marL="0" indent="0">
              <a:buNone/>
            </a:pPr>
            <a:r>
              <a:rPr lang="en-GB" sz="100">
                <a:solidFill>
                  <a:schemeClr val="bg1">
                    <a:alpha val="0"/>
                  </a:schemeClr>
                </a:solidFill>
              </a:rPr>
              <a:t>  &lt;!-- Instructions for the &lt;template&gt; tag:       Keep "version" and "type" options unchanged.       Set "name" option to the client name that should appear on the client color section.        Set "pageSize" to the paper size you are setting this slide master up on. Valid values are: "widescreen" (which equals 16:9), "4_3", "a4" and "letter". Observe capitalization! --&gt;</a:t>
            </a:r>
          </a:p>
          <a:p>
            <a:pPr marL="0" indent="0">
              <a:buNone/>
            </a:pPr>
            <a:r>
              <a:rPr lang="en-GB" sz="100">
                <a:solidFill>
                  <a:schemeClr val="bg1">
                    <a:alpha val="0"/>
                  </a:schemeClr>
                </a:solidFill>
              </a:rPr>
              <a:t>  &lt;template version="2.0.14" type="unbranded" name="Upfield" pageSize="widescreen"&gt;</a:t>
            </a:r>
          </a:p>
          <a:p>
            <a:pPr marL="0" indent="0">
              <a:buNone/>
            </a:pPr>
            <a:r>
              <a:rPr lang="en-GB" sz="100">
                <a:solidFill>
                  <a:schemeClr val="bg1">
                    <a:alpha val="0"/>
                  </a:schemeClr>
                </a:solidFill>
              </a:rPr>
              <a:t>    &lt;!-- Instructions for &lt;settings&gt; tag:         In each sub-tag set the hex code of the RGB color you wish to use for the standard elements when they are created on this slide master.         If the value is missing or invalid, default colors will be used. --&gt;</a:t>
            </a:r>
          </a:p>
          <a:p>
            <a:pPr marL="0" indent="0">
              <a:buNone/>
            </a:pPr>
            <a:r>
              <a:rPr lang="en-GB" sz="100">
                <a:solidFill>
                  <a:schemeClr val="bg1">
                    <a:alpha val="0"/>
                  </a:schemeClr>
                </a:solidFill>
              </a:rPr>
              <a:t>    &lt;settings&gt;</a:t>
            </a:r>
          </a:p>
          <a:p>
            <a:pPr marL="0" indent="0">
              <a:buNone/>
            </a:pPr>
            <a:r>
              <a:rPr lang="en-GB" sz="100">
                <a:solidFill>
                  <a:schemeClr val="bg1">
                    <a:alpha val="0"/>
                  </a:schemeClr>
                </a:solidFill>
              </a:rPr>
              <a:t>      &lt;runningAgendaBackColorLeft&gt;#005A50&lt;/runningAgendaBackColorLeft&gt;</a:t>
            </a:r>
          </a:p>
          <a:p>
            <a:pPr marL="0" indent="0">
              <a:buNone/>
            </a:pPr>
            <a:r>
              <a:rPr lang="en-GB" sz="100">
                <a:solidFill>
                  <a:schemeClr val="bg1">
                    <a:alpha val="0"/>
                  </a:schemeClr>
                </a:solidFill>
              </a:rPr>
              <a:t>      &lt;runningAgendaBackColorRight&gt;#64BE00&lt;/runningAgendaBackColorRight&gt;</a:t>
            </a:r>
          </a:p>
          <a:p>
            <a:pPr marL="0" indent="0">
              <a:buNone/>
            </a:pPr>
            <a:r>
              <a:rPr lang="en-GB" sz="100">
                <a:solidFill>
                  <a:schemeClr val="bg1">
                    <a:alpha val="0"/>
                  </a:schemeClr>
                </a:solidFill>
              </a:rPr>
              <a:t>      &lt;runningAgendaTextColorLeft&gt;#FFFFFF&lt;/runningAgendaTextColorLeft&gt;</a:t>
            </a:r>
          </a:p>
          <a:p>
            <a:pPr marL="0" indent="0">
              <a:buNone/>
            </a:pPr>
            <a:r>
              <a:rPr lang="en-GB" sz="100">
                <a:solidFill>
                  <a:schemeClr val="bg1">
                    <a:alpha val="0"/>
                  </a:schemeClr>
                </a:solidFill>
              </a:rPr>
              <a:t>      &lt;runningAgendaTextColorRight&gt;#FFFFFF&lt;/runningAgendaTextColorRight&gt;</a:t>
            </a:r>
          </a:p>
          <a:p>
            <a:pPr marL="0" indent="0">
              <a:buNone/>
            </a:pPr>
            <a:r>
              <a:rPr lang="en-GB" sz="100">
                <a:solidFill>
                  <a:schemeClr val="bg1">
                    <a:alpha val="0"/>
                  </a:schemeClr>
                </a:solidFill>
              </a:rPr>
              <a:t>      &lt;columnHeaderLineColor&gt;#000000&lt;/columnHeaderLineColor&gt;</a:t>
            </a:r>
          </a:p>
          <a:p>
            <a:pPr marL="0" indent="0">
              <a:buNone/>
            </a:pPr>
            <a:r>
              <a:rPr lang="en-GB" sz="100">
                <a:solidFill>
                  <a:schemeClr val="bg1">
                    <a:alpha val="0"/>
                  </a:schemeClr>
                </a:solidFill>
              </a:rPr>
              <a:t>      &lt;columnHeaderTextColor&gt;#000000&lt;/columnHeaderTextColor&gt;</a:t>
            </a:r>
          </a:p>
          <a:p>
            <a:pPr marL="0" indent="0">
              <a:buNone/>
            </a:pPr>
            <a:r>
              <a:rPr lang="en-GB" sz="100">
                <a:solidFill>
                  <a:schemeClr val="bg1">
                    <a:alpha val="0"/>
                  </a:schemeClr>
                </a:solidFill>
              </a:rPr>
              <a:t>      &lt;rowHeaderLineColor&gt;#000000&lt;/rowHeaderLineColor&gt;</a:t>
            </a:r>
          </a:p>
          <a:p>
            <a:pPr marL="0" indent="0">
              <a:buNone/>
            </a:pPr>
            <a:r>
              <a:rPr lang="en-GB" sz="100">
                <a:solidFill>
                  <a:schemeClr val="bg1">
                    <a:alpha val="0"/>
                  </a:schemeClr>
                </a:solidFill>
              </a:rPr>
              <a:t>      &lt;rowHeaderTextColor&gt;#000000&lt;/rowHeaderTextColor&gt;</a:t>
            </a:r>
          </a:p>
          <a:p>
            <a:pPr marL="0" indent="0">
              <a:buNone/>
            </a:pPr>
            <a:r>
              <a:rPr lang="en-GB" sz="100">
                <a:solidFill>
                  <a:schemeClr val="bg1">
                    <a:alpha val="0"/>
                  </a:schemeClr>
                </a:solidFill>
              </a:rPr>
              <a:t>      &lt;bainArrowLineColor&gt;#009639&lt;/bainArrowLineColor&gt;</a:t>
            </a:r>
          </a:p>
          <a:p>
            <a:pPr marL="0" indent="0">
              <a:buNone/>
            </a:pPr>
            <a:r>
              <a:rPr lang="en-GB" sz="100">
                <a:solidFill>
                  <a:schemeClr val="bg1">
                    <a:alpha val="0"/>
                  </a:schemeClr>
                </a:solidFill>
              </a:rPr>
              <a:t>      &lt;bainArrowTextColor&gt;#009639&lt;/bainArrowTextColor&gt;</a:t>
            </a:r>
          </a:p>
          <a:p>
            <a:pPr marL="0" indent="0">
              <a:buNone/>
            </a:pPr>
            <a:r>
              <a:rPr lang="en-GB" sz="100">
                <a:solidFill>
                  <a:schemeClr val="bg1">
                    <a:alpha val="0"/>
                  </a:schemeClr>
                </a:solidFill>
              </a:rPr>
              <a:t>      &lt;percentageCircleFullCircleColor&gt;#99D5B0&lt;/percentageCircleFullCircleColor&gt;</a:t>
            </a:r>
          </a:p>
          <a:p>
            <a:pPr marL="0" indent="0">
              <a:buNone/>
            </a:pPr>
            <a:r>
              <a:rPr lang="en-GB" sz="100">
                <a:solidFill>
                  <a:schemeClr val="bg1">
                    <a:alpha val="0"/>
                  </a:schemeClr>
                </a:solidFill>
              </a:rPr>
              <a:t>      &lt;percentageCircleTextHighlightColor&gt;#009639&lt;/percentageCircleTextHighlightColor&gt;</a:t>
            </a:r>
          </a:p>
          <a:p>
            <a:pPr marL="0" indent="0">
              <a:buNone/>
            </a:pPr>
            <a:r>
              <a:rPr lang="en-GB" sz="100">
                <a:solidFill>
                  <a:schemeClr val="bg1">
                    <a:alpha val="0"/>
                  </a:schemeClr>
                </a:solidFill>
              </a:rPr>
              <a:t>      &lt;statusStickerColor&gt;#000000&lt;/statusStickerColor&gt;</a:t>
            </a:r>
          </a:p>
          <a:p>
            <a:pPr marL="0" indent="0">
              <a:buNone/>
            </a:pPr>
            <a:r>
              <a:rPr lang="en-GB" sz="100">
                <a:solidFill>
                  <a:schemeClr val="bg1">
                    <a:alpha val="0"/>
                  </a:schemeClr>
                </a:solidFill>
              </a:rPr>
              <a:t>      &lt;calloutBackColor&gt;#FFFFFF&lt;/calloutBackColor&gt;</a:t>
            </a:r>
          </a:p>
          <a:p>
            <a:pPr marL="0" indent="0">
              <a:buNone/>
            </a:pPr>
            <a:r>
              <a:rPr lang="en-GB" sz="100">
                <a:solidFill>
                  <a:schemeClr val="bg1">
                    <a:alpha val="0"/>
                  </a:schemeClr>
                </a:solidFill>
              </a:rPr>
              <a:t>      &lt;calloutTextLineColor&gt;#009639&lt;/calloutTextLineColor&gt;</a:t>
            </a:r>
          </a:p>
          <a:p>
            <a:pPr marL="0" indent="0">
              <a:buNone/>
            </a:pPr>
            <a:r>
              <a:rPr lang="en-GB" sz="100">
                <a:solidFill>
                  <a:schemeClr val="bg1">
                    <a:alpha val="0"/>
                  </a:schemeClr>
                </a:solidFill>
              </a:rPr>
              <a:t>      &lt;numberBubbleBackColor&gt;#FFFFFF&lt;/numberBubbleBackColor&gt;</a:t>
            </a:r>
          </a:p>
          <a:p>
            <a:pPr marL="0" indent="0">
              <a:buNone/>
            </a:pPr>
            <a:r>
              <a:rPr lang="en-GB" sz="100">
                <a:solidFill>
                  <a:schemeClr val="bg1">
                    <a:alpha val="0"/>
                  </a:schemeClr>
                </a:solidFill>
              </a:rPr>
              <a:t>      &lt;numberBubbleTextLineColor&gt;#009639&lt;/numberBubbleTextLineColor&gt;</a:t>
            </a:r>
          </a:p>
          <a:p>
            <a:pPr marL="0" indent="0">
              <a:buNone/>
            </a:pPr>
            <a:r>
              <a:rPr lang="en-GB" sz="100">
                <a:solidFill>
                  <a:schemeClr val="bg1">
                    <a:alpha val="0"/>
                  </a:schemeClr>
                </a:solidFill>
              </a:rPr>
              <a:t>      &lt;valueChainTextLineColor&gt;#000000&lt;/valueChainTextLineColor&gt;</a:t>
            </a:r>
          </a:p>
          <a:p>
            <a:pPr marL="0" indent="0">
              <a:buNone/>
            </a:pPr>
            <a:r>
              <a:rPr lang="en-GB" sz="100">
                <a:solidFill>
                  <a:schemeClr val="bg1">
                    <a:alpha val="0"/>
                  </a:schemeClr>
                </a:solidFill>
              </a:rPr>
              <a:t>      &lt;agendaHighlightColor&gt;#009639&lt;/agendaHighlightColor&gt;</a:t>
            </a:r>
          </a:p>
          <a:p>
            <a:pPr marL="0" indent="0">
              <a:buNone/>
            </a:pPr>
            <a:r>
              <a:rPr lang="en-GB" sz="100">
                <a:solidFill>
                  <a:schemeClr val="bg1">
                    <a:alpha val="0"/>
                  </a:schemeClr>
                </a:solidFill>
              </a:rPr>
              <a:t>      &lt;!-- The &lt;tableAccentNumber&gt; defines which table layout from the "Light Style 1" row should be applied for newly created tables.            Valid values are 0, 1, 2, 3, 4, 5, and 6 - representing the layouts on the Table Layout drop-down from left to right.            The highlight colors used in those table layouts link to the Theme color palette, they cannot be specified here. --&gt;</a:t>
            </a:r>
          </a:p>
          <a:p>
            <a:pPr marL="0" indent="0">
              <a:buNone/>
            </a:pPr>
            <a:r>
              <a:rPr lang="en-GB" sz="100">
                <a:solidFill>
                  <a:schemeClr val="bg1">
                    <a:alpha val="0"/>
                  </a:schemeClr>
                </a:solidFill>
              </a:rPr>
              <a:t>      &lt;tableAccentNumber&gt;1&lt;/tableAccentNumber&gt;</a:t>
            </a:r>
          </a:p>
          <a:p>
            <a:pPr marL="0" indent="0">
              <a:buNone/>
            </a:pPr>
            <a:r>
              <a:rPr lang="en-GB" sz="100">
                <a:solidFill>
                  <a:schemeClr val="bg1">
                    <a:alpha val="0"/>
                  </a:schemeClr>
                </a:solidFill>
              </a:rPr>
              <a:t>      &lt;!-- The &lt;statusStickerRunningAgendaFontSize&gt; tag determines what font size should be applied to newly created status stickers and running agendas.            Valid values are integer numbers. If the option is not present or not valid, the default is used. --&gt;</a:t>
            </a:r>
          </a:p>
          <a:p>
            <a:pPr marL="0" indent="0">
              <a:buNone/>
            </a:pPr>
            <a:r>
              <a:rPr lang="en-GB" sz="100">
                <a:solidFill>
                  <a:schemeClr val="bg1">
                    <a:alpha val="0"/>
                  </a:schemeClr>
                </a:solidFill>
              </a:rPr>
              <a:t>      &lt;statusStickerRunningAgendaFontSize&gt;10&lt;/statusStickerRunningAgendaFontSize&gt;</a:t>
            </a:r>
          </a:p>
          <a:p>
            <a:pPr marL="0" indent="0">
              <a:buNone/>
            </a:pPr>
            <a:r>
              <a:rPr lang="en-GB" sz="100">
                <a:solidFill>
                  <a:schemeClr val="bg1">
                    <a:alpha val="0"/>
                  </a:schemeClr>
                </a:solidFill>
              </a:rPr>
              <a:t>      &lt;!-- The &lt;columnSpacing&gt; tag determines the width of the spacing between columns in pt.           Valid values are integer numbers, min. 28, max. 85 (~1-3cm). If the option is not present or not valid, the default is used. --&gt;</a:t>
            </a:r>
          </a:p>
          <a:p>
            <a:pPr marL="0" indent="0">
              <a:buNone/>
            </a:pPr>
            <a:r>
              <a:rPr lang="en-GB" sz="100">
                <a:solidFill>
                  <a:schemeClr val="bg1">
                    <a:alpha val="0"/>
                  </a:schemeClr>
                </a:solidFill>
              </a:rPr>
              <a:t>      &lt;columnSpacing&gt;32&lt;/columnSpacing&gt;</a:t>
            </a:r>
          </a:p>
          <a:p>
            <a:pPr marL="0" indent="0">
              <a:buNone/>
            </a:pPr>
            <a:r>
              <a:rPr lang="en-GB" sz="100">
                <a:solidFill>
                  <a:schemeClr val="bg1">
                    <a:alpha val="0"/>
                  </a:schemeClr>
                </a:solidFill>
              </a:rPr>
              <a:t>    &lt;/settings&gt;</a:t>
            </a:r>
          </a:p>
          <a:p>
            <a:pPr marL="0" indent="0">
              <a:buNone/>
            </a:pPr>
            <a:r>
              <a:rPr lang="en-GB" sz="100">
                <a:solidFill>
                  <a:schemeClr val="bg1">
                    <a:alpha val="0"/>
                  </a:schemeClr>
                </a:solidFill>
              </a:rPr>
              <a:t>    &lt;!-- Instructions for &lt;colors&gt; tag:         Use any number of &lt;color&gt;...&lt;/color&gt; lines. Each line creates a client color on the client color palette in the order they appear here.         The client color hex code goes between the &lt;color&gt; and &lt;/color&gt; tags.         The &lt;color&gt; tag may have the option "contrastingTextColor". If it is set to a valid RGB hex code then that color will be used for text if the user applies the client color to fill a shape.          Hence, contrastingTextColor usually is white (#FFFFFF), black (#000000) or another dark color. --&gt;</a:t>
            </a:r>
          </a:p>
          <a:p>
            <a:pPr marL="0" indent="0">
              <a:buNone/>
            </a:pPr>
            <a:r>
              <a:rPr lang="en-GB" sz="100">
                <a:solidFill>
                  <a:schemeClr val="bg1">
                    <a:alpha val="0"/>
                  </a:schemeClr>
                </a:solidFill>
              </a:rPr>
              <a:t>    &lt;colors&gt;</a:t>
            </a:r>
          </a:p>
          <a:p>
            <a:pPr marL="0" indent="0">
              <a:buNone/>
            </a:pPr>
            <a:r>
              <a:rPr lang="en-GB" sz="100">
                <a:solidFill>
                  <a:schemeClr val="bg1">
                    <a:alpha val="0"/>
                  </a:schemeClr>
                </a:solidFill>
              </a:rPr>
              <a:t>      &lt;color contrastingTextColor="#FFFFFF"&gt;#000000&lt;/color&gt;</a:t>
            </a:r>
          </a:p>
          <a:p>
            <a:pPr marL="0" indent="0">
              <a:buNone/>
            </a:pPr>
            <a:r>
              <a:rPr lang="en-GB" sz="100">
                <a:solidFill>
                  <a:schemeClr val="bg1">
                    <a:alpha val="0"/>
                  </a:schemeClr>
                </a:solidFill>
              </a:rPr>
              <a:t>      &lt;color contrastingTextColor="#FFFFFF"&gt;#7F7F7F&lt;/color&gt;</a:t>
            </a:r>
          </a:p>
          <a:p>
            <a:pPr marL="0" indent="0">
              <a:buNone/>
            </a:pPr>
            <a:r>
              <a:rPr lang="en-GB" sz="100">
                <a:solidFill>
                  <a:schemeClr val="bg1">
                    <a:alpha val="0"/>
                  </a:schemeClr>
                </a:solidFill>
              </a:rPr>
              <a:t>      &lt;color contrastingTextColor="#FFFFFF"&gt;#005A50&lt;/color&gt;</a:t>
            </a:r>
          </a:p>
          <a:p>
            <a:pPr marL="0" indent="0">
              <a:buNone/>
            </a:pPr>
            <a:r>
              <a:rPr lang="en-GB" sz="100">
                <a:solidFill>
                  <a:schemeClr val="bg1">
                    <a:alpha val="0"/>
                  </a:schemeClr>
                </a:solidFill>
              </a:rPr>
              <a:t>      &lt;color contrastingTextColor="#FFFFFF"&gt;#009639&lt;/color&gt;</a:t>
            </a:r>
          </a:p>
          <a:p>
            <a:pPr marL="0" indent="0">
              <a:buNone/>
            </a:pPr>
            <a:r>
              <a:rPr lang="en-GB" sz="100">
                <a:solidFill>
                  <a:schemeClr val="bg1">
                    <a:alpha val="0"/>
                  </a:schemeClr>
                </a:solidFill>
              </a:rPr>
              <a:t>      &lt;color contrastingTextColor="#FFFFFF"&gt;#64BE00&lt;/color&gt;</a:t>
            </a:r>
          </a:p>
          <a:p>
            <a:pPr marL="0" indent="0">
              <a:buNone/>
            </a:pPr>
            <a:r>
              <a:rPr lang="en-GB" sz="100">
                <a:solidFill>
                  <a:schemeClr val="bg1">
                    <a:alpha val="0"/>
                  </a:schemeClr>
                </a:solidFill>
              </a:rPr>
              <a:t>      &lt;color contrastingTextColor="#000000"&gt;#C6DD3A&lt;/color&gt;</a:t>
            </a:r>
          </a:p>
          <a:p>
            <a:pPr marL="0" indent="0">
              <a:buNone/>
            </a:pPr>
            <a:r>
              <a:rPr lang="en-GB" sz="100">
                <a:solidFill>
                  <a:schemeClr val="bg1">
                    <a:alpha val="0"/>
                  </a:schemeClr>
                </a:solidFill>
              </a:rPr>
              <a:t>      &lt;color contrastingTextColor="#000000"&gt;#99D5B0&lt;/color&gt;</a:t>
            </a:r>
          </a:p>
          <a:p>
            <a:pPr marL="0" indent="0">
              <a:buNone/>
            </a:pPr>
            <a:r>
              <a:rPr lang="en-GB" sz="100">
                <a:solidFill>
                  <a:schemeClr val="bg1">
                    <a:alpha val="0"/>
                  </a:schemeClr>
                </a:solidFill>
              </a:rPr>
              <a:t>      &lt;color contrastingTextColor="#000000"&gt;#EFF7D9&lt;/color&gt;</a:t>
            </a:r>
          </a:p>
          <a:p>
            <a:pPr marL="0" indent="0">
              <a:buNone/>
            </a:pPr>
            <a:r>
              <a:rPr lang="en-GB" sz="100">
                <a:solidFill>
                  <a:schemeClr val="bg1">
                    <a:alpha val="0"/>
                  </a:schemeClr>
                </a:solidFill>
              </a:rPr>
              <a:t>    &lt;/colors&gt;</a:t>
            </a:r>
          </a:p>
          <a:p>
            <a:pPr marL="0" indent="0">
              <a:buNone/>
            </a:pPr>
            <a:r>
              <a:rPr lang="en-GB" sz="100">
                <a:solidFill>
                  <a:schemeClr val="bg1">
                    <a:alpha val="0"/>
                  </a:schemeClr>
                </a:solidFill>
              </a:rPr>
              <a:t>  &lt;/template&gt;</a:t>
            </a:r>
          </a:p>
          <a:p>
            <a:pPr marL="0" indent="0">
              <a:buNone/>
            </a:pPr>
            <a:r>
              <a:rPr lang="en-GB" sz="100">
                <a:solidFill>
                  <a:schemeClr val="bg1">
                    <a:alpha val="0"/>
                  </a:schemeClr>
                </a:solidFill>
              </a:rPr>
              <a:t>  &lt;!--BTFPCONFIGURATION:3C627466703E0D0A20203C212D2D20496E737472756374696F6E7320666F7220746865203C74656D706C6174653E207461673A202020202020204B656570202276657273696F6E2220616E6420227479706522206F7074696F6E7320756E6368616E6765642E2020202020202053657420226E616D6522206F7074696F6E20746F2074686520636C69656E74206E616D6520746861742073686F756C6420617070656172206F6E2074686520636C69656E7420636F6C6F722073656374696F6E2E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5706669656C6422207061676553697A653D227769646573637265656E223E0D0A202020203C212D2D20496E737472756374696F6E7320666F72203C73657474696E67733E207461673A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4966207468652076616C7565206973206D697373696E67206F7220696E76616C69642C2064656661756C7420636F6C6F72732077696C6C20626520757365642E202D2D3E0D0A202020203C73657474696E67733E0D0A2020202020203C72756E6E696E674167656E64614261636B436F6C6F724C6566743E233030354135303C2F72756E6E696E674167656E64614261636B436F6C6F724C6566743E0D0A2020202020203C72756E6E696E674167656E64614261636B436F6C6F7252696768743E233634424530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030393633393C2F636F6E636C7573696F6E4172726F774C696E65436F6C6F723E0D0A2020202020203C636F6E636C7573696F6E4172726F7754657874436F6C6F723E233030393633393C2F636F6E636C7573696F6E4172726F7754657874436F6C6F723E0D0A2020202020203C70657263656E74616765436972636C6546756C6C436972636C65436F6C6F723E233939443542303C2F70657263656E74616765436972636C6546756C6C436972636C65436F6C6F723E0D0A2020202020203C70657263656E74616765436972636C6554657874486967686C69676874436F6C6F723E23303039363339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030393633393C2F63616C6C6F7574546578744C696E65436F6C6F723E0D0A2020202020203C6E756D626572427562626C654261636B436F6C6F723E234646464646463C2F6E756D626572427562626C654261636B436F6C6F723E0D0A2020202020203C6E756D626572427562626C65546578744C696E65436F6C6F723E233030393633393C2F6E756D626572427562626C65546578744C696E65436F6C6F723E0D0A2020202020203C76616C7565436861696E546578744C696E65436F6C6F723E233030303030303C2F76616C7565436861696E546578744C696E65436F6C6F723E0D0A2020202020203C6167656E6461486967686C69676874436F6C6F723E23303039363339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0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3323C2F636F6C756D6E53706163696E673E0D0A202020203C2F73657474696E67733E0D0A202020203C212D2D20496E737472756374696F6E7320666F72203C636F6C6F72733E207461673A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54686520636C69656E7420636F6C6F722068657820636F646520676F6573206265747765656E20746865203C636F6C6F723E20616E64203C2F636F6C6F723E20746167732E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030303030303C2F636F6C6F723E0D0A2020202020203C636F6C6F7220636F6E7472617374696E6754657874436F6C6F723D2223464646464646223E233746374637463C2F636F6C6F723E0D0A2020202020203C636F6C6F7220636F6E7472617374696E6754657874436F6C6F723D2223464646464646223E233030354135303C2F636F6C6F723E0D0A2020202020203C636F6C6F7220636F6E7472617374696E6754657874436F6C6F723D2223464646464646223E233030393633393C2F636F6C6F723E0D0A2020202020203C636F6C6F7220636F6E7472617374696E6754657874436F6C6F723D2223464646464646223E233634424530303C2F636F6C6F723E0D0A2020202020203C636F6C6F7220636F6E7472617374696E6754657874436F6C6F723D2223303030303030223E234336444433413C2F636F6C6F723E0D0A2020202020203C636F6C6F7220636F6E7472617374696E6754657874436F6C6F723D2223303030303030223E233939443542303C2F636F6C6F723E0D0A2020202020203C636F6C6F7220636F6E7472617374696E6754657874436F6C6F723D2223303030303030223E234546463744393C2F636F6C6F723E0D0A202020203C2F636F6C6F72733E0D0A20203C2F74656D706C6174653E0D0A3C2F627466703E--&gt;</a:t>
            </a:r>
          </a:p>
          <a:p>
            <a:pPr marL="0" indent="0">
              <a:buNone/>
            </a:pPr>
            <a:r>
              <a:rPr lang="en-GB" sz="100">
                <a:solidFill>
                  <a:schemeClr val="bg1">
                    <a:alpha val="0"/>
                  </a:schemeClr>
                </a:solidFill>
              </a:rPr>
              <a:t>&lt;/btfp&gt;</a:t>
            </a:r>
          </a:p>
        </p:txBody>
      </p:sp>
      <p:sp>
        <p:nvSpPr>
          <p:cNvPr id="11" name="btfpLayoutConfig" hidden="1">
            <a:extLst>
              <a:ext uri="{FF2B5EF4-FFF2-40B4-BE49-F238E27FC236}">
                <a16:creationId xmlns:a16="http://schemas.microsoft.com/office/drawing/2014/main" id="{63CB2A52-2971-2EB3-9AF2-366CBB59F68A}"/>
              </a:ext>
            </a:extLst>
          </p:cNvPr>
          <p:cNvSpPr txBox="1"/>
          <p:nvPr userDrawn="1"/>
        </p:nvSpPr>
        <p:spPr>
          <a:xfrm>
            <a:off x="12700" y="12700"/>
            <a:ext cx="611312" cy="88092"/>
          </a:xfrm>
          <a:prstGeom prst="rect">
            <a:avLst/>
          </a:prstGeom>
          <a:noFill/>
        </p:spPr>
        <p:txBody>
          <a:bodyPr vert="horz" wrap="none" lIns="36000" tIns="36000" rIns="36000" bIns="36000" rtlCol="0">
            <a:spAutoFit/>
          </a:bodyPr>
          <a:lstStyle/>
          <a:p>
            <a:r>
              <a:rPr lang="en-GB" sz="100" err="1">
                <a:solidFill>
                  <a:srgbClr val="FFFFFF">
                    <a:alpha val="0"/>
                  </a:srgbClr>
                </a:solidFill>
              </a:rPr>
              <a:t>overall_0_131468204519021135 columns_1_131468204519021135 </a:t>
            </a:r>
          </a:p>
        </p:txBody>
      </p:sp>
      <p:sp>
        <p:nvSpPr>
          <p:cNvPr id="12" name="SlideNumber">
            <a:extLst>
              <a:ext uri="{FF2B5EF4-FFF2-40B4-BE49-F238E27FC236}">
                <a16:creationId xmlns:a16="http://schemas.microsoft.com/office/drawing/2014/main" id="{FE7B6D34-EE38-FCAF-A9E4-B9E2ACFD6589}"/>
              </a:ext>
            </a:extLst>
          </p:cNvPr>
          <p:cNvSpPr/>
          <p:nvPr userDrawn="1"/>
        </p:nvSpPr>
        <p:spPr bwMode="gray">
          <a:xfrm>
            <a:off x="11712769" y="6590833"/>
            <a:ext cx="144270"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accent1"/>
                </a:solidFill>
                <a:latin typeface="+mn-lt"/>
              </a:rPr>
              <a:pPr marL="0" indent="0" algn="r" defTabSz="711200" rtl="0" eaLnBrk="1" latinLnBrk="0" hangingPunct="1">
                <a:spcBef>
                  <a:spcPts val="1200"/>
                </a:spcBef>
                <a:buNone/>
              </a:pPr>
              <a:t>‹#›</a:t>
            </a:fld>
            <a:endParaRPr lang="en-US" sz="900" b="0">
              <a:solidFill>
                <a:schemeClr val="accent1"/>
              </a:solidFill>
              <a:latin typeface="+mn-lt"/>
            </a:endParaRPr>
          </a:p>
        </p:txBody>
      </p:sp>
      <p:pic>
        <p:nvPicPr>
          <p:cNvPr id="13" name="Picture 19">
            <a:extLst>
              <a:ext uri="{FF2B5EF4-FFF2-40B4-BE49-F238E27FC236}">
                <a16:creationId xmlns:a16="http://schemas.microsoft.com/office/drawing/2014/main" id="{6180B06A-193B-3A62-5426-2641F4C7CC31}"/>
              </a:ext>
            </a:extLst>
          </p:cNvPr>
          <p:cNvPicPr>
            <a:picLocks noChangeAspect="1"/>
          </p:cNvPicPr>
          <p:nvPr userDrawn="1"/>
        </p:nvPicPr>
        <p:blipFill>
          <a:blip r:embed="rId46">
            <a:extLst>
              <a:ext uri="{28A0092B-C50C-407E-A947-70E740481C1C}">
                <a14:useLocalDpi xmlns:a14="http://schemas.microsoft.com/office/drawing/2010/main" val="0"/>
              </a:ext>
            </a:extLst>
          </a:blip>
          <a:stretch>
            <a:fillRect/>
          </a:stretch>
        </p:blipFill>
        <p:spPr>
          <a:xfrm>
            <a:off x="11320212" y="28645"/>
            <a:ext cx="785114" cy="857568"/>
          </a:xfrm>
          <a:prstGeom prst="rect">
            <a:avLst/>
          </a:prstGeom>
        </p:spPr>
      </p:pic>
    </p:spTree>
    <p:extLst>
      <p:ext uri="{BB962C8B-B14F-4D97-AF65-F5344CB8AC3E}">
        <p14:creationId xmlns:p14="http://schemas.microsoft.com/office/powerpoint/2010/main" val="143512437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5" r:id="rId18"/>
    <p:sldLayoutId id="2147483732" r:id="rId19"/>
    <p:sldLayoutId id="2147483734" r:id="rId20"/>
    <p:sldLayoutId id="2147483739" r:id="rId21"/>
    <p:sldLayoutId id="2147483740" r:id="rId22"/>
    <p:sldLayoutId id="2147483741" r:id="rId23"/>
    <p:sldLayoutId id="2147483742" r:id="rId24"/>
    <p:sldLayoutId id="2147483743" r:id="rId25"/>
    <p:sldLayoutId id="2147483744" r:id="rId26"/>
    <p:sldLayoutId id="2147483745" r:id="rId27"/>
    <p:sldLayoutId id="2147483746" r:id="rId28"/>
    <p:sldLayoutId id="2147483747" r:id="rId29"/>
    <p:sldLayoutId id="2147483748" r:id="rId30"/>
    <p:sldLayoutId id="2147483749" r:id="rId31"/>
    <p:sldLayoutId id="2147483751" r:id="rId32"/>
    <p:sldLayoutId id="2147483752" r:id="rId33"/>
    <p:sldLayoutId id="2147483753" r:id="rId34"/>
    <p:sldLayoutId id="2147483754" r:id="rId35"/>
    <p:sldLayoutId id="2147483755" r:id="rId36"/>
    <p:sldLayoutId id="2147483756" r:id="rId37"/>
    <p:sldLayoutId id="2147483757" r:id="rId38"/>
    <p:sldLayoutId id="2147483758" r:id="rId39"/>
    <p:sldLayoutId id="2147483759" r:id="rId40"/>
  </p:sldLayoutIdLst>
  <p:hf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6.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l-PL" dirty="0" err="1"/>
              <a:t>Issue</a:t>
            </a:r>
            <a:r>
              <a:rPr lang="pl-PL" dirty="0"/>
              <a:t> Log 202</a:t>
            </a:r>
            <a:r>
              <a:rPr lang="en-US" dirty="0"/>
              <a:t>4</a:t>
            </a:r>
            <a:br>
              <a:rPr lang="pl-PL" dirty="0"/>
            </a:br>
            <a:br>
              <a:rPr lang="pl-PL" dirty="0"/>
            </a:br>
            <a:r>
              <a:rPr lang="pl-PL" sz="2800" dirty="0"/>
              <a:t>January – </a:t>
            </a:r>
            <a:r>
              <a:rPr lang="en-US" sz="2800" dirty="0"/>
              <a:t>September</a:t>
            </a:r>
            <a:endParaRPr lang="en-GB" sz="2800" dirty="0"/>
          </a:p>
        </p:txBody>
      </p:sp>
      <p:sp>
        <p:nvSpPr>
          <p:cNvPr id="5" name="Slide Number Placeholder 4"/>
          <p:cNvSpPr>
            <a:spLocks noGrp="1"/>
          </p:cNvSpPr>
          <p:nvPr>
            <p:ph type="sldNum" sz="quarter" idx="12"/>
          </p:nvPr>
        </p:nvSpPr>
        <p:spPr/>
        <p:txBody>
          <a:bodyPr/>
          <a:lstStyle/>
          <a:p>
            <a:fld id="{8470F1AB-319E-48AE-9489-D88EBE16142A}" type="slidenum">
              <a:rPr lang="en-GB" smtClean="0"/>
              <a:pPr/>
              <a:t>1</a:t>
            </a:fld>
            <a:endParaRPr lang="en-GB"/>
          </a:p>
        </p:txBody>
      </p:sp>
    </p:spTree>
    <p:extLst>
      <p:ext uri="{BB962C8B-B14F-4D97-AF65-F5344CB8AC3E}">
        <p14:creationId xmlns:p14="http://schemas.microsoft.com/office/powerpoint/2010/main" val="3875323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8E21C9DC-FA0C-85B1-9E18-9C25D9651050}"/>
              </a:ext>
            </a:extLst>
          </p:cNvPr>
          <p:cNvSpPr>
            <a:spLocks noGrp="1"/>
          </p:cNvSpPr>
          <p:nvPr>
            <p:ph type="sldNum" sz="quarter" idx="12"/>
          </p:nvPr>
        </p:nvSpPr>
        <p:spPr/>
        <p:txBody>
          <a:bodyPr/>
          <a:lstStyle/>
          <a:p>
            <a:fld id="{8470F1AB-319E-48AE-9489-D88EBE16142A}" type="slidenum">
              <a:rPr lang="en-GB" smtClean="0"/>
              <a:t>10</a:t>
            </a:fld>
            <a:endParaRPr lang="en-GB"/>
          </a:p>
        </p:txBody>
      </p:sp>
      <p:sp>
        <p:nvSpPr>
          <p:cNvPr id="8" name="Title 2">
            <a:extLst>
              <a:ext uri="{FF2B5EF4-FFF2-40B4-BE49-F238E27FC236}">
                <a16:creationId xmlns:a16="http://schemas.microsoft.com/office/drawing/2014/main" id="{428581B1-6622-DBD7-7E9D-23C630410388}"/>
              </a:ext>
            </a:extLst>
          </p:cNvPr>
          <p:cNvSpPr>
            <a:spLocks noGrp="1"/>
          </p:cNvSpPr>
          <p:nvPr>
            <p:ph type="title"/>
          </p:nvPr>
        </p:nvSpPr>
        <p:spPr>
          <a:xfrm>
            <a:off x="740228" y="195468"/>
            <a:ext cx="7315026" cy="738909"/>
          </a:xfrm>
        </p:spPr>
        <p:txBody>
          <a:bodyPr>
            <a:normAutofit/>
          </a:bodyPr>
          <a:lstStyle/>
          <a:p>
            <a:pPr algn="ctr"/>
            <a:r>
              <a:rPr lang="pl-PL" b="1" dirty="0">
                <a:solidFill>
                  <a:schemeClr val="tx1"/>
                </a:solidFill>
              </a:rPr>
              <a:t>Katowice - </a:t>
            </a:r>
            <a:r>
              <a:rPr lang="pl-PL" b="1" dirty="0" err="1">
                <a:solidFill>
                  <a:schemeClr val="tx1"/>
                </a:solidFill>
              </a:rPr>
              <a:t>overview</a:t>
            </a:r>
            <a:endParaRPr lang="en-US" b="1" dirty="0">
              <a:solidFill>
                <a:schemeClr val="tx1"/>
              </a:solidFill>
            </a:endParaRPr>
          </a:p>
        </p:txBody>
      </p:sp>
      <p:graphicFrame>
        <p:nvGraphicFramePr>
          <p:cNvPr id="3" name="Tabela 2">
            <a:extLst>
              <a:ext uri="{FF2B5EF4-FFF2-40B4-BE49-F238E27FC236}">
                <a16:creationId xmlns:a16="http://schemas.microsoft.com/office/drawing/2014/main" id="{FAFF1F51-0552-338A-B126-999B21E96F4A}"/>
              </a:ext>
            </a:extLst>
          </p:cNvPr>
          <p:cNvGraphicFramePr>
            <a:graphicFrameLocks noGrp="1"/>
          </p:cNvGraphicFramePr>
          <p:nvPr>
            <p:extLst>
              <p:ext uri="{D42A27DB-BD31-4B8C-83A1-F6EECF244321}">
                <p14:modId xmlns:p14="http://schemas.microsoft.com/office/powerpoint/2010/main" val="1300741189"/>
              </p:ext>
            </p:extLst>
          </p:nvPr>
        </p:nvGraphicFramePr>
        <p:xfrm>
          <a:off x="677688" y="1102461"/>
          <a:ext cx="8596314" cy="1340171"/>
        </p:xfrm>
        <a:graphic>
          <a:graphicData uri="http://schemas.openxmlformats.org/drawingml/2006/table">
            <a:tbl>
              <a:tblPr/>
              <a:tblGrid>
                <a:gridCol w="620240">
                  <a:extLst>
                    <a:ext uri="{9D8B030D-6E8A-4147-A177-3AD203B41FA5}">
                      <a16:colId xmlns:a16="http://schemas.microsoft.com/office/drawing/2014/main" val="2995044273"/>
                    </a:ext>
                  </a:extLst>
                </a:gridCol>
                <a:gridCol w="859631">
                  <a:extLst>
                    <a:ext uri="{9D8B030D-6E8A-4147-A177-3AD203B41FA5}">
                      <a16:colId xmlns:a16="http://schemas.microsoft.com/office/drawing/2014/main" val="3586663460"/>
                    </a:ext>
                  </a:extLst>
                </a:gridCol>
                <a:gridCol w="576715">
                  <a:extLst>
                    <a:ext uri="{9D8B030D-6E8A-4147-A177-3AD203B41FA5}">
                      <a16:colId xmlns:a16="http://schemas.microsoft.com/office/drawing/2014/main" val="3329449332"/>
                    </a:ext>
                  </a:extLst>
                </a:gridCol>
                <a:gridCol w="587596">
                  <a:extLst>
                    <a:ext uri="{9D8B030D-6E8A-4147-A177-3AD203B41FA5}">
                      <a16:colId xmlns:a16="http://schemas.microsoft.com/office/drawing/2014/main" val="3612713135"/>
                    </a:ext>
                  </a:extLst>
                </a:gridCol>
                <a:gridCol w="587596">
                  <a:extLst>
                    <a:ext uri="{9D8B030D-6E8A-4147-A177-3AD203B41FA5}">
                      <a16:colId xmlns:a16="http://schemas.microsoft.com/office/drawing/2014/main" val="1318859560"/>
                    </a:ext>
                  </a:extLst>
                </a:gridCol>
                <a:gridCol w="598478">
                  <a:extLst>
                    <a:ext uri="{9D8B030D-6E8A-4147-A177-3AD203B41FA5}">
                      <a16:colId xmlns:a16="http://schemas.microsoft.com/office/drawing/2014/main" val="769792587"/>
                    </a:ext>
                  </a:extLst>
                </a:gridCol>
                <a:gridCol w="598478">
                  <a:extLst>
                    <a:ext uri="{9D8B030D-6E8A-4147-A177-3AD203B41FA5}">
                      <a16:colId xmlns:a16="http://schemas.microsoft.com/office/drawing/2014/main" val="2876244682"/>
                    </a:ext>
                  </a:extLst>
                </a:gridCol>
                <a:gridCol w="696410">
                  <a:extLst>
                    <a:ext uri="{9D8B030D-6E8A-4147-A177-3AD203B41FA5}">
                      <a16:colId xmlns:a16="http://schemas.microsoft.com/office/drawing/2014/main" val="3291539458"/>
                    </a:ext>
                  </a:extLst>
                </a:gridCol>
                <a:gridCol w="598478">
                  <a:extLst>
                    <a:ext uri="{9D8B030D-6E8A-4147-A177-3AD203B41FA5}">
                      <a16:colId xmlns:a16="http://schemas.microsoft.com/office/drawing/2014/main" val="4193726730"/>
                    </a:ext>
                  </a:extLst>
                </a:gridCol>
                <a:gridCol w="598478">
                  <a:extLst>
                    <a:ext uri="{9D8B030D-6E8A-4147-A177-3AD203B41FA5}">
                      <a16:colId xmlns:a16="http://schemas.microsoft.com/office/drawing/2014/main" val="3223261499"/>
                    </a:ext>
                  </a:extLst>
                </a:gridCol>
                <a:gridCol w="554952">
                  <a:extLst>
                    <a:ext uri="{9D8B030D-6E8A-4147-A177-3AD203B41FA5}">
                      <a16:colId xmlns:a16="http://schemas.microsoft.com/office/drawing/2014/main" val="3803314199"/>
                    </a:ext>
                  </a:extLst>
                </a:gridCol>
                <a:gridCol w="554952">
                  <a:extLst>
                    <a:ext uri="{9D8B030D-6E8A-4147-A177-3AD203B41FA5}">
                      <a16:colId xmlns:a16="http://schemas.microsoft.com/office/drawing/2014/main" val="2699425693"/>
                    </a:ext>
                  </a:extLst>
                </a:gridCol>
                <a:gridCol w="511426">
                  <a:extLst>
                    <a:ext uri="{9D8B030D-6E8A-4147-A177-3AD203B41FA5}">
                      <a16:colId xmlns:a16="http://schemas.microsoft.com/office/drawing/2014/main" val="2364795748"/>
                    </a:ext>
                  </a:extLst>
                </a:gridCol>
                <a:gridCol w="652884">
                  <a:extLst>
                    <a:ext uri="{9D8B030D-6E8A-4147-A177-3AD203B41FA5}">
                      <a16:colId xmlns:a16="http://schemas.microsoft.com/office/drawing/2014/main" val="306476099"/>
                    </a:ext>
                  </a:extLst>
                </a:gridCol>
              </a:tblGrid>
              <a:tr h="191453">
                <a:tc>
                  <a:txBody>
                    <a:bodyPr/>
                    <a:lstStyle/>
                    <a:p>
                      <a:pPr algn="ctr" fontAlgn="b"/>
                      <a:r>
                        <a:rPr lang="pl-PL" sz="900" b="1" i="0" u="none" strike="noStrike">
                          <a:solidFill>
                            <a:srgbClr val="000000"/>
                          </a:solidFill>
                          <a:effectLst/>
                          <a:latin typeface="Calibri" panose="020F0502020204030204" pitchFamily="34" charset="0"/>
                        </a:rPr>
                        <a:t>RC</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an</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Feb</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Mar</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Apr</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May</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un</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uly</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Aug</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Sep</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Oct</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Nov</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Dec</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Total</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91452082"/>
                  </a:ext>
                </a:extLst>
              </a:tr>
              <a:tr h="191453">
                <a:tc>
                  <a:txBody>
                    <a:bodyPr/>
                    <a:lstStyle/>
                    <a:p>
                      <a:pPr algn="ctr" fontAlgn="b"/>
                      <a:r>
                        <a:rPr lang="pl-PL" sz="900" b="0" i="0" u="none" strike="noStrike" dirty="0">
                          <a:solidFill>
                            <a:srgbClr val="000000"/>
                          </a:solidFill>
                          <a:effectLst/>
                          <a:latin typeface="Calibri" panose="020F0502020204030204" pitchFamily="34" charset="0"/>
                        </a:rPr>
                        <a:t>Supplier</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9</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5</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1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35</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6576942"/>
                  </a:ext>
                </a:extLst>
              </a:tr>
              <a:tr h="191453">
                <a:tc>
                  <a:txBody>
                    <a:bodyPr/>
                    <a:lstStyle/>
                    <a:p>
                      <a:pPr algn="ctr" fontAlgn="b"/>
                      <a:r>
                        <a:rPr lang="pl-PL" sz="900" b="0" i="0" u="none" strike="noStrike">
                          <a:solidFill>
                            <a:srgbClr val="000000"/>
                          </a:solidFill>
                          <a:effectLst/>
                          <a:latin typeface="Calibri" panose="020F0502020204030204" pitchFamily="34" charset="0"/>
                        </a:rPr>
                        <a:t>Logistics</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6</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2</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5</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7</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3031496"/>
                  </a:ext>
                </a:extLst>
              </a:tr>
              <a:tr h="191453">
                <a:tc>
                  <a:txBody>
                    <a:bodyPr/>
                    <a:lstStyle/>
                    <a:p>
                      <a:pPr algn="ctr" fontAlgn="b"/>
                      <a:r>
                        <a:rPr lang="pl-PL" sz="900" b="0" i="0" u="none" strike="noStrike">
                          <a:solidFill>
                            <a:srgbClr val="000000"/>
                          </a:solidFill>
                          <a:effectLst/>
                          <a:latin typeface="Calibri" panose="020F0502020204030204" pitchFamily="34" charset="0"/>
                        </a:rPr>
                        <a:t>Planning</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1864205"/>
                  </a:ext>
                </a:extLst>
              </a:tr>
              <a:tr h="191453">
                <a:tc>
                  <a:txBody>
                    <a:bodyPr/>
                    <a:lstStyle/>
                    <a:p>
                      <a:pPr algn="ctr" fontAlgn="b"/>
                      <a:r>
                        <a:rPr lang="pl-PL" sz="900" b="0" i="0" u="none" strike="noStrike">
                          <a:solidFill>
                            <a:srgbClr val="000000"/>
                          </a:solidFill>
                          <a:effectLst/>
                          <a:latin typeface="Calibri" panose="020F0502020204030204" pitchFamily="34" charset="0"/>
                        </a:rPr>
                        <a:t>Factory</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2464329"/>
                  </a:ext>
                </a:extLst>
              </a:tr>
              <a:tr h="191453">
                <a:tc>
                  <a:txBody>
                    <a:bodyPr/>
                    <a:lstStyle/>
                    <a:p>
                      <a:pPr algn="ctr" fontAlgn="b"/>
                      <a:r>
                        <a:rPr lang="pl-PL" sz="900" b="0" i="0" u="none" strike="noStrike">
                          <a:solidFill>
                            <a:srgbClr val="000000"/>
                          </a:solidFill>
                          <a:effectLst/>
                          <a:latin typeface="Calibri" panose="020F0502020204030204" pitchFamily="34" charset="0"/>
                        </a:rPr>
                        <a:t>Mixed </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7</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9</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8981263"/>
                  </a:ext>
                </a:extLst>
              </a:tr>
              <a:tr h="191453">
                <a:tc>
                  <a:txBody>
                    <a:bodyPr/>
                    <a:lstStyle/>
                    <a:p>
                      <a:pPr algn="ctr" fontAlgn="b"/>
                      <a:r>
                        <a:rPr lang="pl-PL" sz="900" b="1" i="0" u="none" strike="noStrike" dirty="0">
                          <a:solidFill>
                            <a:srgbClr val="000000"/>
                          </a:solidFill>
                          <a:effectLst/>
                          <a:latin typeface="Calibri" panose="020F0502020204030204" pitchFamily="34" charset="0"/>
                        </a:rPr>
                        <a:t>Total</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6</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2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2</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25</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7</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1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72</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5283764"/>
                  </a:ext>
                </a:extLst>
              </a:tr>
            </a:tbl>
          </a:graphicData>
        </a:graphic>
      </p:graphicFrame>
      <p:pic>
        <p:nvPicPr>
          <p:cNvPr id="5121" name="Picture 1">
            <a:extLst>
              <a:ext uri="{FF2B5EF4-FFF2-40B4-BE49-F238E27FC236}">
                <a16:creationId xmlns:a16="http://schemas.microsoft.com/office/drawing/2014/main" id="{952E4F0B-B1B0-3557-9512-E67488422E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7688" y="2828720"/>
            <a:ext cx="8596314" cy="3276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6036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6078E118-AFDA-4B82-9AA4-C968A2B77F3F}"/>
              </a:ext>
            </a:extLst>
          </p:cNvPr>
          <p:cNvSpPr>
            <a:spLocks noGrp="1"/>
          </p:cNvSpPr>
          <p:nvPr>
            <p:ph type="sldNum" sz="quarter" idx="12"/>
          </p:nvPr>
        </p:nvSpPr>
        <p:spPr/>
        <p:txBody>
          <a:bodyPr/>
          <a:lstStyle/>
          <a:p>
            <a:fld id="{8470F1AB-319E-48AE-9489-D88EBE16142A}" type="slidenum">
              <a:rPr lang="en-GB" smtClean="0"/>
              <a:t>11</a:t>
            </a:fld>
            <a:endParaRPr lang="en-GB"/>
          </a:p>
        </p:txBody>
      </p:sp>
      <p:sp>
        <p:nvSpPr>
          <p:cNvPr id="3" name="Rectangle 1">
            <a:extLst>
              <a:ext uri="{FF2B5EF4-FFF2-40B4-BE49-F238E27FC236}">
                <a16:creationId xmlns:a16="http://schemas.microsoft.com/office/drawing/2014/main" id="{5E64C4A0-2927-BA2F-A5CC-E30D88C2DBFE}"/>
              </a:ext>
            </a:extLst>
          </p:cNvPr>
          <p:cNvSpPr>
            <a:spLocks noChangeArrowheads="1"/>
          </p:cNvSpPr>
          <p:nvPr/>
        </p:nvSpPr>
        <p:spPr bwMode="auto">
          <a:xfrm>
            <a:off x="1404938" y="33242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pl-PL" altLang="pl-P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altLang="pl-PL" sz="1800" b="0" i="0" u="none" strike="noStrike" cap="none" normalizeH="0" baseline="0">
              <a:ln>
                <a:noFill/>
              </a:ln>
              <a:solidFill>
                <a:schemeClr val="tx1"/>
              </a:solidFill>
              <a:effectLst/>
              <a:latin typeface="Arial" panose="020B0604020202020204" pitchFamily="34" charset="0"/>
            </a:endParaRPr>
          </a:p>
        </p:txBody>
      </p:sp>
      <p:sp>
        <p:nvSpPr>
          <p:cNvPr id="6" name="Rectangle 2">
            <a:extLst>
              <a:ext uri="{FF2B5EF4-FFF2-40B4-BE49-F238E27FC236}">
                <a16:creationId xmlns:a16="http://schemas.microsoft.com/office/drawing/2014/main" id="{A1D14C59-29BB-CFD9-03BF-D0E82D3BA16C}"/>
              </a:ext>
            </a:extLst>
          </p:cNvPr>
          <p:cNvSpPr>
            <a:spLocks noChangeArrowheads="1"/>
          </p:cNvSpPr>
          <p:nvPr/>
        </p:nvSpPr>
        <p:spPr bwMode="auto">
          <a:xfrm>
            <a:off x="1350963" y="37131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pl-PL" altLang="pl-P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altLang="pl-PL" sz="1800" b="0" i="0" u="none" strike="noStrike" cap="none" normalizeH="0" baseline="0">
              <a:ln>
                <a:noFill/>
              </a:ln>
              <a:solidFill>
                <a:schemeClr val="tx1"/>
              </a:solidFill>
              <a:effectLst/>
              <a:latin typeface="Arial" panose="020B0604020202020204" pitchFamily="34" charset="0"/>
            </a:endParaRPr>
          </a:p>
        </p:txBody>
      </p:sp>
      <p:sp>
        <p:nvSpPr>
          <p:cNvPr id="7" name="Title 2">
            <a:extLst>
              <a:ext uri="{FF2B5EF4-FFF2-40B4-BE49-F238E27FC236}">
                <a16:creationId xmlns:a16="http://schemas.microsoft.com/office/drawing/2014/main" id="{4C1EF758-9E79-8D15-F80A-6160392A0F27}"/>
              </a:ext>
            </a:extLst>
          </p:cNvPr>
          <p:cNvSpPr>
            <a:spLocks noGrp="1"/>
          </p:cNvSpPr>
          <p:nvPr>
            <p:ph type="title"/>
          </p:nvPr>
        </p:nvSpPr>
        <p:spPr>
          <a:xfrm>
            <a:off x="-338106" y="257118"/>
            <a:ext cx="9933014" cy="738909"/>
          </a:xfrm>
        </p:spPr>
        <p:txBody>
          <a:bodyPr>
            <a:normAutofit/>
          </a:bodyPr>
          <a:lstStyle/>
          <a:p>
            <a:pPr algn="ctr"/>
            <a:r>
              <a:rPr lang="pl-PL" b="1" dirty="0">
                <a:solidFill>
                  <a:schemeClr val="tx1"/>
                </a:solidFill>
              </a:rPr>
              <a:t>RP Katowice</a:t>
            </a:r>
            <a:endParaRPr lang="en-US" b="1" dirty="0">
              <a:solidFill>
                <a:schemeClr val="tx1"/>
              </a:solidFill>
            </a:endParaRPr>
          </a:p>
        </p:txBody>
      </p:sp>
      <p:graphicFrame>
        <p:nvGraphicFramePr>
          <p:cNvPr id="8" name="Wykres 7">
            <a:extLst>
              <a:ext uri="{FF2B5EF4-FFF2-40B4-BE49-F238E27FC236}">
                <a16:creationId xmlns:a16="http://schemas.microsoft.com/office/drawing/2014/main" id="{CF4F7C90-4715-2E20-CD60-7EF7DFC68B69}"/>
              </a:ext>
              <a:ext uri="{147F2762-F138-4A5C-976F-8EAC2B608ADB}">
                <a16:predDERef xmlns:a16="http://schemas.microsoft.com/office/drawing/2014/main" pred="{DE14E2B0-2E28-BC18-64EA-78885DE2DF44}"/>
              </a:ext>
            </a:extLst>
          </p:cNvPr>
          <p:cNvGraphicFramePr>
            <a:graphicFrameLocks/>
          </p:cNvGraphicFramePr>
          <p:nvPr>
            <p:extLst>
              <p:ext uri="{D42A27DB-BD31-4B8C-83A1-F6EECF244321}">
                <p14:modId xmlns:p14="http://schemas.microsoft.com/office/powerpoint/2010/main" val="2888063826"/>
              </p:ext>
            </p:extLst>
          </p:nvPr>
        </p:nvGraphicFramePr>
        <p:xfrm>
          <a:off x="824109" y="2477165"/>
          <a:ext cx="8301232" cy="31660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ela 9">
            <a:extLst>
              <a:ext uri="{FF2B5EF4-FFF2-40B4-BE49-F238E27FC236}">
                <a16:creationId xmlns:a16="http://schemas.microsoft.com/office/drawing/2014/main" id="{9F298BDF-4550-6DD0-D7A7-0BA2D0F50F00}"/>
              </a:ext>
            </a:extLst>
          </p:cNvPr>
          <p:cNvGraphicFramePr>
            <a:graphicFrameLocks noGrp="1"/>
          </p:cNvGraphicFramePr>
          <p:nvPr>
            <p:extLst>
              <p:ext uri="{D42A27DB-BD31-4B8C-83A1-F6EECF244321}">
                <p14:modId xmlns:p14="http://schemas.microsoft.com/office/powerpoint/2010/main" val="876804228"/>
              </p:ext>
            </p:extLst>
          </p:nvPr>
        </p:nvGraphicFramePr>
        <p:xfrm>
          <a:off x="824107" y="1113043"/>
          <a:ext cx="8301234" cy="925555"/>
        </p:xfrm>
        <a:graphic>
          <a:graphicData uri="http://schemas.openxmlformats.org/drawingml/2006/table">
            <a:tbl>
              <a:tblPr/>
              <a:tblGrid>
                <a:gridCol w="1098357">
                  <a:extLst>
                    <a:ext uri="{9D8B030D-6E8A-4147-A177-3AD203B41FA5}">
                      <a16:colId xmlns:a16="http://schemas.microsoft.com/office/drawing/2014/main" val="673980835"/>
                    </a:ext>
                  </a:extLst>
                </a:gridCol>
                <a:gridCol w="694100">
                  <a:extLst>
                    <a:ext uri="{9D8B030D-6E8A-4147-A177-3AD203B41FA5}">
                      <a16:colId xmlns:a16="http://schemas.microsoft.com/office/drawing/2014/main" val="3618456629"/>
                    </a:ext>
                  </a:extLst>
                </a:gridCol>
                <a:gridCol w="722067">
                  <a:extLst>
                    <a:ext uri="{9D8B030D-6E8A-4147-A177-3AD203B41FA5}">
                      <a16:colId xmlns:a16="http://schemas.microsoft.com/office/drawing/2014/main" val="2478770456"/>
                    </a:ext>
                  </a:extLst>
                </a:gridCol>
                <a:gridCol w="610198">
                  <a:extLst>
                    <a:ext uri="{9D8B030D-6E8A-4147-A177-3AD203B41FA5}">
                      <a16:colId xmlns:a16="http://schemas.microsoft.com/office/drawing/2014/main" val="2267185125"/>
                    </a:ext>
                  </a:extLst>
                </a:gridCol>
                <a:gridCol w="589858">
                  <a:extLst>
                    <a:ext uri="{9D8B030D-6E8A-4147-A177-3AD203B41FA5}">
                      <a16:colId xmlns:a16="http://schemas.microsoft.com/office/drawing/2014/main" val="3398618527"/>
                    </a:ext>
                  </a:extLst>
                </a:gridCol>
                <a:gridCol w="488158">
                  <a:extLst>
                    <a:ext uri="{9D8B030D-6E8A-4147-A177-3AD203B41FA5}">
                      <a16:colId xmlns:a16="http://schemas.microsoft.com/office/drawing/2014/main" val="2160383103"/>
                    </a:ext>
                  </a:extLst>
                </a:gridCol>
                <a:gridCol w="488158">
                  <a:extLst>
                    <a:ext uri="{9D8B030D-6E8A-4147-A177-3AD203B41FA5}">
                      <a16:colId xmlns:a16="http://schemas.microsoft.com/office/drawing/2014/main" val="3061604217"/>
                    </a:ext>
                  </a:extLst>
                </a:gridCol>
                <a:gridCol w="488158">
                  <a:extLst>
                    <a:ext uri="{9D8B030D-6E8A-4147-A177-3AD203B41FA5}">
                      <a16:colId xmlns:a16="http://schemas.microsoft.com/office/drawing/2014/main" val="1800401170"/>
                    </a:ext>
                  </a:extLst>
                </a:gridCol>
                <a:gridCol w="569519">
                  <a:extLst>
                    <a:ext uri="{9D8B030D-6E8A-4147-A177-3AD203B41FA5}">
                      <a16:colId xmlns:a16="http://schemas.microsoft.com/office/drawing/2014/main" val="1950582983"/>
                    </a:ext>
                  </a:extLst>
                </a:gridCol>
                <a:gridCol w="579688">
                  <a:extLst>
                    <a:ext uri="{9D8B030D-6E8A-4147-A177-3AD203B41FA5}">
                      <a16:colId xmlns:a16="http://schemas.microsoft.com/office/drawing/2014/main" val="3982124243"/>
                    </a:ext>
                  </a:extLst>
                </a:gridCol>
                <a:gridCol w="488158">
                  <a:extLst>
                    <a:ext uri="{9D8B030D-6E8A-4147-A177-3AD203B41FA5}">
                      <a16:colId xmlns:a16="http://schemas.microsoft.com/office/drawing/2014/main" val="3448906004"/>
                    </a:ext>
                  </a:extLst>
                </a:gridCol>
                <a:gridCol w="508499">
                  <a:extLst>
                    <a:ext uri="{9D8B030D-6E8A-4147-A177-3AD203B41FA5}">
                      <a16:colId xmlns:a16="http://schemas.microsoft.com/office/drawing/2014/main" val="3082421848"/>
                    </a:ext>
                  </a:extLst>
                </a:gridCol>
                <a:gridCol w="488158">
                  <a:extLst>
                    <a:ext uri="{9D8B030D-6E8A-4147-A177-3AD203B41FA5}">
                      <a16:colId xmlns:a16="http://schemas.microsoft.com/office/drawing/2014/main" val="3481446281"/>
                    </a:ext>
                  </a:extLst>
                </a:gridCol>
                <a:gridCol w="488158">
                  <a:extLst>
                    <a:ext uri="{9D8B030D-6E8A-4147-A177-3AD203B41FA5}">
                      <a16:colId xmlns:a16="http://schemas.microsoft.com/office/drawing/2014/main" val="450718059"/>
                    </a:ext>
                  </a:extLst>
                </a:gridCol>
              </a:tblGrid>
              <a:tr h="185111">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RC</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Jan</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Feb</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Ma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Ap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May</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Jun</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July</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Aug</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Sep</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Oct</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Nov</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Dec</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Tota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987723441"/>
                  </a:ext>
                </a:extLst>
              </a:tr>
              <a:tr h="185111">
                <a:tc>
                  <a:txBody>
                    <a:bodyPr/>
                    <a:lstStyle/>
                    <a:p>
                      <a:pPr algn="ctr" fontAlgn="b"/>
                      <a:r>
                        <a:rPr lang="pl-PL" sz="900" b="0" i="0" u="none" strike="noStrike">
                          <a:solidFill>
                            <a:srgbClr val="000000"/>
                          </a:solidFill>
                          <a:effectLst/>
                          <a:latin typeface="Calibri" panose="020F0502020204030204" pitchFamily="34" charset="0"/>
                        </a:rPr>
                        <a:t>Logistics</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5</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1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16</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498957"/>
                  </a:ext>
                </a:extLst>
              </a:tr>
              <a:tr h="185111">
                <a:tc>
                  <a:txBody>
                    <a:bodyPr/>
                    <a:lstStyle/>
                    <a:p>
                      <a:pPr algn="ctr" fontAlgn="b"/>
                      <a:r>
                        <a:rPr lang="pl-PL" sz="900" b="0" i="0" u="none" strike="noStrike">
                          <a:solidFill>
                            <a:srgbClr val="000000"/>
                          </a:solidFill>
                          <a:effectLst/>
                          <a:latin typeface="Calibri" panose="020F0502020204030204" pitchFamily="34" charset="0"/>
                        </a:rPr>
                        <a:t>Supplie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7</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7</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8443290"/>
                  </a:ext>
                </a:extLst>
              </a:tr>
              <a:tr h="185111">
                <a:tc>
                  <a:txBody>
                    <a:bodyPr/>
                    <a:lstStyle/>
                    <a:p>
                      <a:pPr algn="ctr" fontAlgn="b"/>
                      <a:r>
                        <a:rPr lang="pl-PL" sz="900" b="0" i="0" u="none" strike="noStrike">
                          <a:solidFill>
                            <a:srgbClr val="000000"/>
                          </a:solidFill>
                          <a:effectLst/>
                          <a:latin typeface="Calibri" panose="020F0502020204030204" pitchFamily="34" charset="0"/>
                        </a:rPr>
                        <a:t>Mixed</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7</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9</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0375366"/>
                  </a:ext>
                </a:extLst>
              </a:tr>
              <a:tr h="185111">
                <a:tc>
                  <a:txBody>
                    <a:bodyPr/>
                    <a:lstStyle/>
                    <a:p>
                      <a:pPr algn="ctr" fontAlgn="b"/>
                      <a:r>
                        <a:rPr lang="pl-PL" sz="900" b="1" i="0" u="none" strike="noStrike">
                          <a:solidFill>
                            <a:srgbClr val="000000"/>
                          </a:solidFill>
                          <a:effectLst/>
                          <a:latin typeface="Calibri" panose="020F0502020204030204" pitchFamily="34" charset="0"/>
                        </a:rPr>
                        <a:t>Tota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5</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8</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9</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3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2877235"/>
                  </a:ext>
                </a:extLst>
              </a:tr>
            </a:tbl>
          </a:graphicData>
        </a:graphic>
      </p:graphicFrame>
    </p:spTree>
    <p:extLst>
      <p:ext uri="{BB962C8B-B14F-4D97-AF65-F5344CB8AC3E}">
        <p14:creationId xmlns:p14="http://schemas.microsoft.com/office/powerpoint/2010/main" val="8760680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7C51DB09-FD05-E2FD-9EBE-071B0CE0F90E}"/>
              </a:ext>
            </a:extLst>
          </p:cNvPr>
          <p:cNvSpPr>
            <a:spLocks noGrp="1"/>
          </p:cNvSpPr>
          <p:nvPr>
            <p:ph type="sldNum" sz="quarter" idx="12"/>
          </p:nvPr>
        </p:nvSpPr>
        <p:spPr/>
        <p:txBody>
          <a:bodyPr/>
          <a:lstStyle/>
          <a:p>
            <a:fld id="{8470F1AB-319E-48AE-9489-D88EBE16142A}" type="slidenum">
              <a:rPr lang="en-GB" smtClean="0"/>
              <a:t>12</a:t>
            </a:fld>
            <a:endParaRPr lang="en-GB"/>
          </a:p>
        </p:txBody>
      </p:sp>
      <p:sp>
        <p:nvSpPr>
          <p:cNvPr id="8" name="Title 2">
            <a:extLst>
              <a:ext uri="{FF2B5EF4-FFF2-40B4-BE49-F238E27FC236}">
                <a16:creationId xmlns:a16="http://schemas.microsoft.com/office/drawing/2014/main" id="{419BCDCE-B21A-C49D-15F2-BF9E1673F0EC}"/>
              </a:ext>
            </a:extLst>
          </p:cNvPr>
          <p:cNvSpPr>
            <a:spLocks noGrp="1"/>
          </p:cNvSpPr>
          <p:nvPr>
            <p:ph type="title"/>
          </p:nvPr>
        </p:nvSpPr>
        <p:spPr>
          <a:xfrm>
            <a:off x="-338106" y="257118"/>
            <a:ext cx="9933014" cy="738909"/>
          </a:xfrm>
        </p:spPr>
        <p:txBody>
          <a:bodyPr>
            <a:normAutofit/>
          </a:bodyPr>
          <a:lstStyle/>
          <a:p>
            <a:pPr algn="ctr"/>
            <a:r>
              <a:rPr lang="pl-PL" b="1" dirty="0">
                <a:solidFill>
                  <a:schemeClr val="tx1"/>
                </a:solidFill>
              </a:rPr>
              <a:t>RP Katowice</a:t>
            </a:r>
            <a:endParaRPr lang="en-US" b="1" dirty="0">
              <a:solidFill>
                <a:schemeClr val="tx1"/>
              </a:solidFill>
            </a:endParaRPr>
          </a:p>
        </p:txBody>
      </p:sp>
      <p:sp>
        <p:nvSpPr>
          <p:cNvPr id="9" name="Title 2">
            <a:extLst>
              <a:ext uri="{FF2B5EF4-FFF2-40B4-BE49-F238E27FC236}">
                <a16:creationId xmlns:a16="http://schemas.microsoft.com/office/drawing/2014/main" id="{06D464E9-CEB9-0454-B25D-7ECE1818FBF3}"/>
              </a:ext>
            </a:extLst>
          </p:cNvPr>
          <p:cNvSpPr txBox="1">
            <a:spLocks/>
          </p:cNvSpPr>
          <p:nvPr/>
        </p:nvSpPr>
        <p:spPr>
          <a:xfrm>
            <a:off x="-2288852" y="1337655"/>
            <a:ext cx="9933014" cy="738909"/>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pl-PL" sz="2000" b="1" dirty="0">
                <a:solidFill>
                  <a:schemeClr val="tx1"/>
                </a:solidFill>
              </a:rPr>
              <a:t>Logistics:</a:t>
            </a:r>
          </a:p>
          <a:p>
            <a:pPr algn="ctr"/>
            <a:endParaRPr lang="pl-PL" sz="2000" b="1" dirty="0">
              <a:solidFill>
                <a:schemeClr val="tx1"/>
              </a:solidFill>
            </a:endParaRPr>
          </a:p>
        </p:txBody>
      </p:sp>
      <p:sp>
        <p:nvSpPr>
          <p:cNvPr id="11" name="Title 2">
            <a:extLst>
              <a:ext uri="{FF2B5EF4-FFF2-40B4-BE49-F238E27FC236}">
                <a16:creationId xmlns:a16="http://schemas.microsoft.com/office/drawing/2014/main" id="{B1ABAC40-BD2A-6284-5AED-401486D18FD2}"/>
              </a:ext>
            </a:extLst>
          </p:cNvPr>
          <p:cNvSpPr txBox="1">
            <a:spLocks/>
          </p:cNvSpPr>
          <p:nvPr/>
        </p:nvSpPr>
        <p:spPr>
          <a:xfrm>
            <a:off x="549598" y="1693196"/>
            <a:ext cx="9933014" cy="738909"/>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pl-PL" sz="2000" b="1" dirty="0">
                <a:solidFill>
                  <a:schemeClr val="tx1"/>
                </a:solidFill>
              </a:rPr>
              <a:t>- 5 </a:t>
            </a:r>
            <a:r>
              <a:rPr lang="pl-PL" sz="2000" b="1" dirty="0" err="1">
                <a:solidFill>
                  <a:schemeClr val="tx1"/>
                </a:solidFill>
              </a:rPr>
              <a:t>orders</a:t>
            </a:r>
            <a:r>
              <a:rPr lang="pl-PL" sz="2000" b="1" dirty="0">
                <a:solidFill>
                  <a:schemeClr val="tx1"/>
                </a:solidFill>
              </a:rPr>
              <a:t> </a:t>
            </a:r>
            <a:r>
              <a:rPr lang="pl-PL" sz="2000" b="1" dirty="0" err="1">
                <a:solidFill>
                  <a:schemeClr val="tx1"/>
                </a:solidFill>
              </a:rPr>
              <a:t>didn’t</a:t>
            </a:r>
            <a:r>
              <a:rPr lang="pl-PL" sz="2000" b="1" dirty="0">
                <a:solidFill>
                  <a:schemeClr val="tx1"/>
                </a:solidFill>
              </a:rPr>
              <a:t> </a:t>
            </a:r>
            <a:r>
              <a:rPr lang="pl-PL" sz="2000" b="1" dirty="0" err="1">
                <a:solidFill>
                  <a:schemeClr val="tx1"/>
                </a:solidFill>
              </a:rPr>
              <a:t>load</a:t>
            </a:r>
            <a:r>
              <a:rPr lang="pl-PL" sz="2000" b="1" dirty="0">
                <a:solidFill>
                  <a:schemeClr val="tx1"/>
                </a:solidFill>
              </a:rPr>
              <a:t> on </a:t>
            </a:r>
            <a:r>
              <a:rPr lang="pl-PL" sz="2000" b="1" dirty="0" err="1">
                <a:solidFill>
                  <a:schemeClr val="tx1"/>
                </a:solidFill>
              </a:rPr>
              <a:t>time</a:t>
            </a:r>
            <a:r>
              <a:rPr lang="pl-PL" sz="2000" b="1" dirty="0">
                <a:solidFill>
                  <a:schemeClr val="tx1"/>
                </a:solidFill>
              </a:rPr>
              <a:t> (</a:t>
            </a:r>
            <a:r>
              <a:rPr lang="pl-PL" sz="2000" b="1" dirty="0" err="1">
                <a:solidFill>
                  <a:schemeClr val="tx1"/>
                </a:solidFill>
              </a:rPr>
              <a:t>explanation</a:t>
            </a:r>
            <a:r>
              <a:rPr lang="pl-PL" sz="2000" b="1" dirty="0">
                <a:solidFill>
                  <a:schemeClr val="tx1"/>
                </a:solidFill>
              </a:rPr>
              <a:t> not </a:t>
            </a:r>
            <a:r>
              <a:rPr lang="pl-PL" sz="2000" b="1" dirty="0" err="1">
                <a:solidFill>
                  <a:schemeClr val="tx1"/>
                </a:solidFill>
              </a:rPr>
              <a:t>clear</a:t>
            </a:r>
            <a:r>
              <a:rPr lang="pl-PL" sz="2000" b="1" dirty="0">
                <a:solidFill>
                  <a:schemeClr val="tx1"/>
                </a:solidFill>
              </a:rPr>
              <a:t>)</a:t>
            </a:r>
          </a:p>
        </p:txBody>
      </p:sp>
      <p:sp>
        <p:nvSpPr>
          <p:cNvPr id="12" name="Title 2">
            <a:extLst>
              <a:ext uri="{FF2B5EF4-FFF2-40B4-BE49-F238E27FC236}">
                <a16:creationId xmlns:a16="http://schemas.microsoft.com/office/drawing/2014/main" id="{949210C2-CCD9-6148-BB11-E1FFEBBA1A34}"/>
              </a:ext>
            </a:extLst>
          </p:cNvPr>
          <p:cNvSpPr txBox="1">
            <a:spLocks/>
          </p:cNvSpPr>
          <p:nvPr/>
        </p:nvSpPr>
        <p:spPr>
          <a:xfrm>
            <a:off x="606748" y="2048737"/>
            <a:ext cx="9933014" cy="738909"/>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pl-PL" sz="2000" b="1" dirty="0">
                <a:solidFill>
                  <a:schemeClr val="tx1"/>
                </a:solidFill>
              </a:rPr>
              <a:t>- 11 </a:t>
            </a:r>
            <a:r>
              <a:rPr lang="pl-PL" sz="2000" b="1" dirty="0" err="1">
                <a:solidFill>
                  <a:schemeClr val="tx1"/>
                </a:solidFill>
              </a:rPr>
              <a:t>orders</a:t>
            </a:r>
            <a:r>
              <a:rPr lang="pl-PL" sz="2000" b="1" dirty="0">
                <a:solidFill>
                  <a:schemeClr val="tx1"/>
                </a:solidFill>
              </a:rPr>
              <a:t> </a:t>
            </a:r>
            <a:r>
              <a:rPr lang="pl-PL" sz="2000" b="1" dirty="0" err="1">
                <a:solidFill>
                  <a:schemeClr val="tx1"/>
                </a:solidFill>
              </a:rPr>
              <a:t>didn’t</a:t>
            </a:r>
            <a:r>
              <a:rPr lang="pl-PL" sz="2000" b="1" dirty="0">
                <a:solidFill>
                  <a:schemeClr val="tx1"/>
                </a:solidFill>
              </a:rPr>
              <a:t> </a:t>
            </a:r>
            <a:r>
              <a:rPr lang="pl-PL" sz="2000" b="1" dirty="0" err="1">
                <a:solidFill>
                  <a:schemeClr val="tx1"/>
                </a:solidFill>
              </a:rPr>
              <a:t>arrive</a:t>
            </a:r>
            <a:r>
              <a:rPr lang="pl-PL" sz="2000" b="1" dirty="0">
                <a:solidFill>
                  <a:schemeClr val="tx1"/>
                </a:solidFill>
              </a:rPr>
              <a:t> on </a:t>
            </a:r>
            <a:r>
              <a:rPr lang="pl-PL" sz="2000" b="1" dirty="0" err="1">
                <a:solidFill>
                  <a:schemeClr val="tx1"/>
                </a:solidFill>
              </a:rPr>
              <a:t>time</a:t>
            </a:r>
            <a:r>
              <a:rPr lang="pl-PL" sz="2000" b="1" dirty="0">
                <a:solidFill>
                  <a:schemeClr val="tx1"/>
                </a:solidFill>
              </a:rPr>
              <a:t> </a:t>
            </a:r>
            <a:r>
              <a:rPr lang="pl-PL" sz="2000" b="1" dirty="0" err="1">
                <a:solidFill>
                  <a:schemeClr val="tx1"/>
                </a:solidFill>
              </a:rPr>
              <a:t>due</a:t>
            </a:r>
            <a:r>
              <a:rPr lang="pl-PL" sz="2000" b="1" dirty="0">
                <a:solidFill>
                  <a:schemeClr val="tx1"/>
                </a:solidFill>
              </a:rPr>
              <a:t> to </a:t>
            </a:r>
            <a:r>
              <a:rPr lang="pl-PL" sz="2000" b="1" dirty="0" err="1">
                <a:solidFill>
                  <a:schemeClr val="tx1"/>
                </a:solidFill>
              </a:rPr>
              <a:t>farmers</a:t>
            </a:r>
            <a:r>
              <a:rPr lang="pl-PL" sz="2000" b="1" dirty="0">
                <a:solidFill>
                  <a:schemeClr val="tx1"/>
                </a:solidFill>
              </a:rPr>
              <a:t> </a:t>
            </a:r>
            <a:r>
              <a:rPr lang="pl-PL" sz="2000" b="1" dirty="0" err="1">
                <a:solidFill>
                  <a:schemeClr val="tx1"/>
                </a:solidFill>
              </a:rPr>
              <a:t>strike</a:t>
            </a:r>
            <a:endParaRPr lang="pl-PL" sz="2000" b="1" dirty="0">
              <a:solidFill>
                <a:schemeClr val="tx1"/>
              </a:solidFill>
            </a:endParaRPr>
          </a:p>
        </p:txBody>
      </p:sp>
      <p:sp>
        <p:nvSpPr>
          <p:cNvPr id="13" name="Title 2">
            <a:extLst>
              <a:ext uri="{FF2B5EF4-FFF2-40B4-BE49-F238E27FC236}">
                <a16:creationId xmlns:a16="http://schemas.microsoft.com/office/drawing/2014/main" id="{72EDE5C4-83F8-B5F6-2920-14C21CA5076D}"/>
              </a:ext>
            </a:extLst>
          </p:cNvPr>
          <p:cNvSpPr txBox="1">
            <a:spLocks/>
          </p:cNvSpPr>
          <p:nvPr/>
        </p:nvSpPr>
        <p:spPr>
          <a:xfrm>
            <a:off x="-2288852" y="2595058"/>
            <a:ext cx="9933014" cy="738909"/>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pl-PL" sz="2000" b="1" dirty="0">
                <a:solidFill>
                  <a:schemeClr val="tx1"/>
                </a:solidFill>
              </a:rPr>
              <a:t>Supplier:</a:t>
            </a:r>
          </a:p>
          <a:p>
            <a:pPr algn="ctr"/>
            <a:endParaRPr lang="pl-PL" sz="2000" b="1" dirty="0">
              <a:solidFill>
                <a:schemeClr val="tx1"/>
              </a:solidFill>
            </a:endParaRPr>
          </a:p>
        </p:txBody>
      </p:sp>
      <p:sp>
        <p:nvSpPr>
          <p:cNvPr id="14" name="Title 2">
            <a:extLst>
              <a:ext uri="{FF2B5EF4-FFF2-40B4-BE49-F238E27FC236}">
                <a16:creationId xmlns:a16="http://schemas.microsoft.com/office/drawing/2014/main" id="{AA36FB9B-7DC6-345B-10A0-A2D9C7051FA8}"/>
              </a:ext>
            </a:extLst>
          </p:cNvPr>
          <p:cNvSpPr txBox="1">
            <a:spLocks/>
          </p:cNvSpPr>
          <p:nvPr/>
        </p:nvSpPr>
        <p:spPr>
          <a:xfrm>
            <a:off x="549598" y="3059545"/>
            <a:ext cx="9933014" cy="738909"/>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pl-PL" sz="2000" b="1" dirty="0">
                <a:solidFill>
                  <a:schemeClr val="tx1"/>
                </a:solidFill>
              </a:rPr>
              <a:t>- 6 </a:t>
            </a:r>
            <a:r>
              <a:rPr lang="pl-PL" sz="2000" b="1" dirty="0" err="1">
                <a:solidFill>
                  <a:schemeClr val="tx1"/>
                </a:solidFill>
              </a:rPr>
              <a:t>orders</a:t>
            </a:r>
            <a:r>
              <a:rPr lang="pl-PL" sz="2000" b="1" dirty="0">
                <a:solidFill>
                  <a:schemeClr val="tx1"/>
                </a:solidFill>
              </a:rPr>
              <a:t> </a:t>
            </a:r>
            <a:r>
              <a:rPr lang="pl-PL" sz="2000" b="1" dirty="0" err="1">
                <a:solidFill>
                  <a:schemeClr val="tx1"/>
                </a:solidFill>
              </a:rPr>
              <a:t>haven’t</a:t>
            </a:r>
            <a:r>
              <a:rPr lang="pl-PL" sz="2000" b="1" dirty="0">
                <a:solidFill>
                  <a:schemeClr val="tx1"/>
                </a:solidFill>
              </a:rPr>
              <a:t> </a:t>
            </a:r>
            <a:r>
              <a:rPr lang="pl-PL" sz="2000" b="1" dirty="0" err="1">
                <a:solidFill>
                  <a:schemeClr val="tx1"/>
                </a:solidFill>
              </a:rPr>
              <a:t>been</a:t>
            </a:r>
            <a:r>
              <a:rPr lang="pl-PL" sz="2000" b="1" dirty="0">
                <a:solidFill>
                  <a:schemeClr val="tx1"/>
                </a:solidFill>
              </a:rPr>
              <a:t> </a:t>
            </a:r>
            <a:r>
              <a:rPr lang="pl-PL" sz="2000" b="1" dirty="0" err="1">
                <a:solidFill>
                  <a:schemeClr val="tx1"/>
                </a:solidFill>
              </a:rPr>
              <a:t>loaded</a:t>
            </a:r>
            <a:r>
              <a:rPr lang="pl-PL" sz="2000" b="1" dirty="0">
                <a:solidFill>
                  <a:schemeClr val="tx1"/>
                </a:solidFill>
              </a:rPr>
              <a:t> on </a:t>
            </a:r>
            <a:r>
              <a:rPr lang="pl-PL" sz="2000" b="1" dirty="0" err="1">
                <a:solidFill>
                  <a:schemeClr val="tx1"/>
                </a:solidFill>
              </a:rPr>
              <a:t>time</a:t>
            </a:r>
            <a:r>
              <a:rPr lang="pl-PL" sz="2000" b="1" dirty="0">
                <a:solidFill>
                  <a:schemeClr val="tx1"/>
                </a:solidFill>
              </a:rPr>
              <a:t> (</a:t>
            </a:r>
            <a:r>
              <a:rPr lang="pl-PL" sz="2000" b="1" dirty="0" err="1">
                <a:solidFill>
                  <a:schemeClr val="tx1"/>
                </a:solidFill>
              </a:rPr>
              <a:t>technical</a:t>
            </a:r>
            <a:r>
              <a:rPr lang="pl-PL" sz="2000" b="1" dirty="0">
                <a:solidFill>
                  <a:schemeClr val="tx1"/>
                </a:solidFill>
              </a:rPr>
              <a:t> </a:t>
            </a:r>
            <a:r>
              <a:rPr lang="pl-PL" sz="2000" b="1" dirty="0" err="1">
                <a:solidFill>
                  <a:schemeClr val="tx1"/>
                </a:solidFill>
              </a:rPr>
              <a:t>issue</a:t>
            </a:r>
            <a:r>
              <a:rPr lang="pl-PL" sz="2000" b="1" dirty="0">
                <a:solidFill>
                  <a:schemeClr val="tx1"/>
                </a:solidFill>
              </a:rPr>
              <a:t>)</a:t>
            </a:r>
          </a:p>
        </p:txBody>
      </p:sp>
      <p:sp>
        <p:nvSpPr>
          <p:cNvPr id="15" name="Title 2">
            <a:extLst>
              <a:ext uri="{FF2B5EF4-FFF2-40B4-BE49-F238E27FC236}">
                <a16:creationId xmlns:a16="http://schemas.microsoft.com/office/drawing/2014/main" id="{1193AC5C-4C4C-64AC-1F0C-A30D77B49E50}"/>
              </a:ext>
            </a:extLst>
          </p:cNvPr>
          <p:cNvSpPr txBox="1">
            <a:spLocks/>
          </p:cNvSpPr>
          <p:nvPr/>
        </p:nvSpPr>
        <p:spPr>
          <a:xfrm>
            <a:off x="98748" y="3496920"/>
            <a:ext cx="9933014" cy="738909"/>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pl-PL" sz="2000" b="1" dirty="0">
                <a:solidFill>
                  <a:schemeClr val="tx1"/>
                </a:solidFill>
              </a:rPr>
              <a:t>- 1 order – </a:t>
            </a:r>
            <a:r>
              <a:rPr lang="pl-PL" sz="2000" b="1" dirty="0" err="1">
                <a:solidFill>
                  <a:schemeClr val="tx1"/>
                </a:solidFill>
              </a:rPr>
              <a:t>wrong</a:t>
            </a:r>
            <a:r>
              <a:rPr lang="pl-PL" sz="2000" b="1" dirty="0">
                <a:solidFill>
                  <a:schemeClr val="tx1"/>
                </a:solidFill>
              </a:rPr>
              <a:t> </a:t>
            </a:r>
            <a:r>
              <a:rPr lang="pl-PL" sz="2000" b="1" dirty="0" err="1">
                <a:solidFill>
                  <a:schemeClr val="tx1"/>
                </a:solidFill>
              </a:rPr>
              <a:t>document</a:t>
            </a:r>
            <a:r>
              <a:rPr lang="pl-PL" sz="2000" b="1" dirty="0">
                <a:solidFill>
                  <a:schemeClr val="tx1"/>
                </a:solidFill>
              </a:rPr>
              <a:t>, missing PO </a:t>
            </a:r>
            <a:r>
              <a:rPr lang="pl-PL" sz="2000" b="1" dirty="0" err="1">
                <a:solidFill>
                  <a:schemeClr val="tx1"/>
                </a:solidFill>
              </a:rPr>
              <a:t>number</a:t>
            </a:r>
            <a:endParaRPr lang="pl-PL" sz="2000" b="1" dirty="0">
              <a:solidFill>
                <a:schemeClr val="tx1"/>
              </a:solidFill>
            </a:endParaRPr>
          </a:p>
        </p:txBody>
      </p:sp>
      <p:sp>
        <p:nvSpPr>
          <p:cNvPr id="16" name="Title 2">
            <a:extLst>
              <a:ext uri="{FF2B5EF4-FFF2-40B4-BE49-F238E27FC236}">
                <a16:creationId xmlns:a16="http://schemas.microsoft.com/office/drawing/2014/main" id="{6A1E7F27-71EB-B34D-510D-FBAC3A600873}"/>
              </a:ext>
            </a:extLst>
          </p:cNvPr>
          <p:cNvSpPr txBox="1">
            <a:spLocks/>
          </p:cNvSpPr>
          <p:nvPr/>
        </p:nvSpPr>
        <p:spPr>
          <a:xfrm>
            <a:off x="-2288852" y="4235829"/>
            <a:ext cx="9933014" cy="738909"/>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pl-PL" sz="2000" b="1" dirty="0">
                <a:solidFill>
                  <a:schemeClr val="tx1"/>
                </a:solidFill>
              </a:rPr>
              <a:t>Mixed:</a:t>
            </a:r>
          </a:p>
          <a:p>
            <a:pPr algn="ctr"/>
            <a:endParaRPr lang="pl-PL" sz="2000" b="1" dirty="0">
              <a:solidFill>
                <a:schemeClr val="tx1"/>
              </a:solidFill>
            </a:endParaRPr>
          </a:p>
        </p:txBody>
      </p:sp>
      <p:sp>
        <p:nvSpPr>
          <p:cNvPr id="17" name="Title 2">
            <a:extLst>
              <a:ext uri="{FF2B5EF4-FFF2-40B4-BE49-F238E27FC236}">
                <a16:creationId xmlns:a16="http://schemas.microsoft.com/office/drawing/2014/main" id="{EAD8EB9C-E970-9468-9699-7C64A92C34CD}"/>
              </a:ext>
            </a:extLst>
          </p:cNvPr>
          <p:cNvSpPr txBox="1">
            <a:spLocks/>
          </p:cNvSpPr>
          <p:nvPr/>
        </p:nvSpPr>
        <p:spPr>
          <a:xfrm>
            <a:off x="1254448" y="4700316"/>
            <a:ext cx="9933014" cy="738909"/>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pl-PL" sz="2000" b="1" dirty="0">
                <a:solidFill>
                  <a:schemeClr val="tx1"/>
                </a:solidFill>
              </a:rPr>
              <a:t>- 7 </a:t>
            </a:r>
            <a:r>
              <a:rPr lang="pl-PL" sz="2000" b="1" dirty="0" err="1">
                <a:solidFill>
                  <a:schemeClr val="tx1"/>
                </a:solidFill>
              </a:rPr>
              <a:t>incorrect</a:t>
            </a:r>
            <a:r>
              <a:rPr lang="pl-PL" sz="2000" b="1" dirty="0">
                <a:solidFill>
                  <a:schemeClr val="tx1"/>
                </a:solidFill>
              </a:rPr>
              <a:t> </a:t>
            </a:r>
            <a:r>
              <a:rPr lang="pl-PL" sz="2000" b="1" dirty="0" err="1">
                <a:solidFill>
                  <a:schemeClr val="tx1"/>
                </a:solidFill>
              </a:rPr>
              <a:t>delivery</a:t>
            </a:r>
            <a:r>
              <a:rPr lang="pl-PL" sz="2000" b="1" dirty="0">
                <a:solidFill>
                  <a:schemeClr val="tx1"/>
                </a:solidFill>
              </a:rPr>
              <a:t> </a:t>
            </a:r>
            <a:r>
              <a:rPr lang="pl-PL" sz="2000" b="1" dirty="0" err="1">
                <a:solidFill>
                  <a:schemeClr val="tx1"/>
                </a:solidFill>
              </a:rPr>
              <a:t>date</a:t>
            </a:r>
            <a:r>
              <a:rPr lang="pl-PL" sz="2000" b="1" dirty="0">
                <a:solidFill>
                  <a:schemeClr val="tx1"/>
                </a:solidFill>
              </a:rPr>
              <a:t>/</a:t>
            </a:r>
            <a:r>
              <a:rPr lang="pl-PL" sz="2000" b="1" dirty="0" err="1">
                <a:solidFill>
                  <a:schemeClr val="tx1"/>
                </a:solidFill>
              </a:rPr>
              <a:t>time</a:t>
            </a:r>
            <a:r>
              <a:rPr lang="pl-PL" sz="2000" b="1" dirty="0">
                <a:solidFill>
                  <a:schemeClr val="tx1"/>
                </a:solidFill>
              </a:rPr>
              <a:t> – </a:t>
            </a:r>
            <a:r>
              <a:rPr lang="pl-PL" sz="2000" b="1" dirty="0" err="1">
                <a:solidFill>
                  <a:schemeClr val="tx1"/>
                </a:solidFill>
              </a:rPr>
              <a:t>changed</a:t>
            </a:r>
            <a:r>
              <a:rPr lang="pl-PL" sz="2000" b="1" dirty="0">
                <a:solidFill>
                  <a:schemeClr val="tx1"/>
                </a:solidFill>
              </a:rPr>
              <a:t> by </a:t>
            </a:r>
            <a:r>
              <a:rPr lang="pl-PL" sz="2000" b="1" dirty="0" err="1">
                <a:solidFill>
                  <a:schemeClr val="tx1"/>
                </a:solidFill>
              </a:rPr>
              <a:t>supplier</a:t>
            </a:r>
            <a:r>
              <a:rPr lang="pl-PL" sz="2000" b="1" dirty="0">
                <a:solidFill>
                  <a:schemeClr val="tx1"/>
                </a:solidFill>
              </a:rPr>
              <a:t> plus </a:t>
            </a:r>
            <a:r>
              <a:rPr lang="pl-PL" sz="2000" b="1" dirty="0" err="1">
                <a:solidFill>
                  <a:schemeClr val="tx1"/>
                </a:solidFill>
              </a:rPr>
              <a:t>carrier</a:t>
            </a:r>
            <a:endParaRPr lang="pl-PL" sz="2000" b="1" dirty="0">
              <a:solidFill>
                <a:schemeClr val="tx1"/>
              </a:solidFill>
            </a:endParaRPr>
          </a:p>
        </p:txBody>
      </p:sp>
      <p:sp>
        <p:nvSpPr>
          <p:cNvPr id="18" name="Title 2">
            <a:extLst>
              <a:ext uri="{FF2B5EF4-FFF2-40B4-BE49-F238E27FC236}">
                <a16:creationId xmlns:a16="http://schemas.microsoft.com/office/drawing/2014/main" id="{760EF170-9CAB-EBE0-6B6B-E4D37C62E43D}"/>
              </a:ext>
            </a:extLst>
          </p:cNvPr>
          <p:cNvSpPr txBox="1">
            <a:spLocks/>
          </p:cNvSpPr>
          <p:nvPr/>
        </p:nvSpPr>
        <p:spPr>
          <a:xfrm>
            <a:off x="0" y="5072240"/>
            <a:ext cx="9933014" cy="738909"/>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pl-PL" sz="2000" b="1" dirty="0">
                <a:solidFill>
                  <a:schemeClr val="tx1"/>
                </a:solidFill>
              </a:rPr>
              <a:t>- 2 </a:t>
            </a:r>
            <a:r>
              <a:rPr lang="pl-PL" sz="2000" b="1" dirty="0" err="1">
                <a:solidFill>
                  <a:schemeClr val="tx1"/>
                </a:solidFill>
              </a:rPr>
              <a:t>orders</a:t>
            </a:r>
            <a:r>
              <a:rPr lang="pl-PL" sz="2000" b="1" dirty="0">
                <a:solidFill>
                  <a:schemeClr val="tx1"/>
                </a:solidFill>
              </a:rPr>
              <a:t> – </a:t>
            </a:r>
            <a:r>
              <a:rPr lang="pl-PL" sz="2000" b="1" dirty="0" err="1">
                <a:solidFill>
                  <a:schemeClr val="tx1"/>
                </a:solidFill>
              </a:rPr>
              <a:t>financial</a:t>
            </a:r>
            <a:r>
              <a:rPr lang="pl-PL" sz="2000" b="1" dirty="0">
                <a:solidFill>
                  <a:schemeClr val="tx1"/>
                </a:solidFill>
              </a:rPr>
              <a:t> </a:t>
            </a:r>
            <a:r>
              <a:rPr lang="pl-PL" sz="2000" b="1" dirty="0" err="1">
                <a:solidFill>
                  <a:schemeClr val="tx1"/>
                </a:solidFill>
              </a:rPr>
              <a:t>problems</a:t>
            </a:r>
            <a:r>
              <a:rPr lang="pl-PL" sz="2000" b="1" dirty="0">
                <a:solidFill>
                  <a:schemeClr val="tx1"/>
                </a:solidFill>
              </a:rPr>
              <a:t> with </a:t>
            </a:r>
            <a:r>
              <a:rPr lang="pl-PL" sz="2000" b="1" dirty="0" err="1">
                <a:solidFill>
                  <a:schemeClr val="tx1"/>
                </a:solidFill>
              </a:rPr>
              <a:t>contract</a:t>
            </a:r>
            <a:endParaRPr lang="pl-PL" sz="2000" b="1" dirty="0">
              <a:solidFill>
                <a:schemeClr val="tx1"/>
              </a:solidFill>
            </a:endParaRPr>
          </a:p>
        </p:txBody>
      </p:sp>
    </p:spTree>
    <p:extLst>
      <p:ext uri="{BB962C8B-B14F-4D97-AF65-F5344CB8AC3E}">
        <p14:creationId xmlns:p14="http://schemas.microsoft.com/office/powerpoint/2010/main" val="3922913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F17D3383-144A-8697-3BAE-4AE73FA18014}"/>
              </a:ext>
            </a:extLst>
          </p:cNvPr>
          <p:cNvSpPr>
            <a:spLocks noGrp="1"/>
          </p:cNvSpPr>
          <p:nvPr>
            <p:ph type="sldNum" sz="quarter" idx="12"/>
          </p:nvPr>
        </p:nvSpPr>
        <p:spPr/>
        <p:txBody>
          <a:bodyPr/>
          <a:lstStyle/>
          <a:p>
            <a:fld id="{8470F1AB-319E-48AE-9489-D88EBE16142A}" type="slidenum">
              <a:rPr lang="en-GB" smtClean="0"/>
              <a:t>13</a:t>
            </a:fld>
            <a:endParaRPr lang="en-GB"/>
          </a:p>
        </p:txBody>
      </p:sp>
      <p:sp>
        <p:nvSpPr>
          <p:cNvPr id="8" name="Title 2">
            <a:extLst>
              <a:ext uri="{FF2B5EF4-FFF2-40B4-BE49-F238E27FC236}">
                <a16:creationId xmlns:a16="http://schemas.microsoft.com/office/drawing/2014/main" id="{AB8147C2-88B2-C209-B3BF-59E6D65D34F8}"/>
              </a:ext>
            </a:extLst>
          </p:cNvPr>
          <p:cNvSpPr>
            <a:spLocks noGrp="1"/>
          </p:cNvSpPr>
          <p:nvPr>
            <p:ph type="title"/>
          </p:nvPr>
        </p:nvSpPr>
        <p:spPr>
          <a:xfrm>
            <a:off x="970384" y="156565"/>
            <a:ext cx="7315026" cy="738909"/>
          </a:xfrm>
        </p:spPr>
        <p:txBody>
          <a:bodyPr>
            <a:normAutofit/>
          </a:bodyPr>
          <a:lstStyle/>
          <a:p>
            <a:pPr algn="ctr"/>
            <a:r>
              <a:rPr lang="pl-PL" b="1" dirty="0" err="1">
                <a:solidFill>
                  <a:schemeClr val="tx1"/>
                </a:solidFill>
              </a:rPr>
              <a:t>Pratau</a:t>
            </a:r>
            <a:r>
              <a:rPr lang="pl-PL" b="1" dirty="0">
                <a:solidFill>
                  <a:schemeClr val="tx1"/>
                </a:solidFill>
              </a:rPr>
              <a:t> - </a:t>
            </a:r>
            <a:r>
              <a:rPr lang="pl-PL" b="1" dirty="0" err="1">
                <a:solidFill>
                  <a:schemeClr val="tx1"/>
                </a:solidFill>
              </a:rPr>
              <a:t>overview</a:t>
            </a:r>
            <a:endParaRPr lang="en-US" b="1" dirty="0">
              <a:solidFill>
                <a:schemeClr val="tx1"/>
              </a:solidFill>
            </a:endParaRPr>
          </a:p>
        </p:txBody>
      </p:sp>
      <p:graphicFrame>
        <p:nvGraphicFramePr>
          <p:cNvPr id="3" name="Tabela 2">
            <a:extLst>
              <a:ext uri="{FF2B5EF4-FFF2-40B4-BE49-F238E27FC236}">
                <a16:creationId xmlns:a16="http://schemas.microsoft.com/office/drawing/2014/main" id="{82D766BD-68CD-4108-C749-53D8C9B9A8FD}"/>
              </a:ext>
            </a:extLst>
          </p:cNvPr>
          <p:cNvGraphicFramePr>
            <a:graphicFrameLocks noGrp="1"/>
          </p:cNvGraphicFramePr>
          <p:nvPr>
            <p:extLst>
              <p:ext uri="{D42A27DB-BD31-4B8C-83A1-F6EECF244321}">
                <p14:modId xmlns:p14="http://schemas.microsoft.com/office/powerpoint/2010/main" val="2923571307"/>
              </p:ext>
            </p:extLst>
          </p:nvPr>
        </p:nvGraphicFramePr>
        <p:xfrm>
          <a:off x="626889" y="1145221"/>
          <a:ext cx="8596314" cy="1340171"/>
        </p:xfrm>
        <a:graphic>
          <a:graphicData uri="http://schemas.openxmlformats.org/drawingml/2006/table">
            <a:tbl>
              <a:tblPr/>
              <a:tblGrid>
                <a:gridCol w="620240">
                  <a:extLst>
                    <a:ext uri="{9D8B030D-6E8A-4147-A177-3AD203B41FA5}">
                      <a16:colId xmlns:a16="http://schemas.microsoft.com/office/drawing/2014/main" val="95132921"/>
                    </a:ext>
                  </a:extLst>
                </a:gridCol>
                <a:gridCol w="859631">
                  <a:extLst>
                    <a:ext uri="{9D8B030D-6E8A-4147-A177-3AD203B41FA5}">
                      <a16:colId xmlns:a16="http://schemas.microsoft.com/office/drawing/2014/main" val="4268120921"/>
                    </a:ext>
                  </a:extLst>
                </a:gridCol>
                <a:gridCol w="576715">
                  <a:extLst>
                    <a:ext uri="{9D8B030D-6E8A-4147-A177-3AD203B41FA5}">
                      <a16:colId xmlns:a16="http://schemas.microsoft.com/office/drawing/2014/main" val="2423318688"/>
                    </a:ext>
                  </a:extLst>
                </a:gridCol>
                <a:gridCol w="587596">
                  <a:extLst>
                    <a:ext uri="{9D8B030D-6E8A-4147-A177-3AD203B41FA5}">
                      <a16:colId xmlns:a16="http://schemas.microsoft.com/office/drawing/2014/main" val="1162040734"/>
                    </a:ext>
                  </a:extLst>
                </a:gridCol>
                <a:gridCol w="587596">
                  <a:extLst>
                    <a:ext uri="{9D8B030D-6E8A-4147-A177-3AD203B41FA5}">
                      <a16:colId xmlns:a16="http://schemas.microsoft.com/office/drawing/2014/main" val="1811940684"/>
                    </a:ext>
                  </a:extLst>
                </a:gridCol>
                <a:gridCol w="598478">
                  <a:extLst>
                    <a:ext uri="{9D8B030D-6E8A-4147-A177-3AD203B41FA5}">
                      <a16:colId xmlns:a16="http://schemas.microsoft.com/office/drawing/2014/main" val="3239521671"/>
                    </a:ext>
                  </a:extLst>
                </a:gridCol>
                <a:gridCol w="598478">
                  <a:extLst>
                    <a:ext uri="{9D8B030D-6E8A-4147-A177-3AD203B41FA5}">
                      <a16:colId xmlns:a16="http://schemas.microsoft.com/office/drawing/2014/main" val="1054378700"/>
                    </a:ext>
                  </a:extLst>
                </a:gridCol>
                <a:gridCol w="696410">
                  <a:extLst>
                    <a:ext uri="{9D8B030D-6E8A-4147-A177-3AD203B41FA5}">
                      <a16:colId xmlns:a16="http://schemas.microsoft.com/office/drawing/2014/main" val="282877281"/>
                    </a:ext>
                  </a:extLst>
                </a:gridCol>
                <a:gridCol w="598478">
                  <a:extLst>
                    <a:ext uri="{9D8B030D-6E8A-4147-A177-3AD203B41FA5}">
                      <a16:colId xmlns:a16="http://schemas.microsoft.com/office/drawing/2014/main" val="1116611243"/>
                    </a:ext>
                  </a:extLst>
                </a:gridCol>
                <a:gridCol w="598478">
                  <a:extLst>
                    <a:ext uri="{9D8B030D-6E8A-4147-A177-3AD203B41FA5}">
                      <a16:colId xmlns:a16="http://schemas.microsoft.com/office/drawing/2014/main" val="1998809536"/>
                    </a:ext>
                  </a:extLst>
                </a:gridCol>
                <a:gridCol w="554952">
                  <a:extLst>
                    <a:ext uri="{9D8B030D-6E8A-4147-A177-3AD203B41FA5}">
                      <a16:colId xmlns:a16="http://schemas.microsoft.com/office/drawing/2014/main" val="2617540047"/>
                    </a:ext>
                  </a:extLst>
                </a:gridCol>
                <a:gridCol w="554952">
                  <a:extLst>
                    <a:ext uri="{9D8B030D-6E8A-4147-A177-3AD203B41FA5}">
                      <a16:colId xmlns:a16="http://schemas.microsoft.com/office/drawing/2014/main" val="3793767961"/>
                    </a:ext>
                  </a:extLst>
                </a:gridCol>
                <a:gridCol w="511426">
                  <a:extLst>
                    <a:ext uri="{9D8B030D-6E8A-4147-A177-3AD203B41FA5}">
                      <a16:colId xmlns:a16="http://schemas.microsoft.com/office/drawing/2014/main" val="2898239808"/>
                    </a:ext>
                  </a:extLst>
                </a:gridCol>
                <a:gridCol w="652884">
                  <a:extLst>
                    <a:ext uri="{9D8B030D-6E8A-4147-A177-3AD203B41FA5}">
                      <a16:colId xmlns:a16="http://schemas.microsoft.com/office/drawing/2014/main" val="2805640376"/>
                    </a:ext>
                  </a:extLst>
                </a:gridCol>
              </a:tblGrid>
              <a:tr h="191453">
                <a:tc>
                  <a:txBody>
                    <a:bodyPr/>
                    <a:lstStyle/>
                    <a:p>
                      <a:pPr algn="ctr" rtl="0" fontAlgn="b"/>
                      <a:r>
                        <a:rPr lang="pl-PL" sz="900" b="1" i="0" u="none" strike="noStrike">
                          <a:solidFill>
                            <a:srgbClr val="000000"/>
                          </a:solidFill>
                          <a:effectLst/>
                          <a:latin typeface="Calibri" panose="020F0502020204030204" pitchFamily="34" charset="0"/>
                        </a:rPr>
                        <a:t>RC</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b"/>
                      <a:r>
                        <a:rPr lang="pl-PL" sz="900" b="1" i="0" u="none" strike="noStrike">
                          <a:solidFill>
                            <a:srgbClr val="000000"/>
                          </a:solidFill>
                          <a:effectLst/>
                          <a:latin typeface="Calibri" panose="020F0502020204030204" pitchFamily="34" charset="0"/>
                        </a:rPr>
                        <a:t>Jan</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b"/>
                      <a:r>
                        <a:rPr lang="pl-PL" sz="900" b="1" i="0" u="none" strike="noStrike">
                          <a:solidFill>
                            <a:srgbClr val="000000"/>
                          </a:solidFill>
                          <a:effectLst/>
                          <a:latin typeface="Calibri" panose="020F0502020204030204" pitchFamily="34" charset="0"/>
                        </a:rPr>
                        <a:t>Feb</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b"/>
                      <a:r>
                        <a:rPr lang="pl-PL" sz="900" b="1" i="0" u="none" strike="noStrike">
                          <a:solidFill>
                            <a:srgbClr val="000000"/>
                          </a:solidFill>
                          <a:effectLst/>
                          <a:latin typeface="Calibri" panose="020F0502020204030204" pitchFamily="34" charset="0"/>
                        </a:rPr>
                        <a:t>Mar</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b"/>
                      <a:r>
                        <a:rPr lang="pl-PL" sz="900" b="1" i="0" u="none" strike="noStrike">
                          <a:solidFill>
                            <a:srgbClr val="000000"/>
                          </a:solidFill>
                          <a:effectLst/>
                          <a:latin typeface="Calibri" panose="020F0502020204030204" pitchFamily="34" charset="0"/>
                        </a:rPr>
                        <a:t>Apr</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b"/>
                      <a:r>
                        <a:rPr lang="pl-PL" sz="900" b="1" i="0" u="none" strike="noStrike">
                          <a:solidFill>
                            <a:srgbClr val="000000"/>
                          </a:solidFill>
                          <a:effectLst/>
                          <a:latin typeface="Calibri" panose="020F0502020204030204" pitchFamily="34" charset="0"/>
                        </a:rPr>
                        <a:t>May</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b"/>
                      <a:r>
                        <a:rPr lang="pl-PL" sz="900" b="1" i="0" u="none" strike="noStrike">
                          <a:solidFill>
                            <a:srgbClr val="000000"/>
                          </a:solidFill>
                          <a:effectLst/>
                          <a:latin typeface="Calibri" panose="020F0502020204030204" pitchFamily="34" charset="0"/>
                        </a:rPr>
                        <a:t>Jun</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b"/>
                      <a:r>
                        <a:rPr lang="pl-PL" sz="900" b="1" i="0" u="none" strike="noStrike">
                          <a:solidFill>
                            <a:srgbClr val="000000"/>
                          </a:solidFill>
                          <a:effectLst/>
                          <a:latin typeface="Calibri" panose="020F0502020204030204" pitchFamily="34" charset="0"/>
                        </a:rPr>
                        <a:t>Jul</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b"/>
                      <a:r>
                        <a:rPr lang="pl-PL" sz="900" b="1" i="0" u="none" strike="noStrike">
                          <a:solidFill>
                            <a:srgbClr val="000000"/>
                          </a:solidFill>
                          <a:effectLst/>
                          <a:latin typeface="Calibri" panose="020F0502020204030204" pitchFamily="34" charset="0"/>
                        </a:rPr>
                        <a:t>Aug</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rtl="0" fontAlgn="b"/>
                      <a:r>
                        <a:rPr lang="pl-PL" sz="900" b="1" i="0" u="none" strike="noStrike">
                          <a:solidFill>
                            <a:srgbClr val="000000"/>
                          </a:solidFill>
                          <a:effectLst/>
                          <a:latin typeface="Calibri" panose="020F0502020204030204" pitchFamily="34" charset="0"/>
                        </a:rPr>
                        <a:t>Sep</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Oct</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Nov</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Dec</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Total</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977979221"/>
                  </a:ext>
                </a:extLst>
              </a:tr>
              <a:tr h="191453">
                <a:tc>
                  <a:txBody>
                    <a:bodyPr/>
                    <a:lstStyle/>
                    <a:p>
                      <a:pPr algn="ctr" rtl="0" fontAlgn="b"/>
                      <a:r>
                        <a:rPr lang="pl-PL" sz="900" b="0" i="0" u="none" strike="noStrike">
                          <a:solidFill>
                            <a:srgbClr val="000000"/>
                          </a:solidFill>
                          <a:effectLst/>
                          <a:latin typeface="Calibri" panose="020F0502020204030204" pitchFamily="34" charset="0"/>
                        </a:rPr>
                        <a:t>Supplier</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9</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2</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1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5</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524875"/>
                  </a:ext>
                </a:extLst>
              </a:tr>
              <a:tr h="191453">
                <a:tc>
                  <a:txBody>
                    <a:bodyPr/>
                    <a:lstStyle/>
                    <a:p>
                      <a:pPr algn="ctr" rtl="0" fontAlgn="b"/>
                      <a:r>
                        <a:rPr lang="pl-PL" sz="900" b="0" i="0" u="none" strike="noStrike">
                          <a:solidFill>
                            <a:srgbClr val="000000"/>
                          </a:solidFill>
                          <a:effectLst/>
                          <a:latin typeface="Calibri" panose="020F0502020204030204" pitchFamily="34" charset="0"/>
                        </a:rPr>
                        <a:t>Logistics</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3</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6</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5035016"/>
                  </a:ext>
                </a:extLst>
              </a:tr>
              <a:tr h="191453">
                <a:tc>
                  <a:txBody>
                    <a:bodyPr/>
                    <a:lstStyle/>
                    <a:p>
                      <a:pPr algn="ctr" rtl="0" fontAlgn="b"/>
                      <a:r>
                        <a:rPr lang="pl-PL" sz="900" b="0" i="0" u="none" strike="noStrike">
                          <a:solidFill>
                            <a:srgbClr val="000000"/>
                          </a:solidFill>
                          <a:effectLst/>
                          <a:latin typeface="Calibri" panose="020F0502020204030204" pitchFamily="34" charset="0"/>
                        </a:rPr>
                        <a:t>Planning</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69494767"/>
                  </a:ext>
                </a:extLst>
              </a:tr>
              <a:tr h="191453">
                <a:tc>
                  <a:txBody>
                    <a:bodyPr/>
                    <a:lstStyle/>
                    <a:p>
                      <a:pPr algn="ctr" rtl="0" fontAlgn="b"/>
                      <a:r>
                        <a:rPr lang="pl-PL" sz="900" b="0" i="0" u="none" strike="noStrike">
                          <a:solidFill>
                            <a:srgbClr val="000000"/>
                          </a:solidFill>
                          <a:effectLst/>
                          <a:latin typeface="Calibri" panose="020F0502020204030204" pitchFamily="34" charset="0"/>
                        </a:rPr>
                        <a:t>Factory</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75338071"/>
                  </a:ext>
                </a:extLst>
              </a:tr>
              <a:tr h="191453">
                <a:tc>
                  <a:txBody>
                    <a:bodyPr/>
                    <a:lstStyle/>
                    <a:p>
                      <a:pPr algn="ctr" rtl="0" fontAlgn="b"/>
                      <a:r>
                        <a:rPr lang="pl-PL" sz="900" b="0" i="0" u="none" strike="noStrike">
                          <a:solidFill>
                            <a:srgbClr val="000000"/>
                          </a:solidFill>
                          <a:effectLst/>
                          <a:latin typeface="Calibri" panose="020F0502020204030204" pitchFamily="34" charset="0"/>
                        </a:rPr>
                        <a:t>Mixed </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7467288"/>
                  </a:ext>
                </a:extLst>
              </a:tr>
              <a:tr h="191453">
                <a:tc>
                  <a:txBody>
                    <a:bodyPr/>
                    <a:lstStyle/>
                    <a:p>
                      <a:pPr algn="ctr" rtl="0" fontAlgn="b"/>
                      <a:r>
                        <a:rPr lang="pl-PL" sz="900" b="0" i="0" u="none" strike="noStrike">
                          <a:solidFill>
                            <a:srgbClr val="000000"/>
                          </a:solidFill>
                          <a:effectLst/>
                          <a:latin typeface="Calibri" panose="020F0502020204030204" pitchFamily="34" charset="0"/>
                        </a:rPr>
                        <a:t>Total</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9</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3</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4</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12</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1</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2</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pl-PL" sz="900" b="0" i="0" u="none" strike="noStrike">
                          <a:solidFill>
                            <a:srgbClr val="000000"/>
                          </a:solidFill>
                          <a:effectLst/>
                          <a:latin typeface="Calibri" panose="020F0502020204030204" pitchFamily="34" charset="0"/>
                        </a:rPr>
                        <a:t>0</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32</a:t>
                      </a:r>
                    </a:p>
                  </a:txBody>
                  <a:tcPr marL="8182" marR="8182" marT="8182" marB="3927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8814257"/>
                  </a:ext>
                </a:extLst>
              </a:tr>
            </a:tbl>
          </a:graphicData>
        </a:graphic>
      </p:graphicFrame>
      <p:pic>
        <p:nvPicPr>
          <p:cNvPr id="6145" name="Picture 1">
            <a:extLst>
              <a:ext uri="{FF2B5EF4-FFF2-40B4-BE49-F238E27FC236}">
                <a16:creationId xmlns:a16="http://schemas.microsoft.com/office/drawing/2014/main" id="{B92D0EA1-4FB8-6A50-AE6C-D26FD9DE07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889" y="3429000"/>
            <a:ext cx="8647113" cy="2552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79821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C263C140-F9EE-D523-BFEA-0775A8B7BCF4}"/>
              </a:ext>
            </a:extLst>
          </p:cNvPr>
          <p:cNvSpPr>
            <a:spLocks noGrp="1"/>
          </p:cNvSpPr>
          <p:nvPr>
            <p:ph type="sldNum" sz="quarter" idx="12"/>
          </p:nvPr>
        </p:nvSpPr>
        <p:spPr/>
        <p:txBody>
          <a:bodyPr/>
          <a:lstStyle/>
          <a:p>
            <a:fld id="{8470F1AB-319E-48AE-9489-D88EBE16142A}" type="slidenum">
              <a:rPr lang="en-GB" smtClean="0"/>
              <a:t>14</a:t>
            </a:fld>
            <a:endParaRPr lang="en-GB"/>
          </a:p>
        </p:txBody>
      </p:sp>
      <p:sp>
        <p:nvSpPr>
          <p:cNvPr id="8" name="Title 2">
            <a:extLst>
              <a:ext uri="{FF2B5EF4-FFF2-40B4-BE49-F238E27FC236}">
                <a16:creationId xmlns:a16="http://schemas.microsoft.com/office/drawing/2014/main" id="{F8035F03-92A3-64DC-1E2F-215293F0B1DE}"/>
              </a:ext>
            </a:extLst>
          </p:cNvPr>
          <p:cNvSpPr>
            <a:spLocks noGrp="1"/>
          </p:cNvSpPr>
          <p:nvPr>
            <p:ph type="title"/>
          </p:nvPr>
        </p:nvSpPr>
        <p:spPr>
          <a:xfrm>
            <a:off x="989045" y="145704"/>
            <a:ext cx="7315026" cy="738909"/>
          </a:xfrm>
        </p:spPr>
        <p:txBody>
          <a:bodyPr>
            <a:normAutofit/>
          </a:bodyPr>
          <a:lstStyle/>
          <a:p>
            <a:pPr algn="ctr"/>
            <a:r>
              <a:rPr lang="pl-PL" b="1" dirty="0" err="1">
                <a:solidFill>
                  <a:schemeClr val="tx1"/>
                </a:solidFill>
              </a:rPr>
              <a:t>Kleve</a:t>
            </a:r>
            <a:r>
              <a:rPr lang="pl-PL" b="1" dirty="0">
                <a:solidFill>
                  <a:schemeClr val="tx1"/>
                </a:solidFill>
              </a:rPr>
              <a:t> - </a:t>
            </a:r>
            <a:r>
              <a:rPr lang="pl-PL" b="1" dirty="0" err="1">
                <a:solidFill>
                  <a:schemeClr val="tx1"/>
                </a:solidFill>
              </a:rPr>
              <a:t>overview</a:t>
            </a:r>
            <a:endParaRPr lang="en-US" b="1" dirty="0">
              <a:solidFill>
                <a:schemeClr val="tx1"/>
              </a:solidFill>
            </a:endParaRPr>
          </a:p>
        </p:txBody>
      </p:sp>
      <p:graphicFrame>
        <p:nvGraphicFramePr>
          <p:cNvPr id="3" name="Tabela 2">
            <a:extLst>
              <a:ext uri="{FF2B5EF4-FFF2-40B4-BE49-F238E27FC236}">
                <a16:creationId xmlns:a16="http://schemas.microsoft.com/office/drawing/2014/main" id="{E162F2B0-AABB-193A-EDF2-35CEF1800EC6}"/>
              </a:ext>
            </a:extLst>
          </p:cNvPr>
          <p:cNvGraphicFramePr>
            <a:graphicFrameLocks noGrp="1"/>
          </p:cNvGraphicFramePr>
          <p:nvPr>
            <p:extLst>
              <p:ext uri="{D42A27DB-BD31-4B8C-83A1-F6EECF244321}">
                <p14:modId xmlns:p14="http://schemas.microsoft.com/office/powerpoint/2010/main" val="951543701"/>
              </p:ext>
            </p:extLst>
          </p:nvPr>
        </p:nvGraphicFramePr>
        <p:xfrm>
          <a:off x="734846" y="979859"/>
          <a:ext cx="8596306" cy="1264494"/>
        </p:xfrm>
        <a:graphic>
          <a:graphicData uri="http://schemas.openxmlformats.org/drawingml/2006/table">
            <a:tbl>
              <a:tblPr/>
              <a:tblGrid>
                <a:gridCol w="568433">
                  <a:extLst>
                    <a:ext uri="{9D8B030D-6E8A-4147-A177-3AD203B41FA5}">
                      <a16:colId xmlns:a16="http://schemas.microsoft.com/office/drawing/2014/main" val="2894204753"/>
                    </a:ext>
                  </a:extLst>
                </a:gridCol>
                <a:gridCol w="787829">
                  <a:extLst>
                    <a:ext uri="{9D8B030D-6E8A-4147-A177-3AD203B41FA5}">
                      <a16:colId xmlns:a16="http://schemas.microsoft.com/office/drawing/2014/main" val="3760614228"/>
                    </a:ext>
                  </a:extLst>
                </a:gridCol>
                <a:gridCol w="528543">
                  <a:extLst>
                    <a:ext uri="{9D8B030D-6E8A-4147-A177-3AD203B41FA5}">
                      <a16:colId xmlns:a16="http://schemas.microsoft.com/office/drawing/2014/main" val="3414154630"/>
                    </a:ext>
                  </a:extLst>
                </a:gridCol>
                <a:gridCol w="538516">
                  <a:extLst>
                    <a:ext uri="{9D8B030D-6E8A-4147-A177-3AD203B41FA5}">
                      <a16:colId xmlns:a16="http://schemas.microsoft.com/office/drawing/2014/main" val="141694221"/>
                    </a:ext>
                  </a:extLst>
                </a:gridCol>
                <a:gridCol w="538516">
                  <a:extLst>
                    <a:ext uri="{9D8B030D-6E8A-4147-A177-3AD203B41FA5}">
                      <a16:colId xmlns:a16="http://schemas.microsoft.com/office/drawing/2014/main" val="2601846714"/>
                    </a:ext>
                  </a:extLst>
                </a:gridCol>
                <a:gridCol w="548488">
                  <a:extLst>
                    <a:ext uri="{9D8B030D-6E8A-4147-A177-3AD203B41FA5}">
                      <a16:colId xmlns:a16="http://schemas.microsoft.com/office/drawing/2014/main" val="4160405902"/>
                    </a:ext>
                  </a:extLst>
                </a:gridCol>
                <a:gridCol w="548488">
                  <a:extLst>
                    <a:ext uri="{9D8B030D-6E8A-4147-A177-3AD203B41FA5}">
                      <a16:colId xmlns:a16="http://schemas.microsoft.com/office/drawing/2014/main" val="3703816354"/>
                    </a:ext>
                  </a:extLst>
                </a:gridCol>
                <a:gridCol w="638241">
                  <a:extLst>
                    <a:ext uri="{9D8B030D-6E8A-4147-A177-3AD203B41FA5}">
                      <a16:colId xmlns:a16="http://schemas.microsoft.com/office/drawing/2014/main" val="1391414775"/>
                    </a:ext>
                  </a:extLst>
                </a:gridCol>
                <a:gridCol w="548488">
                  <a:extLst>
                    <a:ext uri="{9D8B030D-6E8A-4147-A177-3AD203B41FA5}">
                      <a16:colId xmlns:a16="http://schemas.microsoft.com/office/drawing/2014/main" val="1650575384"/>
                    </a:ext>
                  </a:extLst>
                </a:gridCol>
                <a:gridCol w="548488">
                  <a:extLst>
                    <a:ext uri="{9D8B030D-6E8A-4147-A177-3AD203B41FA5}">
                      <a16:colId xmlns:a16="http://schemas.microsoft.com/office/drawing/2014/main" val="248149353"/>
                    </a:ext>
                  </a:extLst>
                </a:gridCol>
                <a:gridCol w="508598">
                  <a:extLst>
                    <a:ext uri="{9D8B030D-6E8A-4147-A177-3AD203B41FA5}">
                      <a16:colId xmlns:a16="http://schemas.microsoft.com/office/drawing/2014/main" val="2136871974"/>
                    </a:ext>
                  </a:extLst>
                </a:gridCol>
                <a:gridCol w="508598">
                  <a:extLst>
                    <a:ext uri="{9D8B030D-6E8A-4147-A177-3AD203B41FA5}">
                      <a16:colId xmlns:a16="http://schemas.microsoft.com/office/drawing/2014/main" val="3660743072"/>
                    </a:ext>
                  </a:extLst>
                </a:gridCol>
                <a:gridCol w="468708">
                  <a:extLst>
                    <a:ext uri="{9D8B030D-6E8A-4147-A177-3AD203B41FA5}">
                      <a16:colId xmlns:a16="http://schemas.microsoft.com/office/drawing/2014/main" val="2003289014"/>
                    </a:ext>
                  </a:extLst>
                </a:gridCol>
                <a:gridCol w="598351">
                  <a:extLst>
                    <a:ext uri="{9D8B030D-6E8A-4147-A177-3AD203B41FA5}">
                      <a16:colId xmlns:a16="http://schemas.microsoft.com/office/drawing/2014/main" val="723837502"/>
                    </a:ext>
                  </a:extLst>
                </a:gridCol>
                <a:gridCol w="718021">
                  <a:extLst>
                    <a:ext uri="{9D8B030D-6E8A-4147-A177-3AD203B41FA5}">
                      <a16:colId xmlns:a16="http://schemas.microsoft.com/office/drawing/2014/main" val="3426192833"/>
                    </a:ext>
                  </a:extLst>
                </a:gridCol>
              </a:tblGrid>
              <a:tr h="175425">
                <a:tc>
                  <a:txBody>
                    <a:bodyPr/>
                    <a:lstStyle/>
                    <a:p>
                      <a:pPr algn="ctr" fontAlgn="b"/>
                      <a:r>
                        <a:rPr lang="pl-PL" sz="900" b="1" i="0" u="none" strike="noStrike">
                          <a:solidFill>
                            <a:srgbClr val="000000"/>
                          </a:solidFill>
                          <a:effectLst/>
                          <a:latin typeface="Calibri" panose="020F0502020204030204" pitchFamily="34" charset="0"/>
                        </a:rPr>
                        <a:t>RC</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an</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Feb</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Mar</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Apr</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dirty="0">
                          <a:solidFill>
                            <a:srgbClr val="000000"/>
                          </a:solidFill>
                          <a:effectLst/>
                          <a:latin typeface="Calibri" panose="020F0502020204030204" pitchFamily="34" charset="0"/>
                        </a:rPr>
                        <a:t>May</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un</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uly</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Aug</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Sep</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Oct</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Nov</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Dec</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Dec</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Total</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110120441"/>
                  </a:ext>
                </a:extLst>
              </a:tr>
              <a:tr h="175425">
                <a:tc>
                  <a:txBody>
                    <a:bodyPr/>
                    <a:lstStyle/>
                    <a:p>
                      <a:pPr algn="ctr" fontAlgn="b"/>
                      <a:r>
                        <a:rPr lang="pl-PL" sz="900" b="0" i="0" u="none" strike="noStrike">
                          <a:solidFill>
                            <a:srgbClr val="000000"/>
                          </a:solidFill>
                          <a:effectLst/>
                          <a:latin typeface="Calibri" panose="020F0502020204030204" pitchFamily="34" charset="0"/>
                        </a:rPr>
                        <a:t>Supplier</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6</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8</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6</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4</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5</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7</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1670356"/>
                  </a:ext>
                </a:extLst>
              </a:tr>
              <a:tr h="175425">
                <a:tc>
                  <a:txBody>
                    <a:bodyPr/>
                    <a:lstStyle/>
                    <a:p>
                      <a:pPr algn="ctr" fontAlgn="b"/>
                      <a:r>
                        <a:rPr lang="pl-PL" sz="900" b="0" i="0" u="none" strike="noStrike">
                          <a:solidFill>
                            <a:srgbClr val="000000"/>
                          </a:solidFill>
                          <a:effectLst/>
                          <a:latin typeface="Calibri" panose="020F0502020204030204" pitchFamily="34" charset="0"/>
                        </a:rPr>
                        <a:t>Logistics</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5323256"/>
                  </a:ext>
                </a:extLst>
              </a:tr>
              <a:tr h="175425">
                <a:tc>
                  <a:txBody>
                    <a:bodyPr/>
                    <a:lstStyle/>
                    <a:p>
                      <a:pPr algn="ctr" fontAlgn="b"/>
                      <a:r>
                        <a:rPr lang="pl-PL" sz="900" b="0" i="0" u="none" strike="noStrike">
                          <a:solidFill>
                            <a:srgbClr val="000000"/>
                          </a:solidFill>
                          <a:effectLst/>
                          <a:latin typeface="Calibri" panose="020F0502020204030204" pitchFamily="34" charset="0"/>
                        </a:rPr>
                        <a:t>Planning</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9787492"/>
                  </a:ext>
                </a:extLst>
              </a:tr>
              <a:tr h="175425">
                <a:tc>
                  <a:txBody>
                    <a:bodyPr/>
                    <a:lstStyle/>
                    <a:p>
                      <a:pPr algn="ctr" fontAlgn="b"/>
                      <a:r>
                        <a:rPr lang="pl-PL" sz="900" b="0" i="0" u="none" strike="noStrike">
                          <a:solidFill>
                            <a:srgbClr val="000000"/>
                          </a:solidFill>
                          <a:effectLst/>
                          <a:latin typeface="Calibri" panose="020F0502020204030204" pitchFamily="34" charset="0"/>
                        </a:rPr>
                        <a:t>Factory</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998947"/>
                  </a:ext>
                </a:extLst>
              </a:tr>
              <a:tr h="175425">
                <a:tc>
                  <a:txBody>
                    <a:bodyPr/>
                    <a:lstStyle/>
                    <a:p>
                      <a:pPr algn="ctr" fontAlgn="b"/>
                      <a:r>
                        <a:rPr lang="pl-PL" sz="900" b="0" i="0" u="none" strike="noStrike">
                          <a:solidFill>
                            <a:srgbClr val="000000"/>
                          </a:solidFill>
                          <a:effectLst/>
                          <a:latin typeface="Calibri" panose="020F0502020204030204" pitchFamily="34" charset="0"/>
                        </a:rPr>
                        <a:t>Mixed </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4</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5</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85287795"/>
                  </a:ext>
                </a:extLst>
              </a:tr>
              <a:tr h="175425">
                <a:tc>
                  <a:txBody>
                    <a:bodyPr/>
                    <a:lstStyle/>
                    <a:p>
                      <a:pPr algn="ctr" fontAlgn="b"/>
                      <a:r>
                        <a:rPr lang="pl-PL" sz="900" b="0" i="0" u="none" strike="noStrike">
                          <a:solidFill>
                            <a:srgbClr val="000000"/>
                          </a:solidFill>
                          <a:effectLst/>
                          <a:latin typeface="Calibri" panose="020F0502020204030204" pitchFamily="34" charset="0"/>
                        </a:rPr>
                        <a:t>Total</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8</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8</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4</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5</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43</a:t>
                      </a:r>
                    </a:p>
                  </a:txBody>
                  <a:tcPr marL="7497" marR="7497" marT="7497" marB="3598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4389896"/>
                  </a:ext>
                </a:extLst>
              </a:tr>
            </a:tbl>
          </a:graphicData>
        </a:graphic>
      </p:graphicFrame>
      <p:pic>
        <p:nvPicPr>
          <p:cNvPr id="1025" name="Picture 1">
            <a:extLst>
              <a:ext uri="{FF2B5EF4-FFF2-40B4-BE49-F238E27FC236}">
                <a16:creationId xmlns:a16="http://schemas.microsoft.com/office/drawing/2014/main" id="{FD595A7C-E7A2-A1EF-7525-16918AC810C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4846" y="2901950"/>
            <a:ext cx="8539156" cy="3057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54759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58E1DF9C-27D0-920E-FF36-97C30842EA99}"/>
              </a:ext>
            </a:extLst>
          </p:cNvPr>
          <p:cNvSpPr>
            <a:spLocks noGrp="1"/>
          </p:cNvSpPr>
          <p:nvPr>
            <p:ph type="sldNum" sz="quarter" idx="12"/>
          </p:nvPr>
        </p:nvSpPr>
        <p:spPr/>
        <p:txBody>
          <a:bodyPr/>
          <a:lstStyle/>
          <a:p>
            <a:fld id="{8470F1AB-319E-48AE-9489-D88EBE16142A}" type="slidenum">
              <a:rPr lang="en-GB" smtClean="0"/>
              <a:t>15</a:t>
            </a:fld>
            <a:endParaRPr lang="en-GB"/>
          </a:p>
        </p:txBody>
      </p:sp>
      <p:sp>
        <p:nvSpPr>
          <p:cNvPr id="9" name="Rectangle 1">
            <a:extLst>
              <a:ext uri="{FF2B5EF4-FFF2-40B4-BE49-F238E27FC236}">
                <a16:creationId xmlns:a16="http://schemas.microsoft.com/office/drawing/2014/main" id="{8AF80399-EF5E-A463-541B-3B5BC60FAB44}"/>
              </a:ext>
            </a:extLst>
          </p:cNvPr>
          <p:cNvSpPr>
            <a:spLocks noChangeArrowheads="1"/>
          </p:cNvSpPr>
          <p:nvPr/>
        </p:nvSpPr>
        <p:spPr bwMode="auto">
          <a:xfrm>
            <a:off x="3138488" y="2935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pl-PL" altLang="pl-P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altLang="pl-PL" sz="1800" b="0" i="0" u="none" strike="noStrike" cap="none" normalizeH="0" baseline="0">
              <a:ln>
                <a:noFill/>
              </a:ln>
              <a:solidFill>
                <a:schemeClr val="tx1"/>
              </a:solidFill>
              <a:effectLst/>
              <a:latin typeface="Arial" panose="020B0604020202020204" pitchFamily="34" charset="0"/>
            </a:endParaRPr>
          </a:p>
        </p:txBody>
      </p:sp>
      <p:sp>
        <p:nvSpPr>
          <p:cNvPr id="11" name="Rectangle 2">
            <a:extLst>
              <a:ext uri="{FF2B5EF4-FFF2-40B4-BE49-F238E27FC236}">
                <a16:creationId xmlns:a16="http://schemas.microsoft.com/office/drawing/2014/main" id="{EF1709E4-71B1-B394-858B-6E5BD3B89FEB}"/>
              </a:ext>
            </a:extLst>
          </p:cNvPr>
          <p:cNvSpPr>
            <a:spLocks noChangeArrowheads="1"/>
          </p:cNvSpPr>
          <p:nvPr/>
        </p:nvSpPr>
        <p:spPr bwMode="auto">
          <a:xfrm>
            <a:off x="1768083" y="511029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pl-PL" altLang="pl-P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altLang="pl-PL" sz="1800" b="0" i="0" u="none" strike="noStrike" cap="none" normalizeH="0" baseline="0">
              <a:ln>
                <a:noFill/>
              </a:ln>
              <a:solidFill>
                <a:schemeClr val="tx1"/>
              </a:solidFill>
              <a:effectLst/>
              <a:latin typeface="Arial" panose="020B0604020202020204" pitchFamily="34" charset="0"/>
            </a:endParaRPr>
          </a:p>
        </p:txBody>
      </p:sp>
      <p:sp>
        <p:nvSpPr>
          <p:cNvPr id="13" name="pole tekstowe 12">
            <a:extLst>
              <a:ext uri="{FF2B5EF4-FFF2-40B4-BE49-F238E27FC236}">
                <a16:creationId xmlns:a16="http://schemas.microsoft.com/office/drawing/2014/main" id="{A46DA75C-FCBF-0222-9FFC-1DB4A2F21D3A}"/>
              </a:ext>
            </a:extLst>
          </p:cNvPr>
          <p:cNvSpPr txBox="1"/>
          <p:nvPr/>
        </p:nvSpPr>
        <p:spPr>
          <a:xfrm>
            <a:off x="1768083" y="266847"/>
            <a:ext cx="6577474" cy="400110"/>
          </a:xfrm>
          <a:prstGeom prst="rect">
            <a:avLst/>
          </a:prstGeom>
          <a:noFill/>
        </p:spPr>
        <p:txBody>
          <a:bodyPr wrap="square">
            <a:spAutoFit/>
          </a:bodyPr>
          <a:lstStyle/>
          <a:p>
            <a:r>
              <a:rPr lang="en-US" sz="2000" b="1" dirty="0">
                <a:solidFill>
                  <a:schemeClr val="tx1"/>
                </a:solidFill>
              </a:rPr>
              <a:t>January – </a:t>
            </a:r>
            <a:r>
              <a:rPr lang="pl-PL" sz="2000" b="1" dirty="0"/>
              <a:t>March</a:t>
            </a:r>
            <a:r>
              <a:rPr lang="en-US" sz="2000" b="1" dirty="0">
                <a:solidFill>
                  <a:schemeClr val="tx1"/>
                </a:solidFill>
              </a:rPr>
              <a:t> top view logistics issues per </a:t>
            </a:r>
            <a:r>
              <a:rPr lang="pl-PL" sz="2000" b="1" dirty="0" err="1">
                <a:solidFill>
                  <a:schemeClr val="tx1"/>
                </a:solidFill>
              </a:rPr>
              <a:t>carrier</a:t>
            </a:r>
            <a:endParaRPr lang="pl-PL" sz="2000" dirty="0"/>
          </a:p>
        </p:txBody>
      </p:sp>
      <p:sp>
        <p:nvSpPr>
          <p:cNvPr id="3" name="pole tekstowe 2">
            <a:extLst>
              <a:ext uri="{FF2B5EF4-FFF2-40B4-BE49-F238E27FC236}">
                <a16:creationId xmlns:a16="http://schemas.microsoft.com/office/drawing/2014/main" id="{F40A98AE-67EB-C895-3140-C34CE4AC4830}"/>
              </a:ext>
            </a:extLst>
          </p:cNvPr>
          <p:cNvSpPr txBox="1"/>
          <p:nvPr/>
        </p:nvSpPr>
        <p:spPr>
          <a:xfrm>
            <a:off x="1638773" y="3808606"/>
            <a:ext cx="7415515" cy="707886"/>
          </a:xfrm>
          <a:prstGeom prst="rect">
            <a:avLst/>
          </a:prstGeom>
          <a:noFill/>
        </p:spPr>
        <p:txBody>
          <a:bodyPr wrap="square">
            <a:spAutoFit/>
          </a:bodyPr>
          <a:lstStyle/>
          <a:p>
            <a:r>
              <a:rPr lang="pl-PL" sz="2000" b="1" dirty="0">
                <a:solidFill>
                  <a:schemeClr val="tx1"/>
                </a:solidFill>
              </a:rPr>
              <a:t>We </a:t>
            </a:r>
            <a:r>
              <a:rPr lang="pl-PL" sz="2000" b="1" dirty="0" err="1">
                <a:solidFill>
                  <a:schemeClr val="tx1"/>
                </a:solidFill>
              </a:rPr>
              <a:t>have</a:t>
            </a:r>
            <a:r>
              <a:rPr lang="pl-PL" sz="2000" b="1" dirty="0">
                <a:solidFill>
                  <a:schemeClr val="tx1"/>
                </a:solidFill>
              </a:rPr>
              <a:t> </a:t>
            </a:r>
            <a:r>
              <a:rPr lang="pl-PL" sz="2000" b="1" dirty="0" err="1">
                <a:solidFill>
                  <a:schemeClr val="tx1"/>
                </a:solidFill>
              </a:rPr>
              <a:t>stopped</a:t>
            </a:r>
            <a:r>
              <a:rPr lang="pl-PL" sz="2000" b="1" dirty="0">
                <a:solidFill>
                  <a:schemeClr val="tx1"/>
                </a:solidFill>
              </a:rPr>
              <a:t> </a:t>
            </a:r>
            <a:r>
              <a:rPr lang="pl-PL" sz="2000" b="1" dirty="0" err="1">
                <a:solidFill>
                  <a:schemeClr val="tx1"/>
                </a:solidFill>
              </a:rPr>
              <a:t>cooperation</a:t>
            </a:r>
            <a:r>
              <a:rPr lang="pl-PL" sz="2000" b="1" dirty="0">
                <a:solidFill>
                  <a:schemeClr val="tx1"/>
                </a:solidFill>
              </a:rPr>
              <a:t> with Omega </a:t>
            </a:r>
            <a:r>
              <a:rPr lang="pl-PL" sz="2000" b="1" dirty="0" err="1">
                <a:solidFill>
                  <a:schemeClr val="tx1"/>
                </a:solidFill>
              </a:rPr>
              <a:t>due</a:t>
            </a:r>
            <a:r>
              <a:rPr lang="pl-PL" sz="2000" b="1" dirty="0">
                <a:solidFill>
                  <a:schemeClr val="tx1"/>
                </a:solidFill>
              </a:rPr>
              <a:t> to </a:t>
            </a:r>
            <a:r>
              <a:rPr lang="pl-PL" sz="2000" b="1" dirty="0" err="1">
                <a:solidFill>
                  <a:schemeClr val="tx1"/>
                </a:solidFill>
              </a:rPr>
              <a:t>lots</a:t>
            </a:r>
            <a:r>
              <a:rPr lang="pl-PL" sz="2000" b="1" dirty="0">
                <a:solidFill>
                  <a:schemeClr val="tx1"/>
                </a:solidFill>
              </a:rPr>
              <a:t> of </a:t>
            </a:r>
            <a:r>
              <a:rPr lang="pl-PL" sz="2000" b="1" dirty="0" err="1">
                <a:solidFill>
                  <a:schemeClr val="tx1"/>
                </a:solidFill>
              </a:rPr>
              <a:t>issues</a:t>
            </a:r>
            <a:r>
              <a:rPr lang="pl-PL" sz="2000" b="1" dirty="0">
                <a:solidFill>
                  <a:schemeClr val="tx1"/>
                </a:solidFill>
              </a:rPr>
              <a:t> with </a:t>
            </a:r>
            <a:r>
              <a:rPr lang="pl-PL" sz="2000" b="1" dirty="0" err="1">
                <a:solidFill>
                  <a:schemeClr val="tx1"/>
                </a:solidFill>
              </a:rPr>
              <a:t>deliveries</a:t>
            </a:r>
            <a:r>
              <a:rPr lang="pl-PL" sz="2000" b="1" dirty="0">
                <a:solidFill>
                  <a:schemeClr val="tx1"/>
                </a:solidFill>
              </a:rPr>
              <a:t> (</a:t>
            </a:r>
            <a:r>
              <a:rPr lang="pl-PL" sz="2000" b="1" dirty="0" err="1">
                <a:solidFill>
                  <a:schemeClr val="tx1"/>
                </a:solidFill>
              </a:rPr>
              <a:t>milk</a:t>
            </a:r>
            <a:r>
              <a:rPr lang="pl-PL" sz="2000" b="1" dirty="0">
                <a:solidFill>
                  <a:schemeClr val="tx1"/>
                </a:solidFill>
              </a:rPr>
              <a:t>, </a:t>
            </a:r>
            <a:r>
              <a:rPr lang="pl-PL" sz="2000" b="1" dirty="0" err="1">
                <a:solidFill>
                  <a:schemeClr val="tx1"/>
                </a:solidFill>
              </a:rPr>
              <a:t>late</a:t>
            </a:r>
            <a:r>
              <a:rPr lang="pl-PL" sz="2000" b="1" dirty="0">
                <a:solidFill>
                  <a:schemeClr val="tx1"/>
                </a:solidFill>
              </a:rPr>
              <a:t> </a:t>
            </a:r>
            <a:r>
              <a:rPr lang="pl-PL" sz="2000" b="1" dirty="0" err="1">
                <a:solidFill>
                  <a:schemeClr val="tx1"/>
                </a:solidFill>
              </a:rPr>
              <a:t>delivery</a:t>
            </a:r>
            <a:r>
              <a:rPr lang="pl-PL" sz="2000" b="1" dirty="0">
                <a:solidFill>
                  <a:schemeClr val="tx1"/>
                </a:solidFill>
              </a:rPr>
              <a:t> etc.)</a:t>
            </a:r>
            <a:endParaRPr lang="pl-PL" sz="2000" dirty="0"/>
          </a:p>
        </p:txBody>
      </p:sp>
      <p:graphicFrame>
        <p:nvGraphicFramePr>
          <p:cNvPr id="5" name="Tabela 4">
            <a:extLst>
              <a:ext uri="{FF2B5EF4-FFF2-40B4-BE49-F238E27FC236}">
                <a16:creationId xmlns:a16="http://schemas.microsoft.com/office/drawing/2014/main" id="{D6C7C91D-A6EC-1CA7-0C50-EC78362543AC}"/>
              </a:ext>
            </a:extLst>
          </p:cNvPr>
          <p:cNvGraphicFramePr>
            <a:graphicFrameLocks noGrp="1"/>
          </p:cNvGraphicFramePr>
          <p:nvPr>
            <p:extLst>
              <p:ext uri="{D42A27DB-BD31-4B8C-83A1-F6EECF244321}">
                <p14:modId xmlns:p14="http://schemas.microsoft.com/office/powerpoint/2010/main" val="1490561322"/>
              </p:ext>
            </p:extLst>
          </p:nvPr>
        </p:nvGraphicFramePr>
        <p:xfrm>
          <a:off x="1456887" y="1225639"/>
          <a:ext cx="6984998" cy="2203351"/>
        </p:xfrm>
        <a:graphic>
          <a:graphicData uri="http://schemas.openxmlformats.org/drawingml/2006/table">
            <a:tbl>
              <a:tblPr/>
              <a:tblGrid>
                <a:gridCol w="900881">
                  <a:extLst>
                    <a:ext uri="{9D8B030D-6E8A-4147-A177-3AD203B41FA5}">
                      <a16:colId xmlns:a16="http://schemas.microsoft.com/office/drawing/2014/main" val="716925193"/>
                    </a:ext>
                  </a:extLst>
                </a:gridCol>
                <a:gridCol w="609046">
                  <a:extLst>
                    <a:ext uri="{9D8B030D-6E8A-4147-A177-3AD203B41FA5}">
                      <a16:colId xmlns:a16="http://schemas.microsoft.com/office/drawing/2014/main" val="4240655866"/>
                    </a:ext>
                  </a:extLst>
                </a:gridCol>
                <a:gridCol w="609046">
                  <a:extLst>
                    <a:ext uri="{9D8B030D-6E8A-4147-A177-3AD203B41FA5}">
                      <a16:colId xmlns:a16="http://schemas.microsoft.com/office/drawing/2014/main" val="1119444862"/>
                    </a:ext>
                  </a:extLst>
                </a:gridCol>
                <a:gridCol w="609046">
                  <a:extLst>
                    <a:ext uri="{9D8B030D-6E8A-4147-A177-3AD203B41FA5}">
                      <a16:colId xmlns:a16="http://schemas.microsoft.com/office/drawing/2014/main" val="3448496582"/>
                    </a:ext>
                  </a:extLst>
                </a:gridCol>
                <a:gridCol w="609046">
                  <a:extLst>
                    <a:ext uri="{9D8B030D-6E8A-4147-A177-3AD203B41FA5}">
                      <a16:colId xmlns:a16="http://schemas.microsoft.com/office/drawing/2014/main" val="3731200531"/>
                    </a:ext>
                  </a:extLst>
                </a:gridCol>
                <a:gridCol w="609046">
                  <a:extLst>
                    <a:ext uri="{9D8B030D-6E8A-4147-A177-3AD203B41FA5}">
                      <a16:colId xmlns:a16="http://schemas.microsoft.com/office/drawing/2014/main" val="100926882"/>
                    </a:ext>
                  </a:extLst>
                </a:gridCol>
                <a:gridCol w="1018249">
                  <a:extLst>
                    <a:ext uri="{9D8B030D-6E8A-4147-A177-3AD203B41FA5}">
                      <a16:colId xmlns:a16="http://schemas.microsoft.com/office/drawing/2014/main" val="1015524447"/>
                    </a:ext>
                  </a:extLst>
                </a:gridCol>
                <a:gridCol w="980184">
                  <a:extLst>
                    <a:ext uri="{9D8B030D-6E8A-4147-A177-3AD203B41FA5}">
                      <a16:colId xmlns:a16="http://schemas.microsoft.com/office/drawing/2014/main" val="487642477"/>
                    </a:ext>
                  </a:extLst>
                </a:gridCol>
                <a:gridCol w="1040454">
                  <a:extLst>
                    <a:ext uri="{9D8B030D-6E8A-4147-A177-3AD203B41FA5}">
                      <a16:colId xmlns:a16="http://schemas.microsoft.com/office/drawing/2014/main" val="856854445"/>
                    </a:ext>
                  </a:extLst>
                </a:gridCol>
              </a:tblGrid>
              <a:tr h="397116">
                <a:tc>
                  <a:txBody>
                    <a:bodyPr/>
                    <a:lstStyle/>
                    <a:p>
                      <a:pPr algn="ctr" fontAlgn="ctr"/>
                      <a:r>
                        <a:rPr lang="pl-PL" sz="1100" b="1" i="0" u="none" strike="noStrike">
                          <a:solidFill>
                            <a:srgbClr val="000000"/>
                          </a:solidFill>
                          <a:effectLst/>
                          <a:latin typeface="Calibri" panose="020F0502020204030204" pitchFamily="34" charset="0"/>
                        </a:rPr>
                        <a:t>Carrier</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1" i="0" u="none" strike="noStrike">
                          <a:solidFill>
                            <a:srgbClr val="000000"/>
                          </a:solidFill>
                          <a:effectLst/>
                          <a:latin typeface="Calibri" panose="020F0502020204030204" pitchFamily="34" charset="0"/>
                        </a:rPr>
                        <a:t>Jan</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1" i="0" u="none" strike="noStrike">
                          <a:solidFill>
                            <a:srgbClr val="000000"/>
                          </a:solidFill>
                          <a:effectLst/>
                          <a:latin typeface="Calibri" panose="020F0502020204030204" pitchFamily="34" charset="0"/>
                        </a:rPr>
                        <a:t>Feb</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1" i="0" u="none" strike="noStrike">
                          <a:solidFill>
                            <a:srgbClr val="000000"/>
                          </a:solidFill>
                          <a:effectLst/>
                          <a:latin typeface="Calibri" panose="020F0502020204030204" pitchFamily="34" charset="0"/>
                        </a:rPr>
                        <a:t>Mar</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1" i="0" u="none" strike="noStrike">
                          <a:solidFill>
                            <a:srgbClr val="000000"/>
                          </a:solidFill>
                          <a:effectLst/>
                          <a:latin typeface="Calibri" panose="020F0502020204030204" pitchFamily="34" charset="0"/>
                        </a:rPr>
                        <a:t>Apr</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1" i="0" u="none" strike="noStrike">
                          <a:solidFill>
                            <a:srgbClr val="000000"/>
                          </a:solidFill>
                          <a:effectLst/>
                          <a:latin typeface="Calibri" panose="020F0502020204030204" pitchFamily="34" charset="0"/>
                        </a:rPr>
                        <a:t>Total</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1" i="0" u="none" strike="noStrike">
                          <a:solidFill>
                            <a:srgbClr val="000000"/>
                          </a:solidFill>
                          <a:effectLst/>
                          <a:latin typeface="Calibri" panose="020F0502020204030204" pitchFamily="34" charset="0"/>
                        </a:rPr>
                        <a:t>% of total</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1" i="0" u="none" strike="noStrike">
                          <a:solidFill>
                            <a:srgbClr val="000000"/>
                          </a:solidFill>
                          <a:effectLst/>
                          <a:latin typeface="Calibri" panose="020F0502020204030204" pitchFamily="34" charset="0"/>
                        </a:rPr>
                        <a:t>Nr of issues</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1" i="0" u="none" strike="noStrike">
                          <a:solidFill>
                            <a:srgbClr val="000000"/>
                          </a:solidFill>
                          <a:effectLst/>
                          <a:latin typeface="Calibri" panose="020F0502020204030204" pitchFamily="34" charset="0"/>
                        </a:rPr>
                        <a:t>% of issues</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0797268"/>
                  </a:ext>
                </a:extLst>
              </a:tr>
              <a:tr h="299758">
                <a:tc>
                  <a:txBody>
                    <a:bodyPr/>
                    <a:lstStyle/>
                    <a:p>
                      <a:pPr algn="ctr" fontAlgn="ctr"/>
                      <a:r>
                        <a:rPr lang="pl-PL" sz="1100" b="0" i="0" u="none" strike="noStrike">
                          <a:solidFill>
                            <a:srgbClr val="000000"/>
                          </a:solidFill>
                          <a:effectLst/>
                          <a:latin typeface="Calibri" panose="020F0502020204030204" pitchFamily="34" charset="0"/>
                        </a:rPr>
                        <a:t>Anbud</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312</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361</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329</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330</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1332</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4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16</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1%</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5637403"/>
                  </a:ext>
                </a:extLst>
              </a:tr>
              <a:tr h="299758">
                <a:tc>
                  <a:txBody>
                    <a:bodyPr/>
                    <a:lstStyle/>
                    <a:p>
                      <a:pPr algn="ctr" fontAlgn="ctr"/>
                      <a:r>
                        <a:rPr lang="pl-PL" sz="1100" b="0" i="0" u="none" strike="noStrike">
                          <a:solidFill>
                            <a:srgbClr val="000000"/>
                          </a:solidFill>
                          <a:effectLst/>
                          <a:latin typeface="Calibri" panose="020F0502020204030204" pitchFamily="34" charset="0"/>
                        </a:rPr>
                        <a:t>HS</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102</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146</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99</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108</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455</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14%</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3</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1%</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2378833"/>
                  </a:ext>
                </a:extLst>
              </a:tr>
              <a:tr h="299758">
                <a:tc>
                  <a:txBody>
                    <a:bodyPr/>
                    <a:lstStyle/>
                    <a:p>
                      <a:pPr algn="ctr" fontAlgn="ctr"/>
                      <a:r>
                        <a:rPr lang="pl-PL" sz="1100" b="0" i="0" u="none" strike="noStrike">
                          <a:solidFill>
                            <a:srgbClr val="000000"/>
                          </a:solidFill>
                          <a:effectLst/>
                          <a:latin typeface="Calibri" panose="020F0502020204030204" pitchFamily="34" charset="0"/>
                        </a:rPr>
                        <a:t>VDB</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84</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89</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93</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73</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339</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1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1</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2397923"/>
                  </a:ext>
                </a:extLst>
              </a:tr>
              <a:tr h="299758">
                <a:tc>
                  <a:txBody>
                    <a:bodyPr/>
                    <a:lstStyle/>
                    <a:p>
                      <a:pPr algn="ctr" fontAlgn="ctr"/>
                      <a:r>
                        <a:rPr lang="pl-PL" sz="1100" b="0" i="0" u="none" strike="noStrike">
                          <a:solidFill>
                            <a:srgbClr val="000000"/>
                          </a:solidFill>
                          <a:effectLst/>
                          <a:latin typeface="Calibri" panose="020F0502020204030204" pitchFamily="34" charset="0"/>
                        </a:rPr>
                        <a:t>ITC</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72</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58</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73</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dirty="0">
                          <a:solidFill>
                            <a:srgbClr val="000000"/>
                          </a:solidFill>
                          <a:effectLst/>
                          <a:latin typeface="Calibri" panose="020F0502020204030204" pitchFamily="34" charset="0"/>
                        </a:rPr>
                        <a:t>77</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280</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8%</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2133053"/>
                  </a:ext>
                </a:extLst>
              </a:tr>
              <a:tr h="299758">
                <a:tc>
                  <a:txBody>
                    <a:bodyPr/>
                    <a:lstStyle/>
                    <a:p>
                      <a:pPr algn="ctr" fontAlgn="ctr"/>
                      <a:r>
                        <a:rPr lang="pl-PL" sz="1100" b="0" i="0" u="none" strike="noStrike" dirty="0">
                          <a:solidFill>
                            <a:srgbClr val="000000"/>
                          </a:solidFill>
                          <a:effectLst/>
                          <a:latin typeface="Calibri" panose="020F0502020204030204" pitchFamily="34" charset="0"/>
                        </a:rPr>
                        <a:t>OMEGA</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dirty="0">
                          <a:solidFill>
                            <a:srgbClr val="000000"/>
                          </a:solidFill>
                          <a:effectLst/>
                          <a:latin typeface="Calibri" panose="020F0502020204030204" pitchFamily="34" charset="0"/>
                        </a:rPr>
                        <a:t>32</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dirty="0">
                          <a:solidFill>
                            <a:srgbClr val="000000"/>
                          </a:solidFill>
                          <a:effectLst/>
                          <a:latin typeface="Calibri" panose="020F0502020204030204" pitchFamily="34" charset="0"/>
                        </a:rPr>
                        <a:t>94</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dirty="0">
                          <a:solidFill>
                            <a:srgbClr val="000000"/>
                          </a:solidFill>
                          <a:effectLst/>
                          <a:latin typeface="Calibri" panose="020F0502020204030204" pitchFamily="34" charset="0"/>
                        </a:rPr>
                        <a:t>73</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dirty="0">
                          <a:solidFill>
                            <a:srgbClr val="000000"/>
                          </a:solidFill>
                          <a:effectLst/>
                          <a:latin typeface="Calibri" panose="020F0502020204030204" pitchFamily="34" charset="0"/>
                        </a:rPr>
                        <a:t>28</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dirty="0">
                          <a:solidFill>
                            <a:srgbClr val="000000"/>
                          </a:solidFill>
                          <a:effectLst/>
                          <a:latin typeface="Calibri" panose="020F0502020204030204" pitchFamily="34" charset="0"/>
                        </a:rPr>
                        <a:t>227</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dirty="0">
                          <a:solidFill>
                            <a:srgbClr val="000000"/>
                          </a:solidFill>
                          <a:effectLst/>
                          <a:latin typeface="Calibri" panose="020F0502020204030204" pitchFamily="34" charset="0"/>
                        </a:rPr>
                        <a:t>7%</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dirty="0">
                          <a:solidFill>
                            <a:srgbClr val="000000"/>
                          </a:solidFill>
                          <a:effectLst/>
                          <a:latin typeface="Calibri" panose="020F0502020204030204" pitchFamily="34" charset="0"/>
                        </a:rPr>
                        <a:t>9</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dirty="0">
                          <a:solidFill>
                            <a:srgbClr val="000000"/>
                          </a:solidFill>
                          <a:effectLst/>
                          <a:latin typeface="Calibri" panose="020F0502020204030204" pitchFamily="34" charset="0"/>
                        </a:rPr>
                        <a:t>4%</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2510335"/>
                  </a:ext>
                </a:extLst>
              </a:tr>
              <a:tr h="307445">
                <a:tc>
                  <a:txBody>
                    <a:bodyPr/>
                    <a:lstStyle/>
                    <a:p>
                      <a:pPr algn="ctr" fontAlgn="ctr"/>
                      <a:r>
                        <a:rPr lang="pl-PL" sz="1100" b="0" i="0" u="none" strike="noStrike">
                          <a:solidFill>
                            <a:srgbClr val="000000"/>
                          </a:solidFill>
                          <a:effectLst/>
                          <a:latin typeface="Calibri" panose="020F0502020204030204" pitchFamily="34" charset="0"/>
                        </a:rPr>
                        <a:t>PAWTRANS</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dirty="0">
                          <a:solidFill>
                            <a:srgbClr val="000000"/>
                          </a:solidFill>
                          <a:effectLst/>
                          <a:latin typeface="Calibri" panose="020F0502020204030204" pitchFamily="34" charset="0"/>
                        </a:rPr>
                        <a:t>42</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98</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38</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49</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1100" b="0" i="0" u="none" strike="noStrike">
                          <a:solidFill>
                            <a:srgbClr val="000000"/>
                          </a:solidFill>
                          <a:effectLst/>
                          <a:latin typeface="Calibri" panose="020F0502020204030204" pitchFamily="34" charset="0"/>
                        </a:rPr>
                        <a:t>227</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7%</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dirty="0">
                          <a:solidFill>
                            <a:srgbClr val="000000"/>
                          </a:solidFill>
                          <a:effectLst/>
                          <a:latin typeface="Calibri" panose="020F0502020204030204" pitchFamily="34" charset="0"/>
                        </a:rPr>
                        <a:t>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29639130"/>
                  </a:ext>
                </a:extLst>
              </a:tr>
            </a:tbl>
          </a:graphicData>
        </a:graphic>
      </p:graphicFrame>
    </p:spTree>
    <p:extLst>
      <p:ext uri="{BB962C8B-B14F-4D97-AF65-F5344CB8AC3E}">
        <p14:creationId xmlns:p14="http://schemas.microsoft.com/office/powerpoint/2010/main" val="3703399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9A103A-960B-4112-EBD6-9F2255AE6CE7}"/>
              </a:ext>
            </a:extLst>
          </p:cNvPr>
          <p:cNvSpPr>
            <a:spLocks noGrp="1"/>
          </p:cNvSpPr>
          <p:nvPr>
            <p:ph type="title"/>
          </p:nvPr>
        </p:nvSpPr>
        <p:spPr>
          <a:xfrm>
            <a:off x="2919782" y="276435"/>
            <a:ext cx="5460460" cy="738909"/>
          </a:xfrm>
        </p:spPr>
        <p:txBody>
          <a:bodyPr>
            <a:normAutofit fontScale="90000"/>
          </a:bodyPr>
          <a:lstStyle/>
          <a:p>
            <a:r>
              <a:rPr lang="en-US" b="1" dirty="0">
                <a:solidFill>
                  <a:schemeClr val="tx1"/>
                </a:solidFill>
              </a:rPr>
              <a:t>January – September 2024</a:t>
            </a:r>
            <a:br>
              <a:rPr lang="en-US" b="1" dirty="0">
                <a:solidFill>
                  <a:schemeClr val="tx1"/>
                </a:solidFill>
              </a:rPr>
            </a:br>
            <a:endParaRPr lang="en-US" b="1" dirty="0">
              <a:solidFill>
                <a:schemeClr val="tx1"/>
              </a:solidFill>
            </a:endParaRPr>
          </a:p>
        </p:txBody>
      </p:sp>
      <p:sp>
        <p:nvSpPr>
          <p:cNvPr id="4" name="Symbol zastępczy numeru slajdu 3">
            <a:extLst>
              <a:ext uri="{FF2B5EF4-FFF2-40B4-BE49-F238E27FC236}">
                <a16:creationId xmlns:a16="http://schemas.microsoft.com/office/drawing/2014/main" id="{8D89732F-B42C-413E-AE63-4FF4C29D3694}"/>
              </a:ext>
            </a:extLst>
          </p:cNvPr>
          <p:cNvSpPr>
            <a:spLocks noGrp="1"/>
          </p:cNvSpPr>
          <p:nvPr>
            <p:ph type="sldNum" sz="quarter" idx="12"/>
          </p:nvPr>
        </p:nvSpPr>
        <p:spPr/>
        <p:txBody>
          <a:bodyPr/>
          <a:lstStyle/>
          <a:p>
            <a:fld id="{8470F1AB-319E-48AE-9489-D88EBE16142A}" type="slidenum">
              <a:rPr lang="en-GB" smtClean="0"/>
              <a:t>2</a:t>
            </a:fld>
            <a:endParaRPr lang="en-GB"/>
          </a:p>
        </p:txBody>
      </p:sp>
      <p:sp>
        <p:nvSpPr>
          <p:cNvPr id="2" name="Title 2">
            <a:extLst>
              <a:ext uri="{FF2B5EF4-FFF2-40B4-BE49-F238E27FC236}">
                <a16:creationId xmlns:a16="http://schemas.microsoft.com/office/drawing/2014/main" id="{E319CF1B-5ADD-612A-A367-4BA508BA5F23}"/>
              </a:ext>
            </a:extLst>
          </p:cNvPr>
          <p:cNvSpPr txBox="1">
            <a:spLocks/>
          </p:cNvSpPr>
          <p:nvPr/>
        </p:nvSpPr>
        <p:spPr>
          <a:xfrm>
            <a:off x="2590768" y="4955638"/>
            <a:ext cx="5460460" cy="555589"/>
          </a:xfrm>
          <a:prstGeom prst="rect">
            <a:avLst/>
          </a:prstGeom>
        </p:spPr>
        <p:txBody>
          <a:bodyPr vert="horz" lIns="91440" tIns="45720" rIns="91440" bIns="45720" rtlCol="0" anchor="t">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pl-PL" sz="1200" b="1" dirty="0">
              <a:solidFill>
                <a:schemeClr val="tx1"/>
              </a:solidFill>
            </a:endParaRPr>
          </a:p>
          <a:p>
            <a:br>
              <a:rPr lang="en-US" sz="1200" b="1" dirty="0">
                <a:solidFill>
                  <a:schemeClr val="tx1"/>
                </a:solidFill>
              </a:rPr>
            </a:br>
            <a:r>
              <a:rPr lang="pl-PL" sz="1200" b="1" dirty="0">
                <a:solidFill>
                  <a:schemeClr val="tx1"/>
                </a:solidFill>
              </a:rPr>
              <a:t> </a:t>
            </a:r>
            <a:endParaRPr lang="en-US" sz="1200" b="1" dirty="0">
              <a:solidFill>
                <a:schemeClr val="tx1"/>
              </a:solidFill>
            </a:endParaRPr>
          </a:p>
        </p:txBody>
      </p:sp>
      <p:pic>
        <p:nvPicPr>
          <p:cNvPr id="1026" name="Picture 2">
            <a:extLst>
              <a:ext uri="{FF2B5EF4-FFF2-40B4-BE49-F238E27FC236}">
                <a16:creationId xmlns:a16="http://schemas.microsoft.com/office/drawing/2014/main" id="{BAB8D0E7-1AA6-0D2D-5960-816F18B2F3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19772" y="1171848"/>
            <a:ext cx="4591050" cy="333375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5685F161-7C24-E985-8F91-BE48E1BBCC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373" y="1171848"/>
            <a:ext cx="5000625" cy="3333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5974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F332DE91-3546-7582-A047-F7C8F885E029}"/>
              </a:ext>
            </a:extLst>
          </p:cNvPr>
          <p:cNvSpPr>
            <a:spLocks noGrp="1"/>
          </p:cNvSpPr>
          <p:nvPr>
            <p:ph type="sldNum" sz="quarter" idx="12"/>
          </p:nvPr>
        </p:nvSpPr>
        <p:spPr/>
        <p:txBody>
          <a:bodyPr/>
          <a:lstStyle/>
          <a:p>
            <a:fld id="{8470F1AB-319E-48AE-9489-D88EBE16142A}" type="slidenum">
              <a:rPr lang="en-GB" smtClean="0"/>
              <a:t>3</a:t>
            </a:fld>
            <a:endParaRPr lang="en-GB"/>
          </a:p>
        </p:txBody>
      </p:sp>
      <p:sp>
        <p:nvSpPr>
          <p:cNvPr id="10" name="Title 2">
            <a:extLst>
              <a:ext uri="{FF2B5EF4-FFF2-40B4-BE49-F238E27FC236}">
                <a16:creationId xmlns:a16="http://schemas.microsoft.com/office/drawing/2014/main" id="{C9C6750A-7217-3D84-2204-66C3205C3870}"/>
              </a:ext>
            </a:extLst>
          </p:cNvPr>
          <p:cNvSpPr>
            <a:spLocks noGrp="1"/>
          </p:cNvSpPr>
          <p:nvPr>
            <p:ph type="title"/>
          </p:nvPr>
        </p:nvSpPr>
        <p:spPr>
          <a:xfrm>
            <a:off x="2542212" y="225209"/>
            <a:ext cx="5474084" cy="738909"/>
          </a:xfrm>
        </p:spPr>
        <p:txBody>
          <a:bodyPr>
            <a:normAutofit fontScale="90000"/>
          </a:bodyPr>
          <a:lstStyle/>
          <a:p>
            <a:r>
              <a:rPr lang="en-US" b="1" dirty="0">
                <a:solidFill>
                  <a:schemeClr val="tx1"/>
                </a:solidFill>
              </a:rPr>
              <a:t>January – September 2024</a:t>
            </a:r>
          </a:p>
        </p:txBody>
      </p:sp>
      <p:sp>
        <p:nvSpPr>
          <p:cNvPr id="8" name="Rectangle 2">
            <a:extLst>
              <a:ext uri="{FF2B5EF4-FFF2-40B4-BE49-F238E27FC236}">
                <a16:creationId xmlns:a16="http://schemas.microsoft.com/office/drawing/2014/main" id="{9CDAD3B6-DC85-7947-E8D8-B8FAC9C8ADC3}"/>
              </a:ext>
            </a:extLst>
          </p:cNvPr>
          <p:cNvSpPr>
            <a:spLocks noChangeArrowheads="1"/>
          </p:cNvSpPr>
          <p:nvPr/>
        </p:nvSpPr>
        <p:spPr bwMode="auto">
          <a:xfrm>
            <a:off x="578984" y="105238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pl-PL" altLang="pl-P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altLang="pl-PL" sz="1800" b="0" i="0" u="none" strike="noStrike" cap="none" normalizeH="0" baseline="0">
              <a:ln>
                <a:noFill/>
              </a:ln>
              <a:solidFill>
                <a:schemeClr val="tx1"/>
              </a:solidFill>
              <a:effectLst/>
              <a:latin typeface="Arial" panose="020B0604020202020204" pitchFamily="34" charset="0"/>
            </a:endParaRPr>
          </a:p>
        </p:txBody>
      </p:sp>
      <p:sp>
        <p:nvSpPr>
          <p:cNvPr id="12" name="Rectangle 3">
            <a:extLst>
              <a:ext uri="{FF2B5EF4-FFF2-40B4-BE49-F238E27FC236}">
                <a16:creationId xmlns:a16="http://schemas.microsoft.com/office/drawing/2014/main" id="{E0AE92AD-443B-FD30-A8BD-62E3E8DC99B2}"/>
              </a:ext>
            </a:extLst>
          </p:cNvPr>
          <p:cNvSpPr>
            <a:spLocks noChangeArrowheads="1"/>
          </p:cNvSpPr>
          <p:nvPr/>
        </p:nvSpPr>
        <p:spPr bwMode="auto">
          <a:xfrm>
            <a:off x="578190" y="398592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pl-PL" altLang="pl-P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altLang="pl-PL" sz="1800" b="0" i="0" u="none" strike="noStrike" cap="none" normalizeH="0" baseline="0">
              <a:ln>
                <a:noFill/>
              </a:ln>
              <a:solidFill>
                <a:schemeClr val="tx1"/>
              </a:solidFill>
              <a:effectLst/>
              <a:latin typeface="Arial" panose="020B0604020202020204" pitchFamily="34" charset="0"/>
            </a:endParaRPr>
          </a:p>
        </p:txBody>
      </p:sp>
      <p:graphicFrame>
        <p:nvGraphicFramePr>
          <p:cNvPr id="5" name="Tabela 4">
            <a:extLst>
              <a:ext uri="{FF2B5EF4-FFF2-40B4-BE49-F238E27FC236}">
                <a16:creationId xmlns:a16="http://schemas.microsoft.com/office/drawing/2014/main" id="{B1D9E5E5-CF84-0BB7-DC22-968B2505FF52}"/>
              </a:ext>
            </a:extLst>
          </p:cNvPr>
          <p:cNvGraphicFramePr>
            <a:graphicFrameLocks noGrp="1"/>
          </p:cNvGraphicFramePr>
          <p:nvPr>
            <p:extLst>
              <p:ext uri="{D42A27DB-BD31-4B8C-83A1-F6EECF244321}">
                <p14:modId xmlns:p14="http://schemas.microsoft.com/office/powerpoint/2010/main" val="3274925020"/>
              </p:ext>
            </p:extLst>
          </p:nvPr>
        </p:nvGraphicFramePr>
        <p:xfrm>
          <a:off x="178244" y="1052383"/>
          <a:ext cx="10471088" cy="1851110"/>
        </p:xfrm>
        <a:graphic>
          <a:graphicData uri="http://schemas.openxmlformats.org/drawingml/2006/table">
            <a:tbl>
              <a:tblPr/>
              <a:tblGrid>
                <a:gridCol w="1388432">
                  <a:extLst>
                    <a:ext uri="{9D8B030D-6E8A-4147-A177-3AD203B41FA5}">
                      <a16:colId xmlns:a16="http://schemas.microsoft.com/office/drawing/2014/main" val="845332597"/>
                    </a:ext>
                  </a:extLst>
                </a:gridCol>
                <a:gridCol w="877411">
                  <a:extLst>
                    <a:ext uri="{9D8B030D-6E8A-4147-A177-3AD203B41FA5}">
                      <a16:colId xmlns:a16="http://schemas.microsoft.com/office/drawing/2014/main" val="3326850208"/>
                    </a:ext>
                  </a:extLst>
                </a:gridCol>
                <a:gridCol w="906337">
                  <a:extLst>
                    <a:ext uri="{9D8B030D-6E8A-4147-A177-3AD203B41FA5}">
                      <a16:colId xmlns:a16="http://schemas.microsoft.com/office/drawing/2014/main" val="162787391"/>
                    </a:ext>
                  </a:extLst>
                </a:gridCol>
                <a:gridCol w="771351">
                  <a:extLst>
                    <a:ext uri="{9D8B030D-6E8A-4147-A177-3AD203B41FA5}">
                      <a16:colId xmlns:a16="http://schemas.microsoft.com/office/drawing/2014/main" val="2568027013"/>
                    </a:ext>
                  </a:extLst>
                </a:gridCol>
                <a:gridCol w="742425">
                  <a:extLst>
                    <a:ext uri="{9D8B030D-6E8A-4147-A177-3AD203B41FA5}">
                      <a16:colId xmlns:a16="http://schemas.microsoft.com/office/drawing/2014/main" val="3189548837"/>
                    </a:ext>
                  </a:extLst>
                </a:gridCol>
                <a:gridCol w="617081">
                  <a:extLst>
                    <a:ext uri="{9D8B030D-6E8A-4147-A177-3AD203B41FA5}">
                      <a16:colId xmlns:a16="http://schemas.microsoft.com/office/drawing/2014/main" val="4018495122"/>
                    </a:ext>
                  </a:extLst>
                </a:gridCol>
                <a:gridCol w="617081">
                  <a:extLst>
                    <a:ext uri="{9D8B030D-6E8A-4147-A177-3AD203B41FA5}">
                      <a16:colId xmlns:a16="http://schemas.microsoft.com/office/drawing/2014/main" val="3806496092"/>
                    </a:ext>
                  </a:extLst>
                </a:gridCol>
                <a:gridCol w="617081">
                  <a:extLst>
                    <a:ext uri="{9D8B030D-6E8A-4147-A177-3AD203B41FA5}">
                      <a16:colId xmlns:a16="http://schemas.microsoft.com/office/drawing/2014/main" val="3948310990"/>
                    </a:ext>
                  </a:extLst>
                </a:gridCol>
                <a:gridCol w="713500">
                  <a:extLst>
                    <a:ext uri="{9D8B030D-6E8A-4147-A177-3AD203B41FA5}">
                      <a16:colId xmlns:a16="http://schemas.microsoft.com/office/drawing/2014/main" val="4161811824"/>
                    </a:ext>
                  </a:extLst>
                </a:gridCol>
                <a:gridCol w="732782">
                  <a:extLst>
                    <a:ext uri="{9D8B030D-6E8A-4147-A177-3AD203B41FA5}">
                      <a16:colId xmlns:a16="http://schemas.microsoft.com/office/drawing/2014/main" val="4187443583"/>
                    </a:ext>
                  </a:extLst>
                </a:gridCol>
                <a:gridCol w="617081">
                  <a:extLst>
                    <a:ext uri="{9D8B030D-6E8A-4147-A177-3AD203B41FA5}">
                      <a16:colId xmlns:a16="http://schemas.microsoft.com/office/drawing/2014/main" val="915997038"/>
                    </a:ext>
                  </a:extLst>
                </a:gridCol>
                <a:gridCol w="636364">
                  <a:extLst>
                    <a:ext uri="{9D8B030D-6E8A-4147-A177-3AD203B41FA5}">
                      <a16:colId xmlns:a16="http://schemas.microsoft.com/office/drawing/2014/main" val="3577143519"/>
                    </a:ext>
                  </a:extLst>
                </a:gridCol>
                <a:gridCol w="617081">
                  <a:extLst>
                    <a:ext uri="{9D8B030D-6E8A-4147-A177-3AD203B41FA5}">
                      <a16:colId xmlns:a16="http://schemas.microsoft.com/office/drawing/2014/main" val="2374437323"/>
                    </a:ext>
                  </a:extLst>
                </a:gridCol>
                <a:gridCol w="617081">
                  <a:extLst>
                    <a:ext uri="{9D8B030D-6E8A-4147-A177-3AD203B41FA5}">
                      <a16:colId xmlns:a16="http://schemas.microsoft.com/office/drawing/2014/main" val="3216093505"/>
                    </a:ext>
                  </a:extLst>
                </a:gridCol>
              </a:tblGrid>
              <a:tr h="185111">
                <a:tc gridSpan="14">
                  <a:txBody>
                    <a:bodyPr/>
                    <a:lstStyle/>
                    <a:p>
                      <a:pPr algn="ctr" fontAlgn="b"/>
                      <a:r>
                        <a:rPr lang="en-US" sz="900" b="1" i="0" u="none" strike="noStrike">
                          <a:solidFill>
                            <a:srgbClr val="000000"/>
                          </a:solidFill>
                          <a:effectLst/>
                          <a:latin typeface="Calibri" panose="020F0502020204030204" pitchFamily="34" charset="0"/>
                        </a:rPr>
                        <a:t>Number of issues per month</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val="2350995862"/>
                  </a:ext>
                </a:extLst>
              </a:tr>
              <a:tr h="185111">
                <a:tc>
                  <a:txBody>
                    <a:bodyPr/>
                    <a:lstStyle/>
                    <a:p>
                      <a:pPr algn="ctr" fontAlgn="b"/>
                      <a:r>
                        <a:rPr lang="pl-PL" sz="900" b="1" i="0" u="none" strike="noStrike" dirty="0">
                          <a:solidFill>
                            <a:srgbClr val="000000"/>
                          </a:solidFill>
                          <a:effectLst/>
                          <a:latin typeface="Calibri" panose="020F0502020204030204" pitchFamily="34" charset="0"/>
                        </a:rPr>
                        <a:t>SU</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Jan</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Feb</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Ma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Apri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May</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June</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July</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August</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Sep</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Octobe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Nov</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Dec</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Tota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29467297"/>
                  </a:ext>
                </a:extLst>
              </a:tr>
              <a:tr h="185111">
                <a:tc>
                  <a:txBody>
                    <a:bodyPr/>
                    <a:lstStyle/>
                    <a:p>
                      <a:pPr algn="ctr" fontAlgn="b"/>
                      <a:r>
                        <a:rPr lang="pl-PL" sz="900" b="0" i="0" u="none" strike="noStrike" dirty="0">
                          <a:solidFill>
                            <a:srgbClr val="000000"/>
                          </a:solidFill>
                          <a:effectLst/>
                          <a:latin typeface="Calibri" panose="020F0502020204030204" pitchFamily="34" charset="0"/>
                        </a:rPr>
                        <a:t>Katowice</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6</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5</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7</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7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934547"/>
                  </a:ext>
                </a:extLst>
              </a:tr>
              <a:tr h="185111">
                <a:tc>
                  <a:txBody>
                    <a:bodyPr/>
                    <a:lstStyle/>
                    <a:p>
                      <a:pPr algn="ctr" fontAlgn="b"/>
                      <a:r>
                        <a:rPr lang="pl-PL" sz="900" b="0" i="0" u="none" strike="noStrike" dirty="0" err="1">
                          <a:solidFill>
                            <a:srgbClr val="000000"/>
                          </a:solidFill>
                          <a:effectLst/>
                          <a:latin typeface="Calibri" panose="020F0502020204030204" pitchFamily="34" charset="0"/>
                        </a:rPr>
                        <a:t>Pratau</a:t>
                      </a:r>
                      <a:endParaRPr lang="pl-PL" sz="900" b="0" i="0" u="none" strike="noStrike" dirty="0">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9</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4</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2557268"/>
                  </a:ext>
                </a:extLst>
              </a:tr>
              <a:tr h="185111">
                <a:tc>
                  <a:txBody>
                    <a:bodyPr/>
                    <a:lstStyle/>
                    <a:p>
                      <a:pPr algn="ctr" fontAlgn="b"/>
                      <a:r>
                        <a:rPr lang="pl-PL" sz="900" b="0" i="0" u="none" strike="noStrike" dirty="0" err="1">
                          <a:solidFill>
                            <a:srgbClr val="000000"/>
                          </a:solidFill>
                          <a:effectLst/>
                          <a:latin typeface="Calibri" panose="020F0502020204030204" pitchFamily="34" charset="0"/>
                        </a:rPr>
                        <a:t>Kleve</a:t>
                      </a:r>
                      <a:endParaRPr lang="pl-PL" sz="900" b="0" i="0" u="none" strike="noStrike" dirty="0">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8</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8</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4</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3</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5</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43</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7259246"/>
                  </a:ext>
                </a:extLst>
              </a:tr>
              <a:tr h="185111">
                <a:tc>
                  <a:txBody>
                    <a:bodyPr/>
                    <a:lstStyle/>
                    <a:p>
                      <a:pPr algn="ctr" fontAlgn="b"/>
                      <a:r>
                        <a:rPr lang="pl-PL" sz="900" b="0" i="0" u="none" strike="noStrike" dirty="0" err="1">
                          <a:solidFill>
                            <a:srgbClr val="000000"/>
                          </a:solidFill>
                          <a:effectLst/>
                          <a:latin typeface="Calibri" panose="020F0502020204030204" pitchFamily="34" charset="0"/>
                        </a:rPr>
                        <a:t>Helsingborg</a:t>
                      </a:r>
                      <a:endParaRPr lang="pl-PL" sz="900" b="0" i="0" u="none" strike="noStrike" dirty="0">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2865599"/>
                  </a:ext>
                </a:extLst>
              </a:tr>
              <a:tr h="185111">
                <a:tc>
                  <a:txBody>
                    <a:bodyPr/>
                    <a:lstStyle/>
                    <a:p>
                      <a:pPr algn="ctr" fontAlgn="b"/>
                      <a:r>
                        <a:rPr lang="pl-PL" sz="900" b="0" i="0" u="none" strike="noStrike" dirty="0" err="1">
                          <a:solidFill>
                            <a:srgbClr val="000000"/>
                          </a:solidFill>
                          <a:effectLst/>
                          <a:latin typeface="Calibri" panose="020F0502020204030204" pitchFamily="34" charset="0"/>
                        </a:rPr>
                        <a:t>St</a:t>
                      </a:r>
                      <a:r>
                        <a:rPr lang="pl-PL" sz="900" b="0" i="0" u="none" strike="noStrike" dirty="0">
                          <a:solidFill>
                            <a:srgbClr val="000000"/>
                          </a:solidFill>
                          <a:effectLst/>
                          <a:latin typeface="Calibri" panose="020F0502020204030204" pitchFamily="34" charset="0"/>
                        </a:rPr>
                        <a:t> </a:t>
                      </a:r>
                      <a:r>
                        <a:rPr lang="pl-PL" sz="900" b="0" i="0" u="none" strike="noStrike" dirty="0" err="1">
                          <a:solidFill>
                            <a:srgbClr val="000000"/>
                          </a:solidFill>
                          <a:effectLst/>
                          <a:latin typeface="Calibri" panose="020F0502020204030204" pitchFamily="34" charset="0"/>
                        </a:rPr>
                        <a:t>Iria</a:t>
                      </a:r>
                      <a:endParaRPr lang="pl-PL" sz="900" b="0" i="0" u="none" strike="noStrike" dirty="0">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8</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1624215"/>
                  </a:ext>
                </a:extLst>
              </a:tr>
              <a:tr h="185111">
                <a:tc>
                  <a:txBody>
                    <a:bodyPr/>
                    <a:lstStyle/>
                    <a:p>
                      <a:pPr algn="ctr" fontAlgn="b"/>
                      <a:r>
                        <a:rPr lang="pl-PL" sz="900" b="0" i="0" u="none" strike="noStrike" dirty="0">
                          <a:solidFill>
                            <a:srgbClr val="000000"/>
                          </a:solidFill>
                          <a:effectLst/>
                          <a:latin typeface="Calibri" panose="020F0502020204030204" pitchFamily="34" charset="0"/>
                        </a:rPr>
                        <a:t>3PM</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0565984"/>
                  </a:ext>
                </a:extLst>
              </a:tr>
              <a:tr h="185111">
                <a:tc>
                  <a:txBody>
                    <a:bodyPr/>
                    <a:lstStyle/>
                    <a:p>
                      <a:pPr algn="ctr" fontAlgn="b"/>
                      <a:r>
                        <a:rPr lang="pl-PL" sz="900" b="0" i="0" u="none" strike="noStrike" dirty="0">
                          <a:solidFill>
                            <a:srgbClr val="000000"/>
                          </a:solidFill>
                          <a:effectLst/>
                          <a:latin typeface="Calibri" panose="020F0502020204030204" pitchFamily="34" charset="0"/>
                        </a:rPr>
                        <a:t>Tota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3</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9</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6</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4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4</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1</a:t>
                      </a:r>
                      <a:r>
                        <a:rPr lang="en-US" sz="900" b="0" i="0" u="none" strike="noStrike" dirty="0">
                          <a:solidFill>
                            <a:srgbClr val="000000"/>
                          </a:solidFill>
                          <a:effectLst/>
                          <a:latin typeface="Calibri" panose="020F0502020204030204" pitchFamily="34" charset="0"/>
                        </a:rPr>
                        <a:t>8</a:t>
                      </a:r>
                      <a:endParaRPr lang="pl-PL" sz="900" b="0" i="0" u="none" strike="noStrike" dirty="0">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0000"/>
                          </a:solidFill>
                          <a:effectLst/>
                          <a:latin typeface="Calibri" panose="020F0502020204030204" pitchFamily="34" charset="0"/>
                        </a:rPr>
                        <a:t>16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525194"/>
                  </a:ext>
                </a:extLst>
              </a:tr>
              <a:tr h="185111">
                <a:tc>
                  <a:txBody>
                    <a:bodyPr/>
                    <a:lstStyle/>
                    <a:p>
                      <a:pPr algn="ctr" fontAlgn="b"/>
                      <a:r>
                        <a:rPr lang="pl-PL" sz="900" b="1" i="0" u="none" strike="noStrike" dirty="0">
                          <a:solidFill>
                            <a:srgbClr val="000000"/>
                          </a:solidFill>
                          <a:effectLst/>
                          <a:latin typeface="Calibri" panose="020F0502020204030204" pitchFamily="34" charset="0"/>
                        </a:rPr>
                        <a:t>m/m - % </a:t>
                      </a:r>
                      <a:r>
                        <a:rPr lang="pl-PL" sz="900" b="1" i="0" u="none" strike="noStrike" dirty="0" err="1">
                          <a:solidFill>
                            <a:srgbClr val="000000"/>
                          </a:solidFill>
                          <a:effectLst/>
                          <a:latin typeface="Calibri" panose="020F0502020204030204" pitchFamily="34" charset="0"/>
                        </a:rPr>
                        <a:t>change</a:t>
                      </a:r>
                      <a:endParaRPr lang="pl-PL" sz="900" b="1" i="0" u="none" strike="noStrike" dirty="0">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B05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B050"/>
                          </a:solidFill>
                          <a:effectLst/>
                          <a:latin typeface="Calibri" panose="020F0502020204030204" pitchFamily="34" charset="0"/>
                        </a:rPr>
                        <a:t>-1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B050"/>
                          </a:solidFill>
                          <a:effectLst/>
                          <a:latin typeface="Calibri" panose="020F0502020204030204" pitchFamily="34" charset="0"/>
                        </a:rPr>
                        <a:t>-79%</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FF0000"/>
                          </a:solidFill>
                          <a:effectLst/>
                          <a:latin typeface="Calibri" panose="020F0502020204030204" pitchFamily="34" charset="0"/>
                        </a:rPr>
                        <a:t>8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B050"/>
                          </a:solidFill>
                          <a:effectLst/>
                          <a:latin typeface="Calibri" panose="020F0502020204030204" pitchFamily="34" charset="0"/>
                        </a:rPr>
                        <a:t>-5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B050"/>
                          </a:solidFill>
                          <a:effectLst/>
                          <a:latin typeface="Calibri" panose="020F0502020204030204" pitchFamily="34" charset="0"/>
                        </a:rPr>
                        <a:t>-5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00B050"/>
                          </a:solidFill>
                          <a:effectLst/>
                          <a:latin typeface="Calibri" panose="020F0502020204030204" pitchFamily="34" charset="0"/>
                        </a:rPr>
                        <a:t>-10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900" b="1" i="0" u="none" strike="noStrike">
                          <a:solidFill>
                            <a:srgbClr val="FF0000"/>
                          </a:solidFill>
                          <a:effectLst/>
                          <a:latin typeface="Calibri" panose="020F0502020204030204" pitchFamily="34" charset="0"/>
                        </a:rPr>
                        <a:t>4</a:t>
                      </a:r>
                      <a:r>
                        <a:rPr lang="pl-PL" sz="900" b="1" i="0" u="none" strike="noStrike">
                          <a:solidFill>
                            <a:srgbClr val="FF0000"/>
                          </a:solidFill>
                          <a:effectLst/>
                          <a:latin typeface="Calibri" panose="020F0502020204030204" pitchFamily="34" charset="0"/>
                        </a:rPr>
                        <a:t>0</a:t>
                      </a:r>
                      <a:r>
                        <a:rPr lang="en-US" sz="900" b="1" i="0" u="none" strike="noStrike" dirty="0">
                          <a:solidFill>
                            <a:srgbClr val="FF0000"/>
                          </a:solidFill>
                          <a:effectLst/>
                          <a:latin typeface="Calibri" panose="020F0502020204030204" pitchFamily="34" charset="0"/>
                        </a:rPr>
                        <a:t>0</a:t>
                      </a:r>
                      <a:r>
                        <a:rPr lang="pl-PL" sz="900" b="1" i="0" u="none" strike="noStrike" dirty="0">
                          <a:solidFill>
                            <a:srgbClr val="FF0000"/>
                          </a:solidFill>
                          <a:effectLst/>
                          <a:latin typeface="Calibri" panose="020F0502020204030204" pitchFamily="34" charset="0"/>
                        </a:rPr>
                        <a:t>%</a:t>
                      </a:r>
                      <a:r>
                        <a:rPr lang="en-US" sz="900" b="1" i="0" u="none" strike="noStrike" dirty="0">
                          <a:solidFill>
                            <a:srgbClr val="FF0000"/>
                          </a:solidFill>
                          <a:effectLst/>
                          <a:latin typeface="Calibri" panose="020F0502020204030204" pitchFamily="34" charset="0"/>
                        </a:rPr>
                        <a:t> ?</a:t>
                      </a:r>
                      <a:endParaRPr lang="pl-PL" sz="900" b="1" i="0" u="none" strike="noStrike" dirty="0">
                        <a:solidFill>
                          <a:srgbClr val="FF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a:solidFill>
                            <a:srgbClr val="FF0000"/>
                          </a:solidFill>
                          <a:effectLst/>
                          <a:latin typeface="Calibri" panose="020F0502020204030204" pitchFamily="34" charset="0"/>
                        </a:rPr>
                        <a:t>78%</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pl-PL" sz="900" b="1" i="0" u="none" strike="noStrike">
                        <a:solidFill>
                          <a:srgbClr val="FF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pl-PL" sz="900" b="1" i="0" u="none" strike="noStrike">
                        <a:solidFill>
                          <a:srgbClr val="FF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pl-PL" sz="900" b="1" i="0" u="none" strike="noStrike">
                        <a:solidFill>
                          <a:srgbClr val="FF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pl-PL" sz="900" b="0" i="0" u="none" strike="noStrike" dirty="0">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0577759"/>
                  </a:ext>
                </a:extLst>
              </a:tr>
            </a:tbl>
          </a:graphicData>
        </a:graphic>
      </p:graphicFrame>
      <p:graphicFrame>
        <p:nvGraphicFramePr>
          <p:cNvPr id="6" name="Tabela 5">
            <a:extLst>
              <a:ext uri="{FF2B5EF4-FFF2-40B4-BE49-F238E27FC236}">
                <a16:creationId xmlns:a16="http://schemas.microsoft.com/office/drawing/2014/main" id="{93EDA5D0-1511-91DF-A853-F470CE97069B}"/>
              </a:ext>
            </a:extLst>
          </p:cNvPr>
          <p:cNvGraphicFramePr>
            <a:graphicFrameLocks noGrp="1"/>
          </p:cNvGraphicFramePr>
          <p:nvPr>
            <p:extLst>
              <p:ext uri="{D42A27DB-BD31-4B8C-83A1-F6EECF244321}">
                <p14:modId xmlns:p14="http://schemas.microsoft.com/office/powerpoint/2010/main" val="1961651629"/>
              </p:ext>
            </p:extLst>
          </p:nvPr>
        </p:nvGraphicFramePr>
        <p:xfrm>
          <a:off x="178244" y="3267653"/>
          <a:ext cx="10471087" cy="2639241"/>
        </p:xfrm>
        <a:graphic>
          <a:graphicData uri="http://schemas.openxmlformats.org/drawingml/2006/table">
            <a:tbl>
              <a:tblPr/>
              <a:tblGrid>
                <a:gridCol w="1137132">
                  <a:extLst>
                    <a:ext uri="{9D8B030D-6E8A-4147-A177-3AD203B41FA5}">
                      <a16:colId xmlns:a16="http://schemas.microsoft.com/office/drawing/2014/main" val="2276339126"/>
                    </a:ext>
                  </a:extLst>
                </a:gridCol>
                <a:gridCol w="718604">
                  <a:extLst>
                    <a:ext uri="{9D8B030D-6E8A-4147-A177-3AD203B41FA5}">
                      <a16:colId xmlns:a16="http://schemas.microsoft.com/office/drawing/2014/main" val="715075486"/>
                    </a:ext>
                  </a:extLst>
                </a:gridCol>
                <a:gridCol w="747558">
                  <a:extLst>
                    <a:ext uri="{9D8B030D-6E8A-4147-A177-3AD203B41FA5}">
                      <a16:colId xmlns:a16="http://schemas.microsoft.com/office/drawing/2014/main" val="3755579137"/>
                    </a:ext>
                  </a:extLst>
                </a:gridCol>
                <a:gridCol w="631740">
                  <a:extLst>
                    <a:ext uri="{9D8B030D-6E8A-4147-A177-3AD203B41FA5}">
                      <a16:colId xmlns:a16="http://schemas.microsoft.com/office/drawing/2014/main" val="1895162591"/>
                    </a:ext>
                  </a:extLst>
                </a:gridCol>
                <a:gridCol w="610681">
                  <a:extLst>
                    <a:ext uri="{9D8B030D-6E8A-4147-A177-3AD203B41FA5}">
                      <a16:colId xmlns:a16="http://schemas.microsoft.com/office/drawing/2014/main" val="1378027651"/>
                    </a:ext>
                  </a:extLst>
                </a:gridCol>
                <a:gridCol w="505392">
                  <a:extLst>
                    <a:ext uri="{9D8B030D-6E8A-4147-A177-3AD203B41FA5}">
                      <a16:colId xmlns:a16="http://schemas.microsoft.com/office/drawing/2014/main" val="1996047546"/>
                    </a:ext>
                  </a:extLst>
                </a:gridCol>
                <a:gridCol w="505392">
                  <a:extLst>
                    <a:ext uri="{9D8B030D-6E8A-4147-A177-3AD203B41FA5}">
                      <a16:colId xmlns:a16="http://schemas.microsoft.com/office/drawing/2014/main" val="697656289"/>
                    </a:ext>
                  </a:extLst>
                </a:gridCol>
                <a:gridCol w="505392">
                  <a:extLst>
                    <a:ext uri="{9D8B030D-6E8A-4147-A177-3AD203B41FA5}">
                      <a16:colId xmlns:a16="http://schemas.microsoft.com/office/drawing/2014/main" val="1915035356"/>
                    </a:ext>
                  </a:extLst>
                </a:gridCol>
                <a:gridCol w="589624">
                  <a:extLst>
                    <a:ext uri="{9D8B030D-6E8A-4147-A177-3AD203B41FA5}">
                      <a16:colId xmlns:a16="http://schemas.microsoft.com/office/drawing/2014/main" val="1481946086"/>
                    </a:ext>
                  </a:extLst>
                </a:gridCol>
                <a:gridCol w="600152">
                  <a:extLst>
                    <a:ext uri="{9D8B030D-6E8A-4147-A177-3AD203B41FA5}">
                      <a16:colId xmlns:a16="http://schemas.microsoft.com/office/drawing/2014/main" val="3169883755"/>
                    </a:ext>
                  </a:extLst>
                </a:gridCol>
                <a:gridCol w="505392">
                  <a:extLst>
                    <a:ext uri="{9D8B030D-6E8A-4147-A177-3AD203B41FA5}">
                      <a16:colId xmlns:a16="http://schemas.microsoft.com/office/drawing/2014/main" val="1253856071"/>
                    </a:ext>
                  </a:extLst>
                </a:gridCol>
                <a:gridCol w="526450">
                  <a:extLst>
                    <a:ext uri="{9D8B030D-6E8A-4147-A177-3AD203B41FA5}">
                      <a16:colId xmlns:a16="http://schemas.microsoft.com/office/drawing/2014/main" val="6437750"/>
                    </a:ext>
                  </a:extLst>
                </a:gridCol>
                <a:gridCol w="505392">
                  <a:extLst>
                    <a:ext uri="{9D8B030D-6E8A-4147-A177-3AD203B41FA5}">
                      <a16:colId xmlns:a16="http://schemas.microsoft.com/office/drawing/2014/main" val="1110929726"/>
                    </a:ext>
                  </a:extLst>
                </a:gridCol>
                <a:gridCol w="505392">
                  <a:extLst>
                    <a:ext uri="{9D8B030D-6E8A-4147-A177-3AD203B41FA5}">
                      <a16:colId xmlns:a16="http://schemas.microsoft.com/office/drawing/2014/main" val="124422551"/>
                    </a:ext>
                  </a:extLst>
                </a:gridCol>
                <a:gridCol w="873907">
                  <a:extLst>
                    <a:ext uri="{9D8B030D-6E8A-4147-A177-3AD203B41FA5}">
                      <a16:colId xmlns:a16="http://schemas.microsoft.com/office/drawing/2014/main" val="1950294401"/>
                    </a:ext>
                  </a:extLst>
                </a:gridCol>
                <a:gridCol w="1002887">
                  <a:extLst>
                    <a:ext uri="{9D8B030D-6E8A-4147-A177-3AD203B41FA5}">
                      <a16:colId xmlns:a16="http://schemas.microsoft.com/office/drawing/2014/main" val="228625478"/>
                    </a:ext>
                  </a:extLst>
                </a:gridCol>
              </a:tblGrid>
              <a:tr h="293249">
                <a:tc gridSpan="16">
                  <a:txBody>
                    <a:bodyPr/>
                    <a:lstStyle/>
                    <a:p>
                      <a:pPr algn="ctr" fontAlgn="b"/>
                      <a:r>
                        <a:rPr lang="en-US" sz="800" b="1" i="0" u="none" strike="noStrike" dirty="0">
                          <a:solidFill>
                            <a:srgbClr val="000000"/>
                          </a:solidFill>
                          <a:effectLst/>
                          <a:latin typeface="Calibri" panose="020F0502020204030204" pitchFamily="34" charset="0"/>
                        </a:rPr>
                        <a:t>Number of orders versus number of issues</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tc hMerge="1">
                  <a:txBody>
                    <a:bodyPr/>
                    <a:lstStyle/>
                    <a:p>
                      <a:endParaRPr lang="pl-PL"/>
                    </a:p>
                  </a:txBody>
                  <a:tcPr/>
                </a:tc>
                <a:extLst>
                  <a:ext uri="{0D108BD9-81ED-4DB2-BD59-A6C34878D82A}">
                    <a16:rowId xmlns:a16="http://schemas.microsoft.com/office/drawing/2014/main" val="130196595"/>
                  </a:ext>
                </a:extLst>
              </a:tr>
              <a:tr h="293249">
                <a:tc>
                  <a:txBody>
                    <a:bodyPr/>
                    <a:lstStyle/>
                    <a:p>
                      <a:pPr algn="ctr" fontAlgn="ctr"/>
                      <a:r>
                        <a:rPr lang="pl-PL" sz="800" b="1" i="0" u="none" strike="noStrike">
                          <a:solidFill>
                            <a:srgbClr val="000000"/>
                          </a:solidFill>
                          <a:effectLst/>
                          <a:latin typeface="Calibri" panose="020F0502020204030204" pitchFamily="34" charset="0"/>
                        </a:rPr>
                        <a:t>SU</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Jan</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Feb</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March</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Apr</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May</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Jun</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Jul</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Aug</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Sep</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Oct</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Nov</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Dec</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Total</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nr of issues</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800" b="1" i="0" u="none" strike="noStrike">
                          <a:solidFill>
                            <a:srgbClr val="000000"/>
                          </a:solidFill>
                          <a:effectLst/>
                          <a:latin typeface="Calibri" panose="020F0502020204030204" pitchFamily="34" charset="0"/>
                        </a:rPr>
                        <a:t>% of issues per SU</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1462030874"/>
                  </a:ext>
                </a:extLst>
              </a:tr>
              <a:tr h="293249">
                <a:tc>
                  <a:txBody>
                    <a:bodyPr/>
                    <a:lstStyle/>
                    <a:p>
                      <a:pPr algn="ctr" fontAlgn="b"/>
                      <a:r>
                        <a:rPr lang="pl-PL" sz="800" b="0" i="0" u="none" strike="noStrike" dirty="0">
                          <a:solidFill>
                            <a:srgbClr val="000000"/>
                          </a:solidFill>
                          <a:effectLst/>
                          <a:latin typeface="Calibri" panose="020F0502020204030204" pitchFamily="34" charset="0"/>
                        </a:rPr>
                        <a:t>Katowice</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96</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575</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421</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424</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43</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82</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07</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41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459</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717</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72</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94%</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8239948"/>
                  </a:ext>
                </a:extLst>
              </a:tr>
              <a:tr h="293249">
                <a:tc>
                  <a:txBody>
                    <a:bodyPr/>
                    <a:lstStyle/>
                    <a:p>
                      <a:pPr algn="ctr" fontAlgn="b"/>
                      <a:r>
                        <a:rPr lang="pl-PL" sz="800" b="0" i="0" u="none" strike="noStrike" dirty="0" err="1">
                          <a:solidFill>
                            <a:srgbClr val="000000"/>
                          </a:solidFill>
                          <a:effectLst/>
                          <a:latin typeface="Calibri" panose="020F0502020204030204" pitchFamily="34" charset="0"/>
                        </a:rPr>
                        <a:t>Pratau</a:t>
                      </a:r>
                      <a:endParaRPr lang="pl-PL" sz="800" b="0" i="0" u="none" strike="noStrike" dirty="0">
                        <a:solidFill>
                          <a:srgbClr val="000000"/>
                        </a:solidFill>
                        <a:effectLst/>
                        <a:latin typeface="Calibri" panose="020F0502020204030204" pitchFamily="34" charset="0"/>
                      </a:endParaRP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91</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27</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19</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06</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95</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75</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96</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98</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dirty="0">
                          <a:solidFill>
                            <a:srgbClr val="000000"/>
                          </a:solidFill>
                          <a:effectLst/>
                          <a:latin typeface="Calibri" panose="020F0502020204030204" pitchFamily="34" charset="0"/>
                        </a:rPr>
                        <a:t>215</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822</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1</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7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9107739"/>
                  </a:ext>
                </a:extLst>
              </a:tr>
              <a:tr h="293249">
                <a:tc>
                  <a:txBody>
                    <a:bodyPr/>
                    <a:lstStyle/>
                    <a:p>
                      <a:pPr algn="ctr" fontAlgn="b"/>
                      <a:r>
                        <a:rPr lang="pl-PL" sz="800" b="0" i="0" u="none" strike="noStrike" dirty="0" err="1">
                          <a:solidFill>
                            <a:srgbClr val="000000"/>
                          </a:solidFill>
                          <a:effectLst/>
                          <a:latin typeface="Calibri" panose="020F0502020204030204" pitchFamily="34" charset="0"/>
                        </a:rPr>
                        <a:t>Kleve</a:t>
                      </a:r>
                      <a:endParaRPr lang="pl-PL" sz="800" b="0" i="0" u="none" strike="noStrike" dirty="0">
                        <a:solidFill>
                          <a:srgbClr val="000000"/>
                        </a:solidFill>
                        <a:effectLst/>
                        <a:latin typeface="Calibri" panose="020F0502020204030204" pitchFamily="34" charset="0"/>
                      </a:endParaRP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82</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76</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89</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93</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86</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58</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81</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97</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dirty="0">
                          <a:solidFill>
                            <a:srgbClr val="000000"/>
                          </a:solidFill>
                          <a:effectLst/>
                          <a:latin typeface="Calibri" panose="020F0502020204030204" pitchFamily="34" charset="0"/>
                        </a:rPr>
                        <a:t>91</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753</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43</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5.71%</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836843846"/>
                  </a:ext>
                </a:extLst>
              </a:tr>
              <a:tr h="293249">
                <a:tc>
                  <a:txBody>
                    <a:bodyPr/>
                    <a:lstStyle/>
                    <a:p>
                      <a:pPr algn="ctr" fontAlgn="b"/>
                      <a:r>
                        <a:rPr lang="pl-PL" sz="800" b="0" i="0" u="none" strike="noStrike" dirty="0" err="1">
                          <a:solidFill>
                            <a:srgbClr val="000000"/>
                          </a:solidFill>
                          <a:effectLst/>
                          <a:latin typeface="Calibri" panose="020F0502020204030204" pitchFamily="34" charset="0"/>
                        </a:rPr>
                        <a:t>Helsingborg</a:t>
                      </a:r>
                      <a:endParaRPr lang="pl-PL" sz="800" b="0" i="0" u="none" strike="noStrike" dirty="0">
                        <a:solidFill>
                          <a:srgbClr val="000000"/>
                        </a:solidFill>
                        <a:effectLst/>
                        <a:latin typeface="Calibri" panose="020F0502020204030204" pitchFamily="34" charset="0"/>
                      </a:endParaRP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51</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44</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1</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6</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3</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8</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8</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dirty="0">
                          <a:solidFill>
                            <a:srgbClr val="000000"/>
                          </a:solidFill>
                          <a:effectLst/>
                          <a:latin typeface="Calibri" panose="020F0502020204030204" pitchFamily="34" charset="0"/>
                        </a:rPr>
                        <a:t>41</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22</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62%</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53630669"/>
                  </a:ext>
                </a:extLst>
              </a:tr>
              <a:tr h="293249">
                <a:tc>
                  <a:txBody>
                    <a:bodyPr/>
                    <a:lstStyle/>
                    <a:p>
                      <a:pPr algn="ctr" fontAlgn="b"/>
                      <a:r>
                        <a:rPr lang="pl-PL" sz="800" b="0" i="0" u="none" strike="noStrike" dirty="0" err="1">
                          <a:solidFill>
                            <a:srgbClr val="000000"/>
                          </a:solidFill>
                          <a:effectLst/>
                          <a:latin typeface="Calibri" panose="020F0502020204030204" pitchFamily="34" charset="0"/>
                        </a:rPr>
                        <a:t>St</a:t>
                      </a:r>
                      <a:r>
                        <a:rPr lang="pl-PL" sz="800" b="0" i="0" u="none" strike="noStrike" dirty="0">
                          <a:solidFill>
                            <a:srgbClr val="000000"/>
                          </a:solidFill>
                          <a:effectLst/>
                          <a:latin typeface="Calibri" panose="020F0502020204030204" pitchFamily="34" charset="0"/>
                        </a:rPr>
                        <a:t> </a:t>
                      </a:r>
                      <a:r>
                        <a:rPr lang="pl-PL" sz="800" b="0" i="0" u="none" strike="noStrike" dirty="0" err="1">
                          <a:solidFill>
                            <a:srgbClr val="000000"/>
                          </a:solidFill>
                          <a:effectLst/>
                          <a:latin typeface="Calibri" panose="020F0502020204030204" pitchFamily="34" charset="0"/>
                        </a:rPr>
                        <a:t>Iria</a:t>
                      </a:r>
                      <a:endParaRPr lang="pl-PL" sz="800" b="0" i="0" u="none" strike="noStrike" dirty="0">
                        <a:solidFill>
                          <a:srgbClr val="000000"/>
                        </a:solidFill>
                        <a:effectLst/>
                        <a:latin typeface="Calibri" panose="020F0502020204030204" pitchFamily="34" charset="0"/>
                      </a:endParaRP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3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2</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9</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9</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1</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4</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7</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dirty="0">
                          <a:solidFill>
                            <a:srgbClr val="000000"/>
                          </a:solidFill>
                          <a:effectLst/>
                          <a:latin typeface="Calibri" panose="020F0502020204030204" pitchFamily="34" charset="0"/>
                        </a:rPr>
                        <a:t>28</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0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2</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6.0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535951973"/>
                  </a:ext>
                </a:extLst>
              </a:tr>
              <a:tr h="293249">
                <a:tc>
                  <a:txBody>
                    <a:bodyPr/>
                    <a:lstStyle/>
                    <a:p>
                      <a:pPr algn="ctr" fontAlgn="b"/>
                      <a:r>
                        <a:rPr lang="pl-PL" sz="800" b="0" i="0" u="none" strike="noStrike" dirty="0">
                          <a:solidFill>
                            <a:srgbClr val="000000"/>
                          </a:solidFill>
                          <a:effectLst/>
                          <a:latin typeface="Calibri" panose="020F0502020204030204" pitchFamily="34" charset="0"/>
                        </a:rPr>
                        <a:t>3PM</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2</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1</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3</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5</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7</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4</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26</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9</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dirty="0">
                          <a:solidFill>
                            <a:srgbClr val="000000"/>
                          </a:solidFill>
                          <a:effectLst/>
                          <a:latin typeface="Calibri" panose="020F0502020204030204" pitchFamily="34" charset="0"/>
                        </a:rPr>
                        <a:t>27</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184</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a:solidFill>
                            <a:srgbClr val="000000"/>
                          </a:solidFill>
                          <a:effectLst/>
                          <a:latin typeface="Calibri" panose="020F0502020204030204" pitchFamily="34" charset="0"/>
                        </a:rPr>
                        <a:t>0.00%</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4223541"/>
                  </a:ext>
                </a:extLst>
              </a:tr>
              <a:tr h="293249">
                <a:tc>
                  <a:txBody>
                    <a:bodyPr/>
                    <a:lstStyle/>
                    <a:p>
                      <a:pPr algn="ctr" fontAlgn="ctr"/>
                      <a:r>
                        <a:rPr lang="pl-PL" sz="800" b="1" i="0" u="none" strike="noStrike">
                          <a:solidFill>
                            <a:srgbClr val="000000"/>
                          </a:solidFill>
                          <a:effectLst/>
                          <a:latin typeface="Calibri" panose="020F0502020204030204" pitchFamily="34" charset="0"/>
                        </a:rPr>
                        <a:t>total</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a:solidFill>
                            <a:srgbClr val="000000"/>
                          </a:solidFill>
                          <a:effectLst/>
                          <a:latin typeface="Calibri" panose="020F0502020204030204" pitchFamily="34" charset="0"/>
                        </a:rPr>
                        <a:t>772</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a:solidFill>
                            <a:srgbClr val="000000"/>
                          </a:solidFill>
                          <a:effectLst/>
                          <a:latin typeface="Calibri" panose="020F0502020204030204" pitchFamily="34" charset="0"/>
                        </a:rPr>
                        <a:t>965</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a:solidFill>
                            <a:srgbClr val="000000"/>
                          </a:solidFill>
                          <a:effectLst/>
                          <a:latin typeface="Calibri" panose="020F0502020204030204" pitchFamily="34" charset="0"/>
                        </a:rPr>
                        <a:t>801</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a:solidFill>
                            <a:srgbClr val="000000"/>
                          </a:solidFill>
                          <a:effectLst/>
                          <a:latin typeface="Calibri" panose="020F0502020204030204" pitchFamily="34" charset="0"/>
                        </a:rPr>
                        <a:t>789</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a:solidFill>
                            <a:srgbClr val="000000"/>
                          </a:solidFill>
                          <a:effectLst/>
                          <a:latin typeface="Calibri" panose="020F0502020204030204" pitchFamily="34" charset="0"/>
                        </a:rPr>
                        <a:t>686</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a:solidFill>
                            <a:srgbClr val="000000"/>
                          </a:solidFill>
                          <a:effectLst/>
                          <a:latin typeface="Calibri" panose="020F0502020204030204" pitchFamily="34" charset="0"/>
                        </a:rPr>
                        <a:t>693</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a:solidFill>
                            <a:srgbClr val="000000"/>
                          </a:solidFill>
                          <a:effectLst/>
                          <a:latin typeface="Calibri" panose="020F0502020204030204" pitchFamily="34" charset="0"/>
                        </a:rPr>
                        <a:t>652</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a:solidFill>
                            <a:srgbClr val="000000"/>
                          </a:solidFill>
                          <a:effectLst/>
                          <a:latin typeface="Calibri" panose="020F0502020204030204" pitchFamily="34" charset="0"/>
                        </a:rPr>
                        <a:t>779</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a:solidFill>
                            <a:srgbClr val="000000"/>
                          </a:solidFill>
                          <a:effectLst/>
                          <a:latin typeface="Calibri" panose="020F0502020204030204" pitchFamily="34" charset="0"/>
                        </a:rPr>
                        <a:t>861</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dirty="0">
                          <a:solidFill>
                            <a:srgbClr val="000000"/>
                          </a:solidFill>
                          <a:effectLst/>
                          <a:latin typeface="Calibri" panose="020F0502020204030204" pitchFamily="34" charset="0"/>
                        </a:rPr>
                        <a:t>0</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dirty="0">
                          <a:solidFill>
                            <a:srgbClr val="000000"/>
                          </a:solidFill>
                          <a:effectLst/>
                          <a:latin typeface="Calibri" panose="020F0502020204030204" pitchFamily="34" charset="0"/>
                        </a:rPr>
                        <a:t>942</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a:solidFill>
                            <a:srgbClr val="000000"/>
                          </a:solidFill>
                          <a:effectLst/>
                          <a:latin typeface="Calibri" panose="020F0502020204030204" pitchFamily="34" charset="0"/>
                        </a:rPr>
                        <a:t>641</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1" i="0" u="none" strike="noStrike">
                          <a:solidFill>
                            <a:srgbClr val="000000"/>
                          </a:solidFill>
                          <a:effectLst/>
                          <a:latin typeface="Calibri" panose="020F0502020204030204" pitchFamily="34" charset="0"/>
                        </a:rPr>
                        <a:t>6998</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pl-PL" sz="800" b="1" i="0" u="none" strike="noStrike">
                          <a:solidFill>
                            <a:srgbClr val="000000"/>
                          </a:solidFill>
                          <a:effectLst/>
                          <a:latin typeface="Calibri" panose="020F0502020204030204" pitchFamily="34" charset="0"/>
                        </a:rPr>
                        <a:t>160</a:t>
                      </a:r>
                    </a:p>
                  </a:txBody>
                  <a:tcPr marL="6499" marR="6499" marT="6499" marB="31196"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800" b="0" i="0" u="none" strike="noStrike" dirty="0">
                          <a:solidFill>
                            <a:srgbClr val="000000"/>
                          </a:solidFill>
                          <a:effectLst/>
                          <a:latin typeface="Calibri" panose="020F0502020204030204" pitchFamily="34" charset="0"/>
                        </a:rPr>
                        <a:t>2.29%</a:t>
                      </a:r>
                    </a:p>
                  </a:txBody>
                  <a:tcPr marL="6499" marR="6499" marT="6499" marB="31196"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9556947"/>
                  </a:ext>
                </a:extLst>
              </a:tr>
            </a:tbl>
          </a:graphicData>
        </a:graphic>
      </p:graphicFrame>
    </p:spTree>
    <p:extLst>
      <p:ext uri="{BB962C8B-B14F-4D97-AF65-F5344CB8AC3E}">
        <p14:creationId xmlns:p14="http://schemas.microsoft.com/office/powerpoint/2010/main" val="11735445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B9FE4FAF-A6DB-451D-36D9-3E8141440418}"/>
              </a:ext>
            </a:extLst>
          </p:cNvPr>
          <p:cNvSpPr>
            <a:spLocks noGrp="1"/>
          </p:cNvSpPr>
          <p:nvPr>
            <p:ph type="sldNum" sz="quarter" idx="12"/>
          </p:nvPr>
        </p:nvSpPr>
        <p:spPr/>
        <p:txBody>
          <a:bodyPr/>
          <a:lstStyle/>
          <a:p>
            <a:fld id="{8470F1AB-319E-48AE-9489-D88EBE16142A}" type="slidenum">
              <a:rPr lang="en-GB" smtClean="0"/>
              <a:t>4</a:t>
            </a:fld>
            <a:endParaRPr lang="en-GB"/>
          </a:p>
        </p:txBody>
      </p:sp>
      <p:sp>
        <p:nvSpPr>
          <p:cNvPr id="6" name="Title 2">
            <a:extLst>
              <a:ext uri="{FF2B5EF4-FFF2-40B4-BE49-F238E27FC236}">
                <a16:creationId xmlns:a16="http://schemas.microsoft.com/office/drawing/2014/main" id="{B10C311C-EB7C-38C9-8C3C-9D48EE6F303B}"/>
              </a:ext>
            </a:extLst>
          </p:cNvPr>
          <p:cNvSpPr>
            <a:spLocks noGrp="1"/>
          </p:cNvSpPr>
          <p:nvPr>
            <p:ph type="title"/>
          </p:nvPr>
        </p:nvSpPr>
        <p:spPr>
          <a:xfrm>
            <a:off x="1749316" y="189247"/>
            <a:ext cx="6231294" cy="738909"/>
          </a:xfrm>
        </p:spPr>
        <p:txBody>
          <a:bodyPr>
            <a:normAutofit fontScale="90000"/>
          </a:bodyPr>
          <a:lstStyle/>
          <a:p>
            <a:r>
              <a:rPr lang="en-US" sz="2800" b="1" dirty="0">
                <a:solidFill>
                  <a:schemeClr val="tx1"/>
                </a:solidFill>
              </a:rPr>
              <a:t>January – September top view per SU</a:t>
            </a:r>
          </a:p>
        </p:txBody>
      </p:sp>
      <p:sp>
        <p:nvSpPr>
          <p:cNvPr id="7" name="Rectangle 1">
            <a:extLst>
              <a:ext uri="{FF2B5EF4-FFF2-40B4-BE49-F238E27FC236}">
                <a16:creationId xmlns:a16="http://schemas.microsoft.com/office/drawing/2014/main" id="{AE8CCF7B-114E-1B95-ECE6-CC85F8A8EBF7}"/>
              </a:ext>
            </a:extLst>
          </p:cNvPr>
          <p:cNvSpPr>
            <a:spLocks noChangeArrowheads="1"/>
          </p:cNvSpPr>
          <p:nvPr/>
        </p:nvSpPr>
        <p:spPr bwMode="auto">
          <a:xfrm>
            <a:off x="5718699" y="207810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pl-PL" altLang="pl-P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altLang="pl-PL" sz="1800" b="0" i="0" u="none" strike="noStrike" cap="none" normalizeH="0" baseline="0">
              <a:ln>
                <a:noFill/>
              </a:ln>
              <a:solidFill>
                <a:schemeClr val="tx1"/>
              </a:solidFill>
              <a:effectLst/>
              <a:latin typeface="Arial" panose="020B0604020202020204" pitchFamily="34" charset="0"/>
            </a:endParaRPr>
          </a:p>
        </p:txBody>
      </p:sp>
      <p:graphicFrame>
        <p:nvGraphicFramePr>
          <p:cNvPr id="3" name="Tabela 2">
            <a:extLst>
              <a:ext uri="{FF2B5EF4-FFF2-40B4-BE49-F238E27FC236}">
                <a16:creationId xmlns:a16="http://schemas.microsoft.com/office/drawing/2014/main" id="{685939BC-24F6-5A8F-51D8-5F8BE53B8045}"/>
              </a:ext>
            </a:extLst>
          </p:cNvPr>
          <p:cNvGraphicFramePr>
            <a:graphicFrameLocks noGrp="1"/>
          </p:cNvGraphicFramePr>
          <p:nvPr>
            <p:extLst>
              <p:ext uri="{D42A27DB-BD31-4B8C-83A1-F6EECF244321}">
                <p14:modId xmlns:p14="http://schemas.microsoft.com/office/powerpoint/2010/main" val="980965642"/>
              </p:ext>
            </p:extLst>
          </p:nvPr>
        </p:nvGraphicFramePr>
        <p:xfrm>
          <a:off x="6893530" y="1755935"/>
          <a:ext cx="2372782" cy="2676364"/>
        </p:xfrm>
        <a:graphic>
          <a:graphicData uri="http://schemas.openxmlformats.org/drawingml/2006/table">
            <a:tbl>
              <a:tblPr/>
              <a:tblGrid>
                <a:gridCol w="1453960">
                  <a:extLst>
                    <a:ext uri="{9D8B030D-6E8A-4147-A177-3AD203B41FA5}">
                      <a16:colId xmlns:a16="http://schemas.microsoft.com/office/drawing/2014/main" val="2564486883"/>
                    </a:ext>
                  </a:extLst>
                </a:gridCol>
                <a:gridCol w="918822">
                  <a:extLst>
                    <a:ext uri="{9D8B030D-6E8A-4147-A177-3AD203B41FA5}">
                      <a16:colId xmlns:a16="http://schemas.microsoft.com/office/drawing/2014/main" val="460603199"/>
                    </a:ext>
                  </a:extLst>
                </a:gridCol>
              </a:tblGrid>
              <a:tr h="243493">
                <a:tc>
                  <a:txBody>
                    <a:bodyPr/>
                    <a:lstStyle/>
                    <a:p>
                      <a:pPr algn="ctr" fontAlgn="ctr"/>
                      <a:r>
                        <a:rPr lang="pl-PL" sz="1100" b="1" i="0" u="none" strike="noStrike" dirty="0" err="1">
                          <a:solidFill>
                            <a:srgbClr val="000000"/>
                          </a:solidFill>
                          <a:effectLst/>
                          <a:latin typeface="Calibri" panose="020F0502020204030204" pitchFamily="34" charset="0"/>
                        </a:rPr>
                        <a:t>Qty</a:t>
                      </a:r>
                      <a:r>
                        <a:rPr lang="pl-PL" sz="1100" b="1" i="0" u="none" strike="noStrike" dirty="0">
                          <a:solidFill>
                            <a:srgbClr val="000000"/>
                          </a:solidFill>
                          <a:effectLst/>
                          <a:latin typeface="Calibri" panose="020F0502020204030204" pitchFamily="34" charset="0"/>
                        </a:rPr>
                        <a:t> of </a:t>
                      </a:r>
                      <a:r>
                        <a:rPr lang="pl-PL" sz="1100" b="1" i="0" u="none" strike="noStrike" dirty="0" err="1">
                          <a:solidFill>
                            <a:srgbClr val="000000"/>
                          </a:solidFill>
                          <a:effectLst/>
                          <a:latin typeface="Calibri" panose="020F0502020204030204" pitchFamily="34" charset="0"/>
                        </a:rPr>
                        <a:t>reported</a:t>
                      </a:r>
                      <a:r>
                        <a:rPr lang="pl-PL" sz="1100" b="1" i="0" u="none" strike="noStrike" dirty="0">
                          <a:solidFill>
                            <a:srgbClr val="000000"/>
                          </a:solidFill>
                          <a:effectLst/>
                          <a:latin typeface="Calibri" panose="020F0502020204030204" pitchFamily="34" charset="0"/>
                        </a:rPr>
                        <a:t> </a:t>
                      </a:r>
                      <a:r>
                        <a:rPr lang="pl-PL" sz="1100" b="1" i="0" u="none" strike="noStrike" dirty="0" err="1">
                          <a:solidFill>
                            <a:srgbClr val="000000"/>
                          </a:solidFill>
                          <a:effectLst/>
                          <a:latin typeface="Calibri" panose="020F0502020204030204" pitchFamily="34" charset="0"/>
                        </a:rPr>
                        <a:t>issues</a:t>
                      </a:r>
                      <a:endParaRPr lang="pl-PL" sz="1100" b="1" i="0" u="none" strike="noStrike" dirty="0">
                        <a:solidFill>
                          <a:srgbClr val="000000"/>
                        </a:solidFill>
                        <a:effectLst/>
                        <a:latin typeface="Calibri" panose="020F0502020204030204" pitchFamily="34" charset="0"/>
                      </a:endParaRP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1100" b="1" i="0" u="none" strike="noStrike">
                          <a:solidFill>
                            <a:srgbClr val="000000"/>
                          </a:solidFill>
                          <a:effectLst/>
                          <a:latin typeface="Calibri" panose="020F0502020204030204" pitchFamily="34" charset="0"/>
                        </a:rPr>
                        <a:t>Sum</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1262767"/>
                  </a:ext>
                </a:extLst>
              </a:tr>
              <a:tr h="347553">
                <a:tc>
                  <a:txBody>
                    <a:bodyPr/>
                    <a:lstStyle/>
                    <a:p>
                      <a:pPr algn="ctr" fontAlgn="b"/>
                      <a:r>
                        <a:rPr lang="pl-PL" sz="1100" b="1" i="0" u="none" strike="noStrike">
                          <a:solidFill>
                            <a:srgbClr val="000000"/>
                          </a:solidFill>
                          <a:effectLst/>
                          <a:latin typeface="Calibri" panose="020F0502020204030204" pitchFamily="34" charset="0"/>
                        </a:rPr>
                        <a:t>Katowice</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72</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2544801"/>
                  </a:ext>
                </a:extLst>
              </a:tr>
              <a:tr h="347553">
                <a:tc>
                  <a:txBody>
                    <a:bodyPr/>
                    <a:lstStyle/>
                    <a:p>
                      <a:pPr algn="ctr" fontAlgn="b"/>
                      <a:r>
                        <a:rPr lang="pl-PL" sz="1100" b="1" i="0" u="none" strike="noStrike">
                          <a:solidFill>
                            <a:srgbClr val="000000"/>
                          </a:solidFill>
                          <a:effectLst/>
                          <a:latin typeface="Calibri" panose="020F0502020204030204" pitchFamily="34" charset="0"/>
                        </a:rPr>
                        <a:t>Kleve</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43</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86879365"/>
                  </a:ext>
                </a:extLst>
              </a:tr>
              <a:tr h="347553">
                <a:tc>
                  <a:txBody>
                    <a:bodyPr/>
                    <a:lstStyle/>
                    <a:p>
                      <a:pPr algn="ctr" fontAlgn="b"/>
                      <a:r>
                        <a:rPr lang="pl-PL" sz="1100" b="1" i="0" u="none" strike="noStrike">
                          <a:solidFill>
                            <a:srgbClr val="000000"/>
                          </a:solidFill>
                          <a:effectLst/>
                          <a:latin typeface="Calibri" panose="020F0502020204030204" pitchFamily="34" charset="0"/>
                        </a:rPr>
                        <a:t>Pratau</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31</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8229409"/>
                  </a:ext>
                </a:extLst>
              </a:tr>
              <a:tr h="347553">
                <a:tc>
                  <a:txBody>
                    <a:bodyPr/>
                    <a:lstStyle/>
                    <a:p>
                      <a:pPr algn="ctr" fontAlgn="b"/>
                      <a:r>
                        <a:rPr lang="pl-PL" sz="1100" b="1" i="0" u="none" strike="noStrike">
                          <a:solidFill>
                            <a:srgbClr val="000000"/>
                          </a:solidFill>
                          <a:effectLst/>
                          <a:latin typeface="Calibri" panose="020F0502020204030204" pitchFamily="34" charset="0"/>
                        </a:rPr>
                        <a:t>Santa Iria</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12</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05501588"/>
                  </a:ext>
                </a:extLst>
              </a:tr>
              <a:tr h="347553">
                <a:tc>
                  <a:txBody>
                    <a:bodyPr/>
                    <a:lstStyle/>
                    <a:p>
                      <a:pPr algn="ctr" fontAlgn="b"/>
                      <a:r>
                        <a:rPr lang="pl-PL" sz="1100" b="1" i="0" u="none" strike="noStrike">
                          <a:solidFill>
                            <a:srgbClr val="000000"/>
                          </a:solidFill>
                          <a:effectLst/>
                          <a:latin typeface="Calibri" panose="020F0502020204030204" pitchFamily="34" charset="0"/>
                        </a:rPr>
                        <a:t>Helsingborg</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dirty="0">
                          <a:solidFill>
                            <a:srgbClr val="000000"/>
                          </a:solidFill>
                          <a:effectLst/>
                          <a:latin typeface="Calibri" panose="020F0502020204030204" pitchFamily="34" charset="0"/>
                        </a:rPr>
                        <a:t>2</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44762056"/>
                  </a:ext>
                </a:extLst>
              </a:tr>
              <a:tr h="347553">
                <a:tc>
                  <a:txBody>
                    <a:bodyPr/>
                    <a:lstStyle/>
                    <a:p>
                      <a:pPr algn="ctr" fontAlgn="b"/>
                      <a:r>
                        <a:rPr lang="pl-PL" sz="1100" b="1" i="0" u="none" strike="noStrike" dirty="0">
                          <a:solidFill>
                            <a:srgbClr val="000000"/>
                          </a:solidFill>
                          <a:effectLst/>
                          <a:latin typeface="Calibri" panose="020F0502020204030204" pitchFamily="34" charset="0"/>
                        </a:rPr>
                        <a:t>3PM</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16295072"/>
                  </a:ext>
                </a:extLst>
              </a:tr>
              <a:tr h="347553">
                <a:tc>
                  <a:txBody>
                    <a:bodyPr/>
                    <a:lstStyle/>
                    <a:p>
                      <a:pPr algn="ctr" fontAlgn="b"/>
                      <a:r>
                        <a:rPr lang="pl-PL" sz="1100" b="1" i="0" u="none" strike="noStrike" dirty="0">
                          <a:solidFill>
                            <a:srgbClr val="000000"/>
                          </a:solidFill>
                          <a:effectLst/>
                          <a:latin typeface="Calibri" panose="020F0502020204030204" pitchFamily="34" charset="0"/>
                        </a:rPr>
                        <a:t>Sum</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dirty="0">
                          <a:solidFill>
                            <a:srgbClr val="000000"/>
                          </a:solidFill>
                          <a:effectLst/>
                          <a:latin typeface="Calibri" panose="020F0502020204030204" pitchFamily="34" charset="0"/>
                        </a:rPr>
                        <a:t>16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8202673"/>
                  </a:ext>
                </a:extLst>
              </a:tr>
            </a:tbl>
          </a:graphicData>
        </a:graphic>
      </p:graphicFrame>
      <p:pic>
        <p:nvPicPr>
          <p:cNvPr id="5" name="Picture 1">
            <a:extLst>
              <a:ext uri="{FF2B5EF4-FFF2-40B4-BE49-F238E27FC236}">
                <a16:creationId xmlns:a16="http://schemas.microsoft.com/office/drawing/2014/main" id="{CC947885-A3BA-5AC7-E959-4475154C9C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2600" y="1320799"/>
            <a:ext cx="5924550" cy="4392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8440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B9FE4FAF-A6DB-451D-36D9-3E8141440418}"/>
              </a:ext>
            </a:extLst>
          </p:cNvPr>
          <p:cNvSpPr>
            <a:spLocks noGrp="1"/>
          </p:cNvSpPr>
          <p:nvPr>
            <p:ph type="sldNum" sz="quarter" idx="12"/>
          </p:nvPr>
        </p:nvSpPr>
        <p:spPr/>
        <p:txBody>
          <a:bodyPr/>
          <a:lstStyle/>
          <a:p>
            <a:fld id="{8470F1AB-319E-48AE-9489-D88EBE16142A}" type="slidenum">
              <a:rPr lang="en-GB" smtClean="0"/>
              <a:t>5</a:t>
            </a:fld>
            <a:endParaRPr lang="en-GB"/>
          </a:p>
        </p:txBody>
      </p:sp>
      <p:sp>
        <p:nvSpPr>
          <p:cNvPr id="6" name="Title 2">
            <a:extLst>
              <a:ext uri="{FF2B5EF4-FFF2-40B4-BE49-F238E27FC236}">
                <a16:creationId xmlns:a16="http://schemas.microsoft.com/office/drawing/2014/main" id="{B10C311C-EB7C-38C9-8C3C-9D48EE6F303B}"/>
              </a:ext>
            </a:extLst>
          </p:cNvPr>
          <p:cNvSpPr>
            <a:spLocks noGrp="1"/>
          </p:cNvSpPr>
          <p:nvPr>
            <p:ph type="title"/>
          </p:nvPr>
        </p:nvSpPr>
        <p:spPr>
          <a:xfrm>
            <a:off x="843379" y="283297"/>
            <a:ext cx="8007637" cy="738909"/>
          </a:xfrm>
        </p:spPr>
        <p:txBody>
          <a:bodyPr>
            <a:normAutofit fontScale="90000"/>
          </a:bodyPr>
          <a:lstStyle/>
          <a:p>
            <a:r>
              <a:rPr lang="en-US" b="1" dirty="0">
                <a:solidFill>
                  <a:schemeClr val="tx1"/>
                </a:solidFill>
              </a:rPr>
              <a:t>January – September top view per reason</a:t>
            </a:r>
            <a:r>
              <a:rPr lang="pl-PL" b="1" dirty="0">
                <a:solidFill>
                  <a:schemeClr val="tx1"/>
                </a:solidFill>
              </a:rPr>
              <a:t> </a:t>
            </a:r>
            <a:r>
              <a:rPr lang="pl-PL" b="1" dirty="0" err="1">
                <a:solidFill>
                  <a:schemeClr val="tx1"/>
                </a:solidFill>
              </a:rPr>
              <a:t>code</a:t>
            </a:r>
            <a:endParaRPr lang="en-US" b="1" dirty="0">
              <a:solidFill>
                <a:schemeClr val="tx1"/>
              </a:solidFill>
            </a:endParaRPr>
          </a:p>
        </p:txBody>
      </p:sp>
      <p:sp>
        <p:nvSpPr>
          <p:cNvPr id="9" name="Rectangle 1">
            <a:extLst>
              <a:ext uri="{FF2B5EF4-FFF2-40B4-BE49-F238E27FC236}">
                <a16:creationId xmlns:a16="http://schemas.microsoft.com/office/drawing/2014/main" id="{3A76DDD6-FA43-9B0A-0DEF-EE159D2401C6}"/>
              </a:ext>
            </a:extLst>
          </p:cNvPr>
          <p:cNvSpPr>
            <a:spLocks noChangeArrowheads="1"/>
          </p:cNvSpPr>
          <p:nvPr/>
        </p:nvSpPr>
        <p:spPr bwMode="auto">
          <a:xfrm>
            <a:off x="5181507" y="206744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pl-PL" altLang="pl-P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altLang="pl-PL" sz="1800" b="0" i="0" u="none" strike="noStrike" cap="none" normalizeH="0" baseline="0">
              <a:ln>
                <a:noFill/>
              </a:ln>
              <a:solidFill>
                <a:schemeClr val="tx1"/>
              </a:solidFill>
              <a:effectLst/>
              <a:latin typeface="Arial" panose="020B0604020202020204" pitchFamily="34" charset="0"/>
            </a:endParaRPr>
          </a:p>
        </p:txBody>
      </p:sp>
      <p:graphicFrame>
        <p:nvGraphicFramePr>
          <p:cNvPr id="3" name="Tabela 2">
            <a:extLst>
              <a:ext uri="{FF2B5EF4-FFF2-40B4-BE49-F238E27FC236}">
                <a16:creationId xmlns:a16="http://schemas.microsoft.com/office/drawing/2014/main" id="{76CD8E2F-1D1B-BD9D-5124-FA6D660E09F9}"/>
              </a:ext>
            </a:extLst>
          </p:cNvPr>
          <p:cNvGraphicFramePr>
            <a:graphicFrameLocks noGrp="1"/>
          </p:cNvGraphicFramePr>
          <p:nvPr>
            <p:extLst>
              <p:ext uri="{D42A27DB-BD31-4B8C-83A1-F6EECF244321}">
                <p14:modId xmlns:p14="http://schemas.microsoft.com/office/powerpoint/2010/main" val="3394969807"/>
              </p:ext>
            </p:extLst>
          </p:nvPr>
        </p:nvGraphicFramePr>
        <p:xfrm>
          <a:off x="7038802" y="2169058"/>
          <a:ext cx="2505248" cy="2621493"/>
        </p:xfrm>
        <a:graphic>
          <a:graphicData uri="http://schemas.openxmlformats.org/drawingml/2006/table">
            <a:tbl>
              <a:tblPr/>
              <a:tblGrid>
                <a:gridCol w="1535130">
                  <a:extLst>
                    <a:ext uri="{9D8B030D-6E8A-4147-A177-3AD203B41FA5}">
                      <a16:colId xmlns:a16="http://schemas.microsoft.com/office/drawing/2014/main" val="880779528"/>
                    </a:ext>
                  </a:extLst>
                </a:gridCol>
                <a:gridCol w="970118">
                  <a:extLst>
                    <a:ext uri="{9D8B030D-6E8A-4147-A177-3AD203B41FA5}">
                      <a16:colId xmlns:a16="http://schemas.microsoft.com/office/drawing/2014/main" val="352684181"/>
                    </a:ext>
                  </a:extLst>
                </a:gridCol>
              </a:tblGrid>
              <a:tr h="534999">
                <a:tc>
                  <a:txBody>
                    <a:bodyPr/>
                    <a:lstStyle/>
                    <a:p>
                      <a:pPr algn="ctr" fontAlgn="ctr"/>
                      <a:r>
                        <a:rPr lang="pl-PL" sz="1100" b="1" i="0" u="none" strike="noStrike">
                          <a:solidFill>
                            <a:srgbClr val="000000"/>
                          </a:solidFill>
                          <a:effectLst/>
                          <a:latin typeface="Calibri" panose="020F0502020204030204" pitchFamily="34" charset="0"/>
                        </a:rPr>
                        <a:t>RC</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pl-PL" sz="1100" b="1" i="0" u="none" strike="noStrike">
                          <a:solidFill>
                            <a:srgbClr val="000000"/>
                          </a:solidFill>
                          <a:effectLst/>
                          <a:latin typeface="Calibri" panose="020F0502020204030204" pitchFamily="34" charset="0"/>
                        </a:rPr>
                        <a:t>Nr of issues</a:t>
                      </a:r>
                    </a:p>
                  </a:txBody>
                  <a:tcPr marL="9525" marR="9525" marT="95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414740511"/>
                  </a:ext>
                </a:extLst>
              </a:tr>
              <a:tr h="347749">
                <a:tc>
                  <a:txBody>
                    <a:bodyPr/>
                    <a:lstStyle/>
                    <a:p>
                      <a:pPr algn="ctr" fontAlgn="b"/>
                      <a:r>
                        <a:rPr lang="pl-PL" sz="1100" b="1" i="0" u="none" strike="noStrike">
                          <a:solidFill>
                            <a:srgbClr val="000000"/>
                          </a:solidFill>
                          <a:effectLst/>
                          <a:latin typeface="Calibri" panose="020F0502020204030204" pitchFamily="34" charset="0"/>
                        </a:rPr>
                        <a:t>Supplier</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99</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1080641"/>
                  </a:ext>
                </a:extLst>
              </a:tr>
              <a:tr h="347749">
                <a:tc>
                  <a:txBody>
                    <a:bodyPr/>
                    <a:lstStyle/>
                    <a:p>
                      <a:pPr algn="ctr" fontAlgn="b"/>
                      <a:r>
                        <a:rPr lang="pl-PL" sz="1100" b="1" i="0" u="none" strike="noStrike">
                          <a:solidFill>
                            <a:srgbClr val="000000"/>
                          </a:solidFill>
                          <a:effectLst/>
                          <a:latin typeface="Calibri" panose="020F0502020204030204" pitchFamily="34" charset="0"/>
                        </a:rPr>
                        <a:t>Logistics</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35</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2949991"/>
                  </a:ext>
                </a:extLst>
              </a:tr>
              <a:tr h="347749">
                <a:tc>
                  <a:txBody>
                    <a:bodyPr/>
                    <a:lstStyle/>
                    <a:p>
                      <a:pPr algn="ctr" fontAlgn="b"/>
                      <a:r>
                        <a:rPr lang="pl-PL" sz="1100" b="1" i="0" u="none" strike="noStrike">
                          <a:solidFill>
                            <a:srgbClr val="000000"/>
                          </a:solidFill>
                          <a:effectLst/>
                          <a:latin typeface="Calibri" panose="020F0502020204030204" pitchFamily="34" charset="0"/>
                        </a:rPr>
                        <a:t>Mixed</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24</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6737262"/>
                  </a:ext>
                </a:extLst>
              </a:tr>
              <a:tr h="347749">
                <a:tc>
                  <a:txBody>
                    <a:bodyPr/>
                    <a:lstStyle/>
                    <a:p>
                      <a:pPr algn="ctr" fontAlgn="b"/>
                      <a:r>
                        <a:rPr lang="pl-PL" sz="1100" b="1" i="0" u="none" strike="noStrike">
                          <a:solidFill>
                            <a:srgbClr val="000000"/>
                          </a:solidFill>
                          <a:effectLst/>
                          <a:latin typeface="Calibri" panose="020F0502020204030204" pitchFamily="34" charset="0"/>
                        </a:rPr>
                        <a:t>Factory</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7828914"/>
                  </a:ext>
                </a:extLst>
              </a:tr>
              <a:tr h="347749">
                <a:tc>
                  <a:txBody>
                    <a:bodyPr/>
                    <a:lstStyle/>
                    <a:p>
                      <a:pPr algn="ctr" fontAlgn="b"/>
                      <a:r>
                        <a:rPr lang="pl-PL" sz="1100" b="1" i="0" u="none" strike="noStrike">
                          <a:solidFill>
                            <a:srgbClr val="000000"/>
                          </a:solidFill>
                          <a:effectLst/>
                          <a:latin typeface="Calibri" panose="020F0502020204030204" pitchFamily="34" charset="0"/>
                        </a:rPr>
                        <a:t>Planning</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2</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5541284"/>
                  </a:ext>
                </a:extLst>
              </a:tr>
              <a:tr h="347749">
                <a:tc>
                  <a:txBody>
                    <a:bodyPr/>
                    <a:lstStyle/>
                    <a:p>
                      <a:pPr algn="ctr" fontAlgn="b"/>
                      <a:r>
                        <a:rPr lang="pl-PL" sz="1100" b="1" i="0" u="none" strike="noStrike">
                          <a:solidFill>
                            <a:srgbClr val="000000"/>
                          </a:solidFill>
                          <a:effectLst/>
                          <a:latin typeface="Calibri" panose="020F0502020204030204" pitchFamily="34" charset="0"/>
                        </a:rPr>
                        <a:t>Total</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dirty="0">
                          <a:solidFill>
                            <a:srgbClr val="000000"/>
                          </a:solidFill>
                          <a:effectLst/>
                          <a:latin typeface="Calibri" panose="020F0502020204030204" pitchFamily="34" charset="0"/>
                        </a:rPr>
                        <a:t>16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7804697"/>
                  </a:ext>
                </a:extLst>
              </a:tr>
            </a:tbl>
          </a:graphicData>
        </a:graphic>
      </p:graphicFrame>
      <p:pic>
        <p:nvPicPr>
          <p:cNvPr id="1025" name="Picture 1">
            <a:extLst>
              <a:ext uri="{FF2B5EF4-FFF2-40B4-BE49-F238E27FC236}">
                <a16:creationId xmlns:a16="http://schemas.microsoft.com/office/drawing/2014/main" id="{C420CC63-9FCF-5182-E370-9DE8F32CFA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800" y="1841500"/>
            <a:ext cx="5934075" cy="3381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53382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B9FE4FAF-A6DB-451D-36D9-3E8141440418}"/>
              </a:ext>
            </a:extLst>
          </p:cNvPr>
          <p:cNvSpPr>
            <a:spLocks noGrp="1"/>
          </p:cNvSpPr>
          <p:nvPr>
            <p:ph type="sldNum" sz="quarter" idx="12"/>
          </p:nvPr>
        </p:nvSpPr>
        <p:spPr/>
        <p:txBody>
          <a:bodyPr/>
          <a:lstStyle/>
          <a:p>
            <a:fld id="{8470F1AB-319E-48AE-9489-D88EBE16142A}" type="slidenum">
              <a:rPr lang="en-GB" smtClean="0"/>
              <a:t>6</a:t>
            </a:fld>
            <a:endParaRPr lang="en-GB"/>
          </a:p>
        </p:txBody>
      </p:sp>
      <p:sp>
        <p:nvSpPr>
          <p:cNvPr id="6" name="Title 2">
            <a:extLst>
              <a:ext uri="{FF2B5EF4-FFF2-40B4-BE49-F238E27FC236}">
                <a16:creationId xmlns:a16="http://schemas.microsoft.com/office/drawing/2014/main" id="{B10C311C-EB7C-38C9-8C3C-9D48EE6F303B}"/>
              </a:ext>
            </a:extLst>
          </p:cNvPr>
          <p:cNvSpPr>
            <a:spLocks noGrp="1"/>
          </p:cNvSpPr>
          <p:nvPr>
            <p:ph type="title"/>
          </p:nvPr>
        </p:nvSpPr>
        <p:spPr>
          <a:xfrm>
            <a:off x="1741536" y="401409"/>
            <a:ext cx="7308656" cy="738909"/>
          </a:xfrm>
        </p:spPr>
        <p:txBody>
          <a:bodyPr>
            <a:normAutofit fontScale="90000"/>
          </a:bodyPr>
          <a:lstStyle/>
          <a:p>
            <a:r>
              <a:rPr lang="en-US" b="1" dirty="0">
                <a:solidFill>
                  <a:schemeClr val="tx1"/>
                </a:solidFill>
              </a:rPr>
              <a:t>January – September top view per supplier</a:t>
            </a:r>
          </a:p>
        </p:txBody>
      </p:sp>
      <p:sp>
        <p:nvSpPr>
          <p:cNvPr id="8" name="Rectangle 1">
            <a:extLst>
              <a:ext uri="{FF2B5EF4-FFF2-40B4-BE49-F238E27FC236}">
                <a16:creationId xmlns:a16="http://schemas.microsoft.com/office/drawing/2014/main" id="{3C90C005-C3CD-D481-38A6-F91AA6B23C55}"/>
              </a:ext>
            </a:extLst>
          </p:cNvPr>
          <p:cNvSpPr>
            <a:spLocks noChangeArrowheads="1"/>
          </p:cNvSpPr>
          <p:nvPr/>
        </p:nvSpPr>
        <p:spPr bwMode="auto">
          <a:xfrm>
            <a:off x="3189288" y="24177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pl-PL" altLang="pl-P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altLang="pl-PL" sz="1800" b="0" i="0" u="none" strike="noStrike" cap="none" normalizeH="0" baseline="0">
              <a:ln>
                <a:noFill/>
              </a:ln>
              <a:solidFill>
                <a:schemeClr val="tx1"/>
              </a:solidFill>
              <a:effectLst/>
              <a:latin typeface="Arial" panose="020B0604020202020204" pitchFamily="34" charset="0"/>
            </a:endParaRPr>
          </a:p>
        </p:txBody>
      </p:sp>
      <p:sp>
        <p:nvSpPr>
          <p:cNvPr id="10" name="Rectangle 2">
            <a:extLst>
              <a:ext uri="{FF2B5EF4-FFF2-40B4-BE49-F238E27FC236}">
                <a16:creationId xmlns:a16="http://schemas.microsoft.com/office/drawing/2014/main" id="{4ADD4E91-91DA-DC79-A730-5B87F943A31B}"/>
              </a:ext>
            </a:extLst>
          </p:cNvPr>
          <p:cNvSpPr>
            <a:spLocks noChangeArrowheads="1"/>
          </p:cNvSpPr>
          <p:nvPr/>
        </p:nvSpPr>
        <p:spPr bwMode="auto">
          <a:xfrm>
            <a:off x="1931045" y="505861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pl-PL" altLang="pl-P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pl-PL" altLang="pl-PL" sz="1800" b="0" i="0" u="none" strike="noStrike" cap="none" normalizeH="0" baseline="0">
              <a:ln>
                <a:noFill/>
              </a:ln>
              <a:solidFill>
                <a:schemeClr val="tx1"/>
              </a:solidFill>
              <a:effectLst/>
              <a:latin typeface="Arial" panose="020B0604020202020204" pitchFamily="34" charset="0"/>
            </a:endParaRPr>
          </a:p>
        </p:txBody>
      </p:sp>
      <p:graphicFrame>
        <p:nvGraphicFramePr>
          <p:cNvPr id="3" name="Tabela 2">
            <a:extLst>
              <a:ext uri="{FF2B5EF4-FFF2-40B4-BE49-F238E27FC236}">
                <a16:creationId xmlns:a16="http://schemas.microsoft.com/office/drawing/2014/main" id="{A090D3AA-3C8C-E4EB-DF65-856D9E8A1E89}"/>
              </a:ext>
            </a:extLst>
          </p:cNvPr>
          <p:cNvGraphicFramePr>
            <a:graphicFrameLocks noGrp="1"/>
          </p:cNvGraphicFramePr>
          <p:nvPr>
            <p:extLst>
              <p:ext uri="{D42A27DB-BD31-4B8C-83A1-F6EECF244321}">
                <p14:modId xmlns:p14="http://schemas.microsoft.com/office/powerpoint/2010/main" val="2144569184"/>
              </p:ext>
            </p:extLst>
          </p:nvPr>
        </p:nvGraphicFramePr>
        <p:xfrm>
          <a:off x="6248400" y="2676525"/>
          <a:ext cx="2683932" cy="1337310"/>
        </p:xfrm>
        <a:graphic>
          <a:graphicData uri="http://schemas.openxmlformats.org/drawingml/2006/table">
            <a:tbl>
              <a:tblPr/>
              <a:tblGrid>
                <a:gridCol w="1818386">
                  <a:extLst>
                    <a:ext uri="{9D8B030D-6E8A-4147-A177-3AD203B41FA5}">
                      <a16:colId xmlns:a16="http://schemas.microsoft.com/office/drawing/2014/main" val="1008426232"/>
                    </a:ext>
                  </a:extLst>
                </a:gridCol>
                <a:gridCol w="865546">
                  <a:extLst>
                    <a:ext uri="{9D8B030D-6E8A-4147-A177-3AD203B41FA5}">
                      <a16:colId xmlns:a16="http://schemas.microsoft.com/office/drawing/2014/main" val="2677056898"/>
                    </a:ext>
                  </a:extLst>
                </a:gridCol>
              </a:tblGrid>
              <a:tr h="180975">
                <a:tc>
                  <a:txBody>
                    <a:bodyPr/>
                    <a:lstStyle/>
                    <a:p>
                      <a:pPr algn="ctr" fontAlgn="b"/>
                      <a:r>
                        <a:rPr lang="pl-PL" sz="1100" b="1" i="0" u="none" strike="noStrike">
                          <a:solidFill>
                            <a:srgbClr val="000000"/>
                          </a:solidFill>
                          <a:effectLst/>
                          <a:latin typeface="Calibri" panose="020F0502020204030204" pitchFamily="34" charset="0"/>
                        </a:rPr>
                        <a:t>Supplier</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b"/>
                      <a:r>
                        <a:rPr lang="pl-PL" sz="1100" b="1" i="0" u="none" strike="noStrike">
                          <a:solidFill>
                            <a:srgbClr val="000000"/>
                          </a:solidFill>
                          <a:effectLst/>
                          <a:latin typeface="Calibri" panose="020F0502020204030204" pitchFamily="34" charset="0"/>
                        </a:rPr>
                        <a:t>Nr of issues</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4003727313"/>
                  </a:ext>
                </a:extLst>
              </a:tr>
              <a:tr h="180975">
                <a:tc>
                  <a:txBody>
                    <a:bodyPr/>
                    <a:lstStyle/>
                    <a:p>
                      <a:pPr algn="ctr" fontAlgn="b"/>
                      <a:r>
                        <a:rPr lang="pl-PL" sz="1100" b="0" i="0" u="none" strike="noStrike">
                          <a:solidFill>
                            <a:srgbClr val="000000"/>
                          </a:solidFill>
                          <a:effectLst/>
                          <a:latin typeface="Calibri" panose="020F0502020204030204" pitchFamily="34" charset="0"/>
                        </a:rPr>
                        <a:t>SIME DARBY UNIMILLS B.V.</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63</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9826304"/>
                  </a:ext>
                </a:extLst>
              </a:tr>
              <a:tr h="180975">
                <a:tc>
                  <a:txBody>
                    <a:bodyPr/>
                    <a:lstStyle/>
                    <a:p>
                      <a:pPr algn="ctr" fontAlgn="b"/>
                      <a:r>
                        <a:rPr lang="pl-PL" sz="1100" b="0" i="0" u="none" strike="noStrike">
                          <a:solidFill>
                            <a:srgbClr val="000000"/>
                          </a:solidFill>
                          <a:effectLst/>
                          <a:latin typeface="Calibri" panose="020F0502020204030204" pitchFamily="34" charset="0"/>
                        </a:rPr>
                        <a:t>CARGILL</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20</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80043799"/>
                  </a:ext>
                </a:extLst>
              </a:tr>
              <a:tr h="180975">
                <a:tc>
                  <a:txBody>
                    <a:bodyPr/>
                    <a:lstStyle/>
                    <a:p>
                      <a:pPr algn="ctr" fontAlgn="b"/>
                      <a:r>
                        <a:rPr lang="pl-PL" sz="1100" b="0" i="0" u="none" strike="noStrike">
                          <a:solidFill>
                            <a:srgbClr val="000000"/>
                          </a:solidFill>
                          <a:effectLst/>
                          <a:latin typeface="Calibri" panose="020F0502020204030204" pitchFamily="34" charset="0"/>
                        </a:rPr>
                        <a:t>OLENEX</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7</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0058937"/>
                  </a:ext>
                </a:extLst>
              </a:tr>
              <a:tr h="180975">
                <a:tc>
                  <a:txBody>
                    <a:bodyPr/>
                    <a:lstStyle/>
                    <a:p>
                      <a:pPr algn="ctr" fontAlgn="b"/>
                      <a:r>
                        <a:rPr lang="pl-PL" sz="1100" b="0" i="0" u="none" strike="noStrike">
                          <a:solidFill>
                            <a:srgbClr val="000000"/>
                          </a:solidFill>
                          <a:effectLst/>
                          <a:latin typeface="Calibri" panose="020F0502020204030204" pitchFamily="34" charset="0"/>
                        </a:rPr>
                        <a:t>ADM</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a:solidFill>
                            <a:srgbClr val="000000"/>
                          </a:solidFill>
                          <a:effectLst/>
                          <a:latin typeface="Calibri" panose="020F0502020204030204" pitchFamily="34" charset="0"/>
                        </a:rPr>
                        <a:t>3</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2172822"/>
                  </a:ext>
                </a:extLst>
              </a:tr>
              <a:tr h="180975">
                <a:tc>
                  <a:txBody>
                    <a:bodyPr/>
                    <a:lstStyle/>
                    <a:p>
                      <a:pPr algn="ctr" fontAlgn="b"/>
                      <a:r>
                        <a:rPr lang="pl-PL" sz="1100" b="0" i="0" u="none" strike="noStrike">
                          <a:solidFill>
                            <a:srgbClr val="000000"/>
                          </a:solidFill>
                          <a:effectLst/>
                          <a:latin typeface="Calibri" panose="020F0502020204030204" pitchFamily="34" charset="0"/>
                        </a:rPr>
                        <a:t>VITERRA</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1100" b="0" i="0" u="none" strike="noStrike" dirty="0">
                          <a:solidFill>
                            <a:srgbClr val="000000"/>
                          </a:solidFill>
                          <a:effectLst/>
                          <a:latin typeface="Calibri" panose="020F0502020204030204" pitchFamily="34" charset="0"/>
                        </a:rPr>
                        <a:t>2</a:t>
                      </a:r>
                    </a:p>
                  </a:txBody>
                  <a:tcPr marL="9525" marR="9525" marT="9525"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8960004"/>
                  </a:ext>
                </a:extLst>
              </a:tr>
            </a:tbl>
          </a:graphicData>
        </a:graphic>
      </p:graphicFrame>
      <p:pic>
        <p:nvPicPr>
          <p:cNvPr id="2049" name="Picture 1">
            <a:extLst>
              <a:ext uri="{FF2B5EF4-FFF2-40B4-BE49-F238E27FC236}">
                <a16:creationId xmlns:a16="http://schemas.microsoft.com/office/drawing/2014/main" id="{AC29D168-4C4D-A8BB-1A9E-98D6B09EB7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6650" y="1962150"/>
            <a:ext cx="4733925" cy="30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5385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E970ED61-47DF-4217-05AC-63C1B6E0BF39}"/>
              </a:ext>
            </a:extLst>
          </p:cNvPr>
          <p:cNvSpPr>
            <a:spLocks noGrp="1"/>
          </p:cNvSpPr>
          <p:nvPr>
            <p:ph type="sldNum" sz="quarter" idx="12"/>
          </p:nvPr>
        </p:nvSpPr>
        <p:spPr/>
        <p:txBody>
          <a:bodyPr/>
          <a:lstStyle/>
          <a:p>
            <a:fld id="{8470F1AB-319E-48AE-9489-D88EBE16142A}" type="slidenum">
              <a:rPr lang="en-GB" smtClean="0"/>
              <a:t>7</a:t>
            </a:fld>
            <a:endParaRPr lang="en-GB"/>
          </a:p>
        </p:txBody>
      </p:sp>
      <p:sp>
        <p:nvSpPr>
          <p:cNvPr id="8" name="pole tekstowe 7">
            <a:extLst>
              <a:ext uri="{FF2B5EF4-FFF2-40B4-BE49-F238E27FC236}">
                <a16:creationId xmlns:a16="http://schemas.microsoft.com/office/drawing/2014/main" id="{DE549EBC-A8C3-256E-FB1D-AA8A7BD7DB45}"/>
              </a:ext>
            </a:extLst>
          </p:cNvPr>
          <p:cNvSpPr txBox="1"/>
          <p:nvPr/>
        </p:nvSpPr>
        <p:spPr>
          <a:xfrm>
            <a:off x="1766138" y="233420"/>
            <a:ext cx="6099110" cy="523220"/>
          </a:xfrm>
          <a:prstGeom prst="rect">
            <a:avLst/>
          </a:prstGeom>
          <a:noFill/>
        </p:spPr>
        <p:txBody>
          <a:bodyPr wrap="square">
            <a:spAutoFit/>
          </a:bodyPr>
          <a:lstStyle/>
          <a:p>
            <a:pPr algn="ctr"/>
            <a:r>
              <a:rPr lang="pl-PL" sz="2800" b="1" dirty="0" err="1">
                <a:solidFill>
                  <a:schemeClr val="tx1"/>
                </a:solidFill>
              </a:rPr>
              <a:t>Sime</a:t>
            </a:r>
            <a:r>
              <a:rPr lang="pl-PL" sz="2800" b="1" dirty="0">
                <a:solidFill>
                  <a:schemeClr val="tx1"/>
                </a:solidFill>
              </a:rPr>
              <a:t> </a:t>
            </a:r>
            <a:r>
              <a:rPr lang="pl-PL" sz="2800" b="1" dirty="0" err="1">
                <a:solidFill>
                  <a:schemeClr val="tx1"/>
                </a:solidFill>
              </a:rPr>
              <a:t>Darby</a:t>
            </a:r>
            <a:r>
              <a:rPr lang="pl-PL" sz="2800" b="1" dirty="0">
                <a:solidFill>
                  <a:schemeClr val="tx1"/>
                </a:solidFill>
              </a:rPr>
              <a:t> </a:t>
            </a:r>
            <a:r>
              <a:rPr lang="pl-PL" sz="2800" b="1" dirty="0"/>
              <a:t>– </a:t>
            </a:r>
            <a:r>
              <a:rPr lang="pl-PL" sz="2800" b="1" dirty="0" err="1"/>
              <a:t>summary</a:t>
            </a:r>
            <a:endParaRPr lang="pl-PL" sz="2800" dirty="0"/>
          </a:p>
        </p:txBody>
      </p:sp>
      <p:sp>
        <p:nvSpPr>
          <p:cNvPr id="3" name="pole tekstowe 2">
            <a:extLst>
              <a:ext uri="{FF2B5EF4-FFF2-40B4-BE49-F238E27FC236}">
                <a16:creationId xmlns:a16="http://schemas.microsoft.com/office/drawing/2014/main" id="{FC6750C4-6417-1CC6-FEA2-B8D0C8465BB6}"/>
              </a:ext>
            </a:extLst>
          </p:cNvPr>
          <p:cNvSpPr txBox="1"/>
          <p:nvPr/>
        </p:nvSpPr>
        <p:spPr>
          <a:xfrm>
            <a:off x="325916" y="4847838"/>
            <a:ext cx="8787932" cy="461665"/>
          </a:xfrm>
          <a:prstGeom prst="rect">
            <a:avLst/>
          </a:prstGeom>
          <a:noFill/>
        </p:spPr>
        <p:txBody>
          <a:bodyPr wrap="square">
            <a:spAutoFit/>
          </a:bodyPr>
          <a:lstStyle/>
          <a:p>
            <a:pPr marL="171450" indent="-171450" algn="ctr">
              <a:buFontTx/>
              <a:buChar char="-"/>
            </a:pPr>
            <a:endParaRPr lang="en-US" sz="1200" b="1" dirty="0"/>
          </a:p>
          <a:p>
            <a:pPr marL="171450" indent="-171450" algn="ctr">
              <a:buFontTx/>
              <a:buChar char="-"/>
            </a:pPr>
            <a:endParaRPr lang="pl-PL" sz="1200" dirty="0"/>
          </a:p>
        </p:txBody>
      </p:sp>
      <p:graphicFrame>
        <p:nvGraphicFramePr>
          <p:cNvPr id="2" name="Tabela 1">
            <a:extLst>
              <a:ext uri="{FF2B5EF4-FFF2-40B4-BE49-F238E27FC236}">
                <a16:creationId xmlns:a16="http://schemas.microsoft.com/office/drawing/2014/main" id="{C29BE06A-FAAB-E2C6-B03C-459FC04EDC75}"/>
              </a:ext>
            </a:extLst>
          </p:cNvPr>
          <p:cNvGraphicFramePr>
            <a:graphicFrameLocks noGrp="1"/>
          </p:cNvGraphicFramePr>
          <p:nvPr>
            <p:extLst>
              <p:ext uri="{D42A27DB-BD31-4B8C-83A1-F6EECF244321}">
                <p14:modId xmlns:p14="http://schemas.microsoft.com/office/powerpoint/2010/main" val="622624008"/>
              </p:ext>
            </p:extLst>
          </p:nvPr>
        </p:nvGraphicFramePr>
        <p:xfrm>
          <a:off x="517538" y="934501"/>
          <a:ext cx="8596310" cy="1110666"/>
        </p:xfrm>
        <a:graphic>
          <a:graphicData uri="http://schemas.openxmlformats.org/drawingml/2006/table">
            <a:tbl>
              <a:tblPr/>
              <a:tblGrid>
                <a:gridCol w="1137399">
                  <a:extLst>
                    <a:ext uri="{9D8B030D-6E8A-4147-A177-3AD203B41FA5}">
                      <a16:colId xmlns:a16="http://schemas.microsoft.com/office/drawing/2014/main" val="2427162227"/>
                    </a:ext>
                  </a:extLst>
                </a:gridCol>
                <a:gridCol w="718773">
                  <a:extLst>
                    <a:ext uri="{9D8B030D-6E8A-4147-A177-3AD203B41FA5}">
                      <a16:colId xmlns:a16="http://schemas.microsoft.com/office/drawing/2014/main" val="3746282961"/>
                    </a:ext>
                  </a:extLst>
                </a:gridCol>
                <a:gridCol w="747734">
                  <a:extLst>
                    <a:ext uri="{9D8B030D-6E8A-4147-A177-3AD203B41FA5}">
                      <a16:colId xmlns:a16="http://schemas.microsoft.com/office/drawing/2014/main" val="3048085663"/>
                    </a:ext>
                  </a:extLst>
                </a:gridCol>
                <a:gridCol w="631888">
                  <a:extLst>
                    <a:ext uri="{9D8B030D-6E8A-4147-A177-3AD203B41FA5}">
                      <a16:colId xmlns:a16="http://schemas.microsoft.com/office/drawing/2014/main" val="2309387162"/>
                    </a:ext>
                  </a:extLst>
                </a:gridCol>
                <a:gridCol w="610825">
                  <a:extLst>
                    <a:ext uri="{9D8B030D-6E8A-4147-A177-3AD203B41FA5}">
                      <a16:colId xmlns:a16="http://schemas.microsoft.com/office/drawing/2014/main" val="1034956150"/>
                    </a:ext>
                  </a:extLst>
                </a:gridCol>
                <a:gridCol w="505510">
                  <a:extLst>
                    <a:ext uri="{9D8B030D-6E8A-4147-A177-3AD203B41FA5}">
                      <a16:colId xmlns:a16="http://schemas.microsoft.com/office/drawing/2014/main" val="3761042096"/>
                    </a:ext>
                  </a:extLst>
                </a:gridCol>
                <a:gridCol w="505510">
                  <a:extLst>
                    <a:ext uri="{9D8B030D-6E8A-4147-A177-3AD203B41FA5}">
                      <a16:colId xmlns:a16="http://schemas.microsoft.com/office/drawing/2014/main" val="1483999580"/>
                    </a:ext>
                  </a:extLst>
                </a:gridCol>
                <a:gridCol w="505510">
                  <a:extLst>
                    <a:ext uri="{9D8B030D-6E8A-4147-A177-3AD203B41FA5}">
                      <a16:colId xmlns:a16="http://schemas.microsoft.com/office/drawing/2014/main" val="98102050"/>
                    </a:ext>
                  </a:extLst>
                </a:gridCol>
                <a:gridCol w="589763">
                  <a:extLst>
                    <a:ext uri="{9D8B030D-6E8A-4147-A177-3AD203B41FA5}">
                      <a16:colId xmlns:a16="http://schemas.microsoft.com/office/drawing/2014/main" val="192660226"/>
                    </a:ext>
                  </a:extLst>
                </a:gridCol>
                <a:gridCol w="600294">
                  <a:extLst>
                    <a:ext uri="{9D8B030D-6E8A-4147-A177-3AD203B41FA5}">
                      <a16:colId xmlns:a16="http://schemas.microsoft.com/office/drawing/2014/main" val="661932814"/>
                    </a:ext>
                  </a:extLst>
                </a:gridCol>
                <a:gridCol w="505510">
                  <a:extLst>
                    <a:ext uri="{9D8B030D-6E8A-4147-A177-3AD203B41FA5}">
                      <a16:colId xmlns:a16="http://schemas.microsoft.com/office/drawing/2014/main" val="4141091633"/>
                    </a:ext>
                  </a:extLst>
                </a:gridCol>
                <a:gridCol w="526574">
                  <a:extLst>
                    <a:ext uri="{9D8B030D-6E8A-4147-A177-3AD203B41FA5}">
                      <a16:colId xmlns:a16="http://schemas.microsoft.com/office/drawing/2014/main" val="2298277796"/>
                    </a:ext>
                  </a:extLst>
                </a:gridCol>
                <a:gridCol w="505510">
                  <a:extLst>
                    <a:ext uri="{9D8B030D-6E8A-4147-A177-3AD203B41FA5}">
                      <a16:colId xmlns:a16="http://schemas.microsoft.com/office/drawing/2014/main" val="2395421477"/>
                    </a:ext>
                  </a:extLst>
                </a:gridCol>
                <a:gridCol w="505510">
                  <a:extLst>
                    <a:ext uri="{9D8B030D-6E8A-4147-A177-3AD203B41FA5}">
                      <a16:colId xmlns:a16="http://schemas.microsoft.com/office/drawing/2014/main" val="3487903231"/>
                    </a:ext>
                  </a:extLst>
                </a:gridCol>
              </a:tblGrid>
              <a:tr h="185111">
                <a:tc>
                  <a:txBody>
                    <a:bodyPr/>
                    <a:lstStyle/>
                    <a:p>
                      <a:pPr algn="ctr" fontAlgn="b"/>
                      <a:r>
                        <a:rPr lang="pl-PL" sz="900" b="1" i="0" u="none" strike="noStrike">
                          <a:solidFill>
                            <a:srgbClr val="000000"/>
                          </a:solidFill>
                          <a:effectLst/>
                          <a:latin typeface="Calibri" panose="020F0502020204030204" pitchFamily="34" charset="0"/>
                        </a:rPr>
                        <a:t>RC</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an</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Feb</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Ma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Ap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May</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un</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uly</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Aug</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Sep</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Oct</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Nov</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Dec</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Tota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978134822"/>
                  </a:ext>
                </a:extLst>
              </a:tr>
              <a:tr h="185111">
                <a:tc>
                  <a:txBody>
                    <a:bodyPr/>
                    <a:lstStyle/>
                    <a:p>
                      <a:pPr algn="ctr" fontAlgn="b"/>
                      <a:r>
                        <a:rPr lang="pl-PL" sz="900" b="0" i="0" u="none" strike="noStrike">
                          <a:solidFill>
                            <a:srgbClr val="000000"/>
                          </a:solidFill>
                          <a:effectLst/>
                          <a:latin typeface="Calibri" panose="020F0502020204030204" pitchFamily="34" charset="0"/>
                        </a:rPr>
                        <a:t>Headspace</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41092114"/>
                  </a:ext>
                </a:extLst>
              </a:tr>
              <a:tr h="185111">
                <a:tc>
                  <a:txBody>
                    <a:bodyPr/>
                    <a:lstStyle/>
                    <a:p>
                      <a:pPr algn="ctr" fontAlgn="b"/>
                      <a:r>
                        <a:rPr lang="pl-PL" sz="900" b="0" i="0" u="none" strike="noStrike">
                          <a:solidFill>
                            <a:srgbClr val="000000"/>
                          </a:solidFill>
                          <a:effectLst/>
                          <a:latin typeface="Calibri" panose="020F0502020204030204" pitchFamily="34" charset="0"/>
                        </a:rPr>
                        <a:t>Quality issue</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6</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6</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61647117"/>
                  </a:ext>
                </a:extLst>
              </a:tr>
              <a:tr h="185111">
                <a:tc>
                  <a:txBody>
                    <a:bodyPr/>
                    <a:lstStyle/>
                    <a:p>
                      <a:pPr algn="ctr" fontAlgn="b"/>
                      <a:r>
                        <a:rPr lang="pl-PL" sz="900" b="0" i="0" u="none" strike="noStrike">
                          <a:solidFill>
                            <a:srgbClr val="000000"/>
                          </a:solidFill>
                          <a:effectLst/>
                          <a:latin typeface="Calibri" panose="020F0502020204030204" pitchFamily="34" charset="0"/>
                        </a:rPr>
                        <a:t>Delay with loading</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4</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9</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3</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7</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5472848"/>
                  </a:ext>
                </a:extLst>
              </a:tr>
              <a:tr h="185111">
                <a:tc>
                  <a:txBody>
                    <a:bodyPr/>
                    <a:lstStyle/>
                    <a:p>
                      <a:pPr algn="ctr" fontAlgn="b"/>
                      <a:r>
                        <a:rPr lang="pl-PL" sz="900" b="0" i="0" u="none" strike="noStrike">
                          <a:solidFill>
                            <a:srgbClr val="000000"/>
                          </a:solidFill>
                          <a:effectLst/>
                          <a:latin typeface="Calibri" panose="020F0502020204030204" pitchFamily="34" charset="0"/>
                        </a:rPr>
                        <a:t>Overlooked emai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5042970"/>
                  </a:ext>
                </a:extLst>
              </a:tr>
              <a:tr h="185111">
                <a:tc>
                  <a:txBody>
                    <a:bodyPr/>
                    <a:lstStyle/>
                    <a:p>
                      <a:pPr algn="ctr" fontAlgn="b"/>
                      <a:r>
                        <a:rPr lang="pl-PL" sz="900" b="1" i="0" u="none" strike="noStrike">
                          <a:solidFill>
                            <a:srgbClr val="000000"/>
                          </a:solidFill>
                          <a:effectLst/>
                          <a:latin typeface="Calibri" panose="020F0502020204030204" pitchFamily="34" charset="0"/>
                        </a:rPr>
                        <a:t>Tota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14</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19</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6</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16</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1" i="0" u="none" strike="noStrike" dirty="0">
                          <a:solidFill>
                            <a:srgbClr val="000000"/>
                          </a:solidFill>
                          <a:effectLst/>
                          <a:latin typeface="Calibri" panose="020F0502020204030204" pitchFamily="34" charset="0"/>
                        </a:rPr>
                        <a:t>63</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1871203"/>
                  </a:ext>
                </a:extLst>
              </a:tr>
            </a:tbl>
          </a:graphicData>
        </a:graphic>
      </p:graphicFrame>
      <p:pic>
        <p:nvPicPr>
          <p:cNvPr id="3073" name="Picture 1">
            <a:extLst>
              <a:ext uri="{FF2B5EF4-FFF2-40B4-BE49-F238E27FC236}">
                <a16:creationId xmlns:a16="http://schemas.microsoft.com/office/drawing/2014/main" id="{4FA25F69-0AAB-6034-5A7F-38CC1323D3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7538" y="2692400"/>
            <a:ext cx="8596310" cy="1857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30209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25DF1CBA-C6C5-2A7B-2412-07DAF8819095}"/>
              </a:ext>
            </a:extLst>
          </p:cNvPr>
          <p:cNvSpPr>
            <a:spLocks noGrp="1"/>
          </p:cNvSpPr>
          <p:nvPr>
            <p:ph type="sldNum" sz="quarter" idx="12"/>
          </p:nvPr>
        </p:nvSpPr>
        <p:spPr/>
        <p:txBody>
          <a:bodyPr/>
          <a:lstStyle/>
          <a:p>
            <a:fld id="{8470F1AB-319E-48AE-9489-D88EBE16142A}" type="slidenum">
              <a:rPr lang="en-GB" smtClean="0"/>
              <a:t>8</a:t>
            </a:fld>
            <a:endParaRPr lang="en-GB"/>
          </a:p>
        </p:txBody>
      </p:sp>
      <p:sp>
        <p:nvSpPr>
          <p:cNvPr id="10" name="pole tekstowe 9">
            <a:extLst>
              <a:ext uri="{FF2B5EF4-FFF2-40B4-BE49-F238E27FC236}">
                <a16:creationId xmlns:a16="http://schemas.microsoft.com/office/drawing/2014/main" id="{DC8AF736-7D3E-2B8F-7991-AD63E3CF0DE5}"/>
              </a:ext>
            </a:extLst>
          </p:cNvPr>
          <p:cNvSpPr txBox="1"/>
          <p:nvPr/>
        </p:nvSpPr>
        <p:spPr>
          <a:xfrm>
            <a:off x="1766138" y="233420"/>
            <a:ext cx="6099110" cy="523220"/>
          </a:xfrm>
          <a:prstGeom prst="rect">
            <a:avLst/>
          </a:prstGeom>
          <a:noFill/>
        </p:spPr>
        <p:txBody>
          <a:bodyPr wrap="square" lIns="91440" tIns="45720" rIns="91440" bIns="45720" anchor="t">
            <a:spAutoFit/>
          </a:bodyPr>
          <a:lstStyle/>
          <a:p>
            <a:pPr algn="ctr"/>
            <a:r>
              <a:rPr lang="pl-PL" sz="2800" b="1" dirty="0" err="1"/>
              <a:t>Cargill</a:t>
            </a:r>
            <a:r>
              <a:rPr lang="pl-PL" sz="2800" b="1" dirty="0"/>
              <a:t> –</a:t>
            </a:r>
            <a:r>
              <a:rPr lang="pl-PL" sz="2800" b="1" dirty="0" err="1"/>
              <a:t>summary</a:t>
            </a:r>
            <a:endParaRPr lang="pl-PL" sz="2800" dirty="0"/>
          </a:p>
        </p:txBody>
      </p:sp>
      <p:sp>
        <p:nvSpPr>
          <p:cNvPr id="11" name="pole tekstowe 10">
            <a:extLst>
              <a:ext uri="{FF2B5EF4-FFF2-40B4-BE49-F238E27FC236}">
                <a16:creationId xmlns:a16="http://schemas.microsoft.com/office/drawing/2014/main" id="{893A44EC-6782-6284-4B75-618C10063730}"/>
              </a:ext>
            </a:extLst>
          </p:cNvPr>
          <p:cNvSpPr txBox="1"/>
          <p:nvPr/>
        </p:nvSpPr>
        <p:spPr>
          <a:xfrm>
            <a:off x="1840327" y="2725999"/>
            <a:ext cx="6099110" cy="261610"/>
          </a:xfrm>
          <a:prstGeom prst="rect">
            <a:avLst/>
          </a:prstGeom>
          <a:noFill/>
        </p:spPr>
        <p:txBody>
          <a:bodyPr wrap="square" lIns="91440" tIns="45720" rIns="91440" bIns="45720" anchor="t">
            <a:spAutoFit/>
          </a:bodyPr>
          <a:lstStyle/>
          <a:p>
            <a:pPr algn="ctr"/>
            <a:r>
              <a:rPr lang="pl-PL" sz="1100" b="1" dirty="0"/>
              <a:t>*</a:t>
            </a:r>
            <a:r>
              <a:rPr lang="en-US" sz="1100" dirty="0"/>
              <a:t>O</a:t>
            </a:r>
            <a:r>
              <a:rPr lang="pl-PL" sz="1100" dirty="0" err="1"/>
              <a:t>ther</a:t>
            </a:r>
            <a:r>
              <a:rPr lang="pl-PL" sz="1100" dirty="0"/>
              <a:t> – </a:t>
            </a:r>
            <a:r>
              <a:rPr lang="pl-PL" sz="1100" dirty="0" err="1"/>
              <a:t>changing</a:t>
            </a:r>
            <a:r>
              <a:rPr lang="pl-PL" sz="1100" dirty="0"/>
              <a:t> of </a:t>
            </a:r>
            <a:r>
              <a:rPr lang="pl-PL" sz="1100" dirty="0" err="1"/>
              <a:t>loading</a:t>
            </a:r>
            <a:r>
              <a:rPr lang="pl-PL" sz="1100" dirty="0"/>
              <a:t> place – from Salzgitter to </a:t>
            </a:r>
            <a:r>
              <a:rPr lang="pl-PL" sz="1100" dirty="0" err="1"/>
              <a:t>Riesa</a:t>
            </a:r>
            <a:r>
              <a:rPr lang="en-US" sz="1100" dirty="0"/>
              <a:t>.</a:t>
            </a:r>
            <a:endParaRPr lang="pl-PL" sz="1100" dirty="0"/>
          </a:p>
        </p:txBody>
      </p:sp>
      <p:graphicFrame>
        <p:nvGraphicFramePr>
          <p:cNvPr id="3" name="Tabela 2">
            <a:extLst>
              <a:ext uri="{FF2B5EF4-FFF2-40B4-BE49-F238E27FC236}">
                <a16:creationId xmlns:a16="http://schemas.microsoft.com/office/drawing/2014/main" id="{CA83F9FB-D3C2-F948-51D3-78609FD37AA2}"/>
              </a:ext>
            </a:extLst>
          </p:cNvPr>
          <p:cNvGraphicFramePr>
            <a:graphicFrameLocks noGrp="1"/>
          </p:cNvGraphicFramePr>
          <p:nvPr>
            <p:extLst>
              <p:ext uri="{D42A27DB-BD31-4B8C-83A1-F6EECF244321}">
                <p14:modId xmlns:p14="http://schemas.microsoft.com/office/powerpoint/2010/main" val="2492097437"/>
              </p:ext>
            </p:extLst>
          </p:nvPr>
        </p:nvGraphicFramePr>
        <p:xfrm>
          <a:off x="747714" y="1139323"/>
          <a:ext cx="8596310" cy="1110666"/>
        </p:xfrm>
        <a:graphic>
          <a:graphicData uri="http://schemas.openxmlformats.org/drawingml/2006/table">
            <a:tbl>
              <a:tblPr/>
              <a:tblGrid>
                <a:gridCol w="1137399">
                  <a:extLst>
                    <a:ext uri="{9D8B030D-6E8A-4147-A177-3AD203B41FA5}">
                      <a16:colId xmlns:a16="http://schemas.microsoft.com/office/drawing/2014/main" val="632413868"/>
                    </a:ext>
                  </a:extLst>
                </a:gridCol>
                <a:gridCol w="718773">
                  <a:extLst>
                    <a:ext uri="{9D8B030D-6E8A-4147-A177-3AD203B41FA5}">
                      <a16:colId xmlns:a16="http://schemas.microsoft.com/office/drawing/2014/main" val="1741259889"/>
                    </a:ext>
                  </a:extLst>
                </a:gridCol>
                <a:gridCol w="747734">
                  <a:extLst>
                    <a:ext uri="{9D8B030D-6E8A-4147-A177-3AD203B41FA5}">
                      <a16:colId xmlns:a16="http://schemas.microsoft.com/office/drawing/2014/main" val="2927831522"/>
                    </a:ext>
                  </a:extLst>
                </a:gridCol>
                <a:gridCol w="631888">
                  <a:extLst>
                    <a:ext uri="{9D8B030D-6E8A-4147-A177-3AD203B41FA5}">
                      <a16:colId xmlns:a16="http://schemas.microsoft.com/office/drawing/2014/main" val="3918040113"/>
                    </a:ext>
                  </a:extLst>
                </a:gridCol>
                <a:gridCol w="610825">
                  <a:extLst>
                    <a:ext uri="{9D8B030D-6E8A-4147-A177-3AD203B41FA5}">
                      <a16:colId xmlns:a16="http://schemas.microsoft.com/office/drawing/2014/main" val="3549111010"/>
                    </a:ext>
                  </a:extLst>
                </a:gridCol>
                <a:gridCol w="505510">
                  <a:extLst>
                    <a:ext uri="{9D8B030D-6E8A-4147-A177-3AD203B41FA5}">
                      <a16:colId xmlns:a16="http://schemas.microsoft.com/office/drawing/2014/main" val="1309178800"/>
                    </a:ext>
                  </a:extLst>
                </a:gridCol>
                <a:gridCol w="505510">
                  <a:extLst>
                    <a:ext uri="{9D8B030D-6E8A-4147-A177-3AD203B41FA5}">
                      <a16:colId xmlns:a16="http://schemas.microsoft.com/office/drawing/2014/main" val="2479956335"/>
                    </a:ext>
                  </a:extLst>
                </a:gridCol>
                <a:gridCol w="505510">
                  <a:extLst>
                    <a:ext uri="{9D8B030D-6E8A-4147-A177-3AD203B41FA5}">
                      <a16:colId xmlns:a16="http://schemas.microsoft.com/office/drawing/2014/main" val="2531436130"/>
                    </a:ext>
                  </a:extLst>
                </a:gridCol>
                <a:gridCol w="589763">
                  <a:extLst>
                    <a:ext uri="{9D8B030D-6E8A-4147-A177-3AD203B41FA5}">
                      <a16:colId xmlns:a16="http://schemas.microsoft.com/office/drawing/2014/main" val="327500461"/>
                    </a:ext>
                  </a:extLst>
                </a:gridCol>
                <a:gridCol w="600294">
                  <a:extLst>
                    <a:ext uri="{9D8B030D-6E8A-4147-A177-3AD203B41FA5}">
                      <a16:colId xmlns:a16="http://schemas.microsoft.com/office/drawing/2014/main" val="3788296509"/>
                    </a:ext>
                  </a:extLst>
                </a:gridCol>
                <a:gridCol w="505510">
                  <a:extLst>
                    <a:ext uri="{9D8B030D-6E8A-4147-A177-3AD203B41FA5}">
                      <a16:colId xmlns:a16="http://schemas.microsoft.com/office/drawing/2014/main" val="3954683002"/>
                    </a:ext>
                  </a:extLst>
                </a:gridCol>
                <a:gridCol w="526574">
                  <a:extLst>
                    <a:ext uri="{9D8B030D-6E8A-4147-A177-3AD203B41FA5}">
                      <a16:colId xmlns:a16="http://schemas.microsoft.com/office/drawing/2014/main" val="1954815945"/>
                    </a:ext>
                  </a:extLst>
                </a:gridCol>
                <a:gridCol w="505510">
                  <a:extLst>
                    <a:ext uri="{9D8B030D-6E8A-4147-A177-3AD203B41FA5}">
                      <a16:colId xmlns:a16="http://schemas.microsoft.com/office/drawing/2014/main" val="2754964037"/>
                    </a:ext>
                  </a:extLst>
                </a:gridCol>
                <a:gridCol w="505510">
                  <a:extLst>
                    <a:ext uri="{9D8B030D-6E8A-4147-A177-3AD203B41FA5}">
                      <a16:colId xmlns:a16="http://schemas.microsoft.com/office/drawing/2014/main" val="2034650977"/>
                    </a:ext>
                  </a:extLst>
                </a:gridCol>
              </a:tblGrid>
              <a:tr h="185111">
                <a:tc>
                  <a:txBody>
                    <a:bodyPr/>
                    <a:lstStyle/>
                    <a:p>
                      <a:pPr algn="ctr" fontAlgn="b"/>
                      <a:r>
                        <a:rPr lang="pl-PL" sz="900" b="1" i="0" u="none" strike="noStrike">
                          <a:solidFill>
                            <a:srgbClr val="000000"/>
                          </a:solidFill>
                          <a:effectLst/>
                          <a:latin typeface="Calibri" panose="020F0502020204030204" pitchFamily="34" charset="0"/>
                        </a:rPr>
                        <a:t>RC</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an</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Feb</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Ma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Ap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May</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un</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July</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Aug</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Sep</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Oct</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Nov</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Dec</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latin typeface="Calibri" panose="020F0502020204030204" pitchFamily="34" charset="0"/>
                        </a:rPr>
                        <a:t>Tota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755791208"/>
                  </a:ext>
                </a:extLst>
              </a:tr>
              <a:tr h="185111">
                <a:tc>
                  <a:txBody>
                    <a:bodyPr/>
                    <a:lstStyle/>
                    <a:p>
                      <a:pPr algn="ctr" fontAlgn="b"/>
                      <a:r>
                        <a:rPr lang="pl-PL" sz="900" b="0" i="0" u="none" strike="noStrike">
                          <a:solidFill>
                            <a:srgbClr val="000000"/>
                          </a:solidFill>
                          <a:effectLst/>
                          <a:latin typeface="Calibri" panose="020F0502020204030204" pitchFamily="34" charset="0"/>
                        </a:rPr>
                        <a:t>Headspace</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6377863"/>
                  </a:ext>
                </a:extLst>
              </a:tr>
              <a:tr h="185111">
                <a:tc>
                  <a:txBody>
                    <a:bodyPr/>
                    <a:lstStyle/>
                    <a:p>
                      <a:pPr algn="ctr" fontAlgn="b"/>
                      <a:r>
                        <a:rPr lang="pl-PL" sz="900" b="0" i="0" u="none" strike="noStrike">
                          <a:solidFill>
                            <a:srgbClr val="000000"/>
                          </a:solidFill>
                          <a:effectLst/>
                          <a:latin typeface="Calibri" panose="020F0502020204030204" pitchFamily="34" charset="0"/>
                        </a:rPr>
                        <a:t>Quality issue</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7</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8</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3027486"/>
                  </a:ext>
                </a:extLst>
              </a:tr>
              <a:tr h="185111">
                <a:tc>
                  <a:txBody>
                    <a:bodyPr/>
                    <a:lstStyle/>
                    <a:p>
                      <a:pPr algn="ctr" fontAlgn="b"/>
                      <a:r>
                        <a:rPr lang="pl-PL" sz="900" b="0" i="0" u="none" strike="noStrike">
                          <a:solidFill>
                            <a:srgbClr val="000000"/>
                          </a:solidFill>
                          <a:effectLst/>
                          <a:latin typeface="Calibri" panose="020F0502020204030204" pitchFamily="34" charset="0"/>
                        </a:rPr>
                        <a:t>Delay with loading</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2</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6</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4731942"/>
                  </a:ext>
                </a:extLst>
              </a:tr>
              <a:tr h="185111">
                <a:tc>
                  <a:txBody>
                    <a:bodyPr/>
                    <a:lstStyle/>
                    <a:p>
                      <a:pPr algn="ctr" fontAlgn="b"/>
                      <a:r>
                        <a:rPr lang="pl-PL" sz="900" b="0" i="0" u="none" strike="noStrike">
                          <a:solidFill>
                            <a:srgbClr val="000000"/>
                          </a:solidFill>
                          <a:effectLst/>
                          <a:latin typeface="Calibri" panose="020F0502020204030204" pitchFamily="34" charset="0"/>
                        </a:rPr>
                        <a:t>Othe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6</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6</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34251792"/>
                  </a:ext>
                </a:extLst>
              </a:tr>
              <a:tr h="185111">
                <a:tc>
                  <a:txBody>
                    <a:bodyPr/>
                    <a:lstStyle/>
                    <a:p>
                      <a:pPr algn="ctr" fontAlgn="b"/>
                      <a:r>
                        <a:rPr lang="pl-PL" sz="900" b="1" i="0" u="none" strike="noStrike">
                          <a:solidFill>
                            <a:srgbClr val="000000"/>
                          </a:solidFill>
                          <a:effectLst/>
                          <a:latin typeface="Calibri" panose="020F0502020204030204" pitchFamily="34" charset="0"/>
                        </a:rPr>
                        <a:t>Tota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6</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9</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3</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1</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2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5591113"/>
                  </a:ext>
                </a:extLst>
              </a:tr>
            </a:tbl>
          </a:graphicData>
        </a:graphic>
      </p:graphicFrame>
      <p:pic>
        <p:nvPicPr>
          <p:cNvPr id="4097" name="Picture 1">
            <a:extLst>
              <a:ext uri="{FF2B5EF4-FFF2-40B4-BE49-F238E27FC236}">
                <a16:creationId xmlns:a16="http://schemas.microsoft.com/office/drawing/2014/main" id="{CD25268C-A2A0-58C7-67D9-2C19370A1B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7714" y="3431512"/>
            <a:ext cx="8596310" cy="2609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12180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25DF1CBA-C6C5-2A7B-2412-07DAF8819095}"/>
              </a:ext>
            </a:extLst>
          </p:cNvPr>
          <p:cNvSpPr>
            <a:spLocks noGrp="1"/>
          </p:cNvSpPr>
          <p:nvPr>
            <p:ph type="sldNum" sz="quarter" idx="12"/>
          </p:nvPr>
        </p:nvSpPr>
        <p:spPr/>
        <p:txBody>
          <a:bodyPr/>
          <a:lstStyle/>
          <a:p>
            <a:fld id="{8470F1AB-319E-48AE-9489-D88EBE16142A}" type="slidenum">
              <a:rPr lang="en-GB" smtClean="0"/>
              <a:t>9</a:t>
            </a:fld>
            <a:endParaRPr lang="en-GB"/>
          </a:p>
        </p:txBody>
      </p:sp>
      <p:sp>
        <p:nvSpPr>
          <p:cNvPr id="10" name="pole tekstowe 9">
            <a:extLst>
              <a:ext uri="{FF2B5EF4-FFF2-40B4-BE49-F238E27FC236}">
                <a16:creationId xmlns:a16="http://schemas.microsoft.com/office/drawing/2014/main" id="{DC8AF736-7D3E-2B8F-7991-AD63E3CF0DE5}"/>
              </a:ext>
            </a:extLst>
          </p:cNvPr>
          <p:cNvSpPr txBox="1"/>
          <p:nvPr/>
        </p:nvSpPr>
        <p:spPr>
          <a:xfrm>
            <a:off x="1766138" y="233420"/>
            <a:ext cx="6099110" cy="523220"/>
          </a:xfrm>
          <a:prstGeom prst="rect">
            <a:avLst/>
          </a:prstGeom>
          <a:noFill/>
        </p:spPr>
        <p:txBody>
          <a:bodyPr wrap="square" lIns="91440" tIns="45720" rIns="91440" bIns="45720" anchor="t">
            <a:spAutoFit/>
          </a:bodyPr>
          <a:lstStyle/>
          <a:p>
            <a:pPr algn="ctr"/>
            <a:r>
              <a:rPr lang="en-US" sz="2800" b="1" dirty="0" err="1"/>
              <a:t>Olenex</a:t>
            </a:r>
            <a:r>
              <a:rPr lang="pl-PL" sz="2800" b="1" dirty="0"/>
              <a:t> –</a:t>
            </a:r>
            <a:r>
              <a:rPr lang="pl-PL" sz="2800" b="1" dirty="0" err="1"/>
              <a:t>summary</a:t>
            </a:r>
            <a:endParaRPr lang="pl-PL" sz="2800" dirty="0"/>
          </a:p>
        </p:txBody>
      </p:sp>
      <p:graphicFrame>
        <p:nvGraphicFramePr>
          <p:cNvPr id="2" name="Wykres 1">
            <a:extLst>
              <a:ext uri="{FF2B5EF4-FFF2-40B4-BE49-F238E27FC236}">
                <a16:creationId xmlns:a16="http://schemas.microsoft.com/office/drawing/2014/main" id="{DB0D878B-5A0E-43B8-F78B-A35926E58E82}"/>
              </a:ext>
              <a:ext uri="{147F2762-F138-4A5C-976F-8EAC2B608ADB}">
                <a16:predDERef xmlns:a16="http://schemas.microsoft.com/office/drawing/2014/main" pred="{CF4F7C90-4715-2E20-CD60-7EF7DFC68B69}"/>
              </a:ext>
            </a:extLst>
          </p:cNvPr>
          <p:cNvGraphicFramePr>
            <a:graphicFrameLocks/>
          </p:cNvGraphicFramePr>
          <p:nvPr>
            <p:extLst>
              <p:ext uri="{D42A27DB-BD31-4B8C-83A1-F6EECF244321}">
                <p14:modId xmlns:p14="http://schemas.microsoft.com/office/powerpoint/2010/main" val="1085521561"/>
              </p:ext>
            </p:extLst>
          </p:nvPr>
        </p:nvGraphicFramePr>
        <p:xfrm>
          <a:off x="677692" y="2975766"/>
          <a:ext cx="8759271" cy="27527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Tabela 4">
            <a:extLst>
              <a:ext uri="{FF2B5EF4-FFF2-40B4-BE49-F238E27FC236}">
                <a16:creationId xmlns:a16="http://schemas.microsoft.com/office/drawing/2014/main" id="{C34A2973-99FA-12B4-841D-92ACA754C837}"/>
              </a:ext>
            </a:extLst>
          </p:cNvPr>
          <p:cNvGraphicFramePr>
            <a:graphicFrameLocks noGrp="1"/>
          </p:cNvGraphicFramePr>
          <p:nvPr>
            <p:extLst>
              <p:ext uri="{D42A27DB-BD31-4B8C-83A1-F6EECF244321}">
                <p14:modId xmlns:p14="http://schemas.microsoft.com/office/powerpoint/2010/main" val="3784271368"/>
              </p:ext>
            </p:extLst>
          </p:nvPr>
        </p:nvGraphicFramePr>
        <p:xfrm>
          <a:off x="677692" y="1184513"/>
          <a:ext cx="8759271" cy="1363380"/>
        </p:xfrm>
        <a:graphic>
          <a:graphicData uri="http://schemas.openxmlformats.org/drawingml/2006/table">
            <a:tbl>
              <a:tblPr/>
              <a:tblGrid>
                <a:gridCol w="1158961">
                  <a:extLst>
                    <a:ext uri="{9D8B030D-6E8A-4147-A177-3AD203B41FA5}">
                      <a16:colId xmlns:a16="http://schemas.microsoft.com/office/drawing/2014/main" val="1107804569"/>
                    </a:ext>
                  </a:extLst>
                </a:gridCol>
                <a:gridCol w="732399">
                  <a:extLst>
                    <a:ext uri="{9D8B030D-6E8A-4147-A177-3AD203B41FA5}">
                      <a16:colId xmlns:a16="http://schemas.microsoft.com/office/drawing/2014/main" val="3045302385"/>
                    </a:ext>
                  </a:extLst>
                </a:gridCol>
                <a:gridCol w="761909">
                  <a:extLst>
                    <a:ext uri="{9D8B030D-6E8A-4147-A177-3AD203B41FA5}">
                      <a16:colId xmlns:a16="http://schemas.microsoft.com/office/drawing/2014/main" val="1019429187"/>
                    </a:ext>
                  </a:extLst>
                </a:gridCol>
                <a:gridCol w="643867">
                  <a:extLst>
                    <a:ext uri="{9D8B030D-6E8A-4147-A177-3AD203B41FA5}">
                      <a16:colId xmlns:a16="http://schemas.microsoft.com/office/drawing/2014/main" val="3105763883"/>
                    </a:ext>
                  </a:extLst>
                </a:gridCol>
                <a:gridCol w="622404">
                  <a:extLst>
                    <a:ext uri="{9D8B030D-6E8A-4147-A177-3AD203B41FA5}">
                      <a16:colId xmlns:a16="http://schemas.microsoft.com/office/drawing/2014/main" val="3624257598"/>
                    </a:ext>
                  </a:extLst>
                </a:gridCol>
                <a:gridCol w="515093">
                  <a:extLst>
                    <a:ext uri="{9D8B030D-6E8A-4147-A177-3AD203B41FA5}">
                      <a16:colId xmlns:a16="http://schemas.microsoft.com/office/drawing/2014/main" val="3098629456"/>
                    </a:ext>
                  </a:extLst>
                </a:gridCol>
                <a:gridCol w="515093">
                  <a:extLst>
                    <a:ext uri="{9D8B030D-6E8A-4147-A177-3AD203B41FA5}">
                      <a16:colId xmlns:a16="http://schemas.microsoft.com/office/drawing/2014/main" val="3178952222"/>
                    </a:ext>
                  </a:extLst>
                </a:gridCol>
                <a:gridCol w="515093">
                  <a:extLst>
                    <a:ext uri="{9D8B030D-6E8A-4147-A177-3AD203B41FA5}">
                      <a16:colId xmlns:a16="http://schemas.microsoft.com/office/drawing/2014/main" val="174475680"/>
                    </a:ext>
                  </a:extLst>
                </a:gridCol>
                <a:gridCol w="600943">
                  <a:extLst>
                    <a:ext uri="{9D8B030D-6E8A-4147-A177-3AD203B41FA5}">
                      <a16:colId xmlns:a16="http://schemas.microsoft.com/office/drawing/2014/main" val="587903836"/>
                    </a:ext>
                  </a:extLst>
                </a:gridCol>
                <a:gridCol w="611674">
                  <a:extLst>
                    <a:ext uri="{9D8B030D-6E8A-4147-A177-3AD203B41FA5}">
                      <a16:colId xmlns:a16="http://schemas.microsoft.com/office/drawing/2014/main" val="2818016095"/>
                    </a:ext>
                  </a:extLst>
                </a:gridCol>
                <a:gridCol w="515093">
                  <a:extLst>
                    <a:ext uri="{9D8B030D-6E8A-4147-A177-3AD203B41FA5}">
                      <a16:colId xmlns:a16="http://schemas.microsoft.com/office/drawing/2014/main" val="684118142"/>
                    </a:ext>
                  </a:extLst>
                </a:gridCol>
                <a:gridCol w="536556">
                  <a:extLst>
                    <a:ext uri="{9D8B030D-6E8A-4147-A177-3AD203B41FA5}">
                      <a16:colId xmlns:a16="http://schemas.microsoft.com/office/drawing/2014/main" val="4073055501"/>
                    </a:ext>
                  </a:extLst>
                </a:gridCol>
                <a:gridCol w="515093">
                  <a:extLst>
                    <a:ext uri="{9D8B030D-6E8A-4147-A177-3AD203B41FA5}">
                      <a16:colId xmlns:a16="http://schemas.microsoft.com/office/drawing/2014/main" val="1158842213"/>
                    </a:ext>
                  </a:extLst>
                </a:gridCol>
                <a:gridCol w="515093">
                  <a:extLst>
                    <a:ext uri="{9D8B030D-6E8A-4147-A177-3AD203B41FA5}">
                      <a16:colId xmlns:a16="http://schemas.microsoft.com/office/drawing/2014/main" val="1117471370"/>
                    </a:ext>
                  </a:extLst>
                </a:gridCol>
              </a:tblGrid>
              <a:tr h="227230">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RC</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Jan</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Feb</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Ma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Ap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May</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Jun</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July</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Aug</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Sep</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Oct</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Nov</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Dec</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pl-PL" sz="900" b="1" i="0" u="none" strike="noStrike">
                          <a:solidFill>
                            <a:srgbClr val="000000"/>
                          </a:solidFill>
                          <a:effectLst/>
                          <a:highlight>
                            <a:srgbClr val="E2EFDA"/>
                          </a:highlight>
                          <a:latin typeface="Calibri" panose="020F0502020204030204" pitchFamily="34" charset="0"/>
                        </a:rPr>
                        <a:t>Tota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170022899"/>
                  </a:ext>
                </a:extLst>
              </a:tr>
              <a:tr h="227230">
                <a:tc>
                  <a:txBody>
                    <a:bodyPr/>
                    <a:lstStyle/>
                    <a:p>
                      <a:pPr algn="ctr" fontAlgn="b"/>
                      <a:r>
                        <a:rPr lang="pl-PL" sz="900" b="0" i="0" u="none" strike="noStrike">
                          <a:solidFill>
                            <a:srgbClr val="000000"/>
                          </a:solidFill>
                          <a:effectLst/>
                          <a:latin typeface="Calibri" panose="020F0502020204030204" pitchFamily="34" charset="0"/>
                        </a:rPr>
                        <a:t>Headspace</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7117500"/>
                  </a:ext>
                </a:extLst>
              </a:tr>
              <a:tr h="227230">
                <a:tc>
                  <a:txBody>
                    <a:bodyPr/>
                    <a:lstStyle/>
                    <a:p>
                      <a:pPr algn="ctr" fontAlgn="b"/>
                      <a:r>
                        <a:rPr lang="pl-PL" sz="900" b="0" i="0" u="none" strike="noStrike">
                          <a:solidFill>
                            <a:srgbClr val="000000"/>
                          </a:solidFill>
                          <a:effectLst/>
                          <a:latin typeface="Calibri" panose="020F0502020204030204" pitchFamily="34" charset="0"/>
                        </a:rPr>
                        <a:t>Quality issue</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2786058"/>
                  </a:ext>
                </a:extLst>
              </a:tr>
              <a:tr h="227230">
                <a:tc>
                  <a:txBody>
                    <a:bodyPr/>
                    <a:lstStyle/>
                    <a:p>
                      <a:pPr algn="ctr" fontAlgn="b"/>
                      <a:r>
                        <a:rPr lang="pl-PL" sz="900" b="0" i="0" u="none" strike="noStrike">
                          <a:solidFill>
                            <a:srgbClr val="000000"/>
                          </a:solidFill>
                          <a:effectLst/>
                          <a:latin typeface="Calibri" panose="020F0502020204030204" pitchFamily="34" charset="0"/>
                        </a:rPr>
                        <a:t>Delay with loading</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7</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7</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2597614"/>
                  </a:ext>
                </a:extLst>
              </a:tr>
              <a:tr h="227230">
                <a:tc>
                  <a:txBody>
                    <a:bodyPr/>
                    <a:lstStyle/>
                    <a:p>
                      <a:pPr algn="ctr" fontAlgn="b"/>
                      <a:r>
                        <a:rPr lang="pl-PL" sz="900" b="0" i="0" u="none" strike="noStrike">
                          <a:solidFill>
                            <a:srgbClr val="000000"/>
                          </a:solidFill>
                          <a:effectLst/>
                          <a:latin typeface="Calibri" panose="020F0502020204030204" pitchFamily="34" charset="0"/>
                        </a:rPr>
                        <a:t>Other</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pl-PL" sz="900" b="0" i="0" u="none" strike="noStrike">
                        <a:solidFill>
                          <a:srgbClr val="000000"/>
                        </a:solidFill>
                        <a:effectLst/>
                        <a:latin typeface="Calibri" panose="020F0502020204030204" pitchFamily="34" charset="0"/>
                      </a:endParaRP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0016863"/>
                  </a:ext>
                </a:extLst>
              </a:tr>
              <a:tr h="227230">
                <a:tc>
                  <a:txBody>
                    <a:bodyPr/>
                    <a:lstStyle/>
                    <a:p>
                      <a:pPr algn="ctr" fontAlgn="b"/>
                      <a:r>
                        <a:rPr lang="pl-PL" sz="900" b="1" i="0" u="none" strike="noStrike">
                          <a:solidFill>
                            <a:srgbClr val="000000"/>
                          </a:solidFill>
                          <a:effectLst/>
                          <a:latin typeface="Calibri" panose="020F0502020204030204" pitchFamily="34" charset="0"/>
                        </a:rPr>
                        <a:t>Total</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7</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a:solidFill>
                            <a:srgbClr val="000000"/>
                          </a:solidFill>
                          <a:effectLst/>
                          <a:latin typeface="Calibri" panose="020F0502020204030204" pitchFamily="34" charset="0"/>
                        </a:rPr>
                        <a:t>0</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pl-PL" sz="900" b="0" i="0" u="none" strike="noStrike" dirty="0">
                          <a:solidFill>
                            <a:srgbClr val="000000"/>
                          </a:solidFill>
                          <a:effectLst/>
                          <a:latin typeface="Calibri" panose="020F0502020204030204" pitchFamily="34" charset="0"/>
                        </a:rPr>
                        <a:t>7</a:t>
                      </a:r>
                    </a:p>
                  </a:txBody>
                  <a:tcPr marL="7911" marR="7911" marT="7911" marB="37971"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4550672"/>
                  </a:ext>
                </a:extLst>
              </a:tr>
            </a:tbl>
          </a:graphicData>
        </a:graphic>
      </p:graphicFrame>
    </p:spTree>
    <p:extLst>
      <p:ext uri="{BB962C8B-B14F-4D97-AF65-F5344CB8AC3E}">
        <p14:creationId xmlns:p14="http://schemas.microsoft.com/office/powerpoint/2010/main" val="38570798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hNb7TP_e8azS0P.B_BDJw"/>
</p:tagLst>
</file>

<file path=ppt/theme/theme1.xml><?xml version="1.0" encoding="utf-8"?>
<a:theme xmlns:a="http://schemas.openxmlformats.org/drawingml/2006/main" name="Office Theme">
  <a:themeElements>
    <a:clrScheme name="Custom 1">
      <a:dk1>
        <a:srgbClr val="005A50"/>
      </a:dk1>
      <a:lt1>
        <a:sysClr val="window" lastClr="FFFFFF"/>
      </a:lt1>
      <a:dk2>
        <a:srgbClr val="009639"/>
      </a:dk2>
      <a:lt2>
        <a:srgbClr val="EFF7D9"/>
      </a:lt2>
      <a:accent1>
        <a:srgbClr val="009639"/>
      </a:accent1>
      <a:accent2>
        <a:srgbClr val="005A50"/>
      </a:accent2>
      <a:accent3>
        <a:srgbClr val="64BE00"/>
      </a:accent3>
      <a:accent4>
        <a:srgbClr val="C6DD3A"/>
      </a:accent4>
      <a:accent5>
        <a:srgbClr val="99D5B0"/>
      </a:accent5>
      <a:accent6>
        <a:srgbClr val="EFF7D9"/>
      </a:accent6>
      <a:hlink>
        <a:srgbClr val="005A50"/>
      </a:hlink>
      <a:folHlink>
        <a:srgbClr val="64BE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7_Content Slides - Multicolour">
  <a:themeElements>
    <a:clrScheme name="Custom 1">
      <a:dk1>
        <a:srgbClr val="683C10"/>
      </a:dk1>
      <a:lt1>
        <a:srgbClr val="FFFFFF"/>
      </a:lt1>
      <a:dk2>
        <a:srgbClr val="683C10"/>
      </a:dk2>
      <a:lt2>
        <a:srgbClr val="FFFFFF"/>
      </a:lt2>
      <a:accent1>
        <a:srgbClr val="7EC1ED"/>
      </a:accent1>
      <a:accent2>
        <a:srgbClr val="B7D04D"/>
      </a:accent2>
      <a:accent3>
        <a:srgbClr val="FFCF2B"/>
      </a:accent3>
      <a:accent4>
        <a:srgbClr val="E3A3D3"/>
      </a:accent4>
      <a:accent5>
        <a:srgbClr val="BB891F"/>
      </a:accent5>
      <a:accent6>
        <a:srgbClr val="73B12B"/>
      </a:accent6>
      <a:hlink>
        <a:srgbClr val="389EDC"/>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2_Content Slides - Multicolour">
  <a:themeElements>
    <a:clrScheme name="Custom 1">
      <a:dk1>
        <a:srgbClr val="683C10"/>
      </a:dk1>
      <a:lt1>
        <a:srgbClr val="FFFFFF"/>
      </a:lt1>
      <a:dk2>
        <a:srgbClr val="683C10"/>
      </a:dk2>
      <a:lt2>
        <a:srgbClr val="FFFFFF"/>
      </a:lt2>
      <a:accent1>
        <a:srgbClr val="7EC1ED"/>
      </a:accent1>
      <a:accent2>
        <a:srgbClr val="B7D04D"/>
      </a:accent2>
      <a:accent3>
        <a:srgbClr val="FFCF2B"/>
      </a:accent3>
      <a:accent4>
        <a:srgbClr val="E3A3D3"/>
      </a:accent4>
      <a:accent5>
        <a:srgbClr val="BB891F"/>
      </a:accent5>
      <a:accent6>
        <a:srgbClr val="73B12B"/>
      </a:accent6>
      <a:hlink>
        <a:srgbClr val="389EDC"/>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p Model and Project Plan templates_New Spreads format.pptx" id="{AE0ED39C-C1C1-4A1C-8AEA-1CCA4326786A}" vid="{4DDB8F9F-934E-481D-B75C-C7EE24A56CF5}"/>
    </a:ext>
  </a:extLst>
</a:theme>
</file>

<file path=ppt/theme/theme4.xml><?xml version="1.0" encoding="utf-8"?>
<a:theme xmlns:a="http://schemas.openxmlformats.org/drawingml/2006/main" name="Faseta">
  <a:themeElements>
    <a:clrScheme name="Faseta">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seta">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seta">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txDef>
      <a:spPr>
        <a:noFill/>
      </a:spPr>
      <a:bodyPr wrap="square">
        <a:spAutoFit/>
      </a:bodyPr>
      <a:lstStyle>
        <a:defPPr algn="l">
          <a:defRPr b="1" dirty="0"/>
        </a:defPPr>
      </a:lstStyle>
    </a:txDef>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0B5E0D53FEDD54DAC21F9CDF874ACE1" ma:contentTypeVersion="2" ma:contentTypeDescription="Create a new document." ma:contentTypeScope="" ma:versionID="e624d06c07a3f7f8a2df3e4f0a3323d1">
  <xsd:schema xmlns:xsd="http://www.w3.org/2001/XMLSchema" xmlns:xs="http://www.w3.org/2001/XMLSchema" xmlns:p="http://schemas.microsoft.com/office/2006/metadata/properties" xmlns:ns2="27423e2b-f645-4f57-9747-63a2498f5687" targetNamespace="http://schemas.microsoft.com/office/2006/metadata/properties" ma:root="true" ma:fieldsID="c4542e0457dc4c69d0e6070c938127bd" ns2:_="">
    <xsd:import namespace="27423e2b-f645-4f57-9747-63a2498f568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423e2b-f645-4f57-9747-63a2498f568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Application xmlns="http://www.sap.com/cof/powerpoint/application">
  <Version>2</Version>
  <Revision>2.8.200.93367</Revision>
</Application>
</file>

<file path=customXml/item5.xml><?xml version="1.0" encoding="utf-8"?>
<Application xmlns="http://www.sap.com/cof/ao/powerpoint/application">
  <com.sap.ip.bi.pioneer>
    <Version>4</Version>
    <AAO_Revision>2.8.200.93367</AAO_Revision>
    <RefreshOnOpen>False</RefreshOnOpen>
    <PlanningModeSetToChangeMode>True</PlanningModeSetToChangeMode>
    <Cleaned>False</Cleaned>
    <ForcePromptOnInitialRefresh>False</ForcePromptOnInitialRefresh>
    <StorePromptsInDocument>True</StorePromptsInDocument>
    <MergeVariables>False</MergeVariables>
    <RefreshPlanningObjectsOnRefreshAll>True</RefreshPlanningObjectsOnRefreshAll>
    <Items/>
  </com.sap.ip.bi.pioneer>
</Application>
</file>

<file path=customXml/itemProps1.xml><?xml version="1.0" encoding="utf-8"?>
<ds:datastoreItem xmlns:ds="http://schemas.openxmlformats.org/officeDocument/2006/customXml" ds:itemID="{A4D2F923-3BA9-4063-86B0-4EDB2699679F}">
  <ds:schemaRefs>
    <ds:schemaRef ds:uri="http://schemas.microsoft.com/sharepoint/v3/contenttype/forms"/>
  </ds:schemaRefs>
</ds:datastoreItem>
</file>

<file path=customXml/itemProps2.xml><?xml version="1.0" encoding="utf-8"?>
<ds:datastoreItem xmlns:ds="http://schemas.openxmlformats.org/officeDocument/2006/customXml" ds:itemID="{34A5207C-E28D-4043-AC27-8E66C4EE473E}">
  <ds:schemaRefs>
    <ds:schemaRef ds:uri="27423e2b-f645-4f57-9747-63a2498f568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863D9FC-1C25-4F11-BF5A-D080153C470F}">
  <ds:schemaRefs>
    <ds:schemaRef ds:uri="http://schemas.microsoft.com/office/infopath/2007/PartnerControls"/>
    <ds:schemaRef ds:uri="http://purl.org/dc/dcmitype/"/>
    <ds:schemaRef ds:uri="27423e2b-f645-4f57-9747-63a2498f5687"/>
    <ds:schemaRef ds:uri="http://schemas.microsoft.com/office/2006/metadata/properties"/>
    <ds:schemaRef ds:uri="http://schemas.openxmlformats.org/package/2006/metadata/core-properties"/>
    <ds:schemaRef ds:uri="http://purl.org/dc/terms/"/>
    <ds:schemaRef ds:uri="http://purl.org/dc/elements/1.1/"/>
    <ds:schemaRef ds:uri="http://schemas.microsoft.com/office/2006/documentManagement/types"/>
    <ds:schemaRef ds:uri="http://www.w3.org/XML/1998/namespace"/>
  </ds:schemaRefs>
</ds:datastoreItem>
</file>

<file path=customXml/itemProps4.xml><?xml version="1.0" encoding="utf-8"?>
<ds:datastoreItem xmlns:ds="http://schemas.openxmlformats.org/officeDocument/2006/customXml" ds:itemID="{13700D84-9515-4D2A-B89C-84C7EF84643F}">
  <ds:schemaRefs>
    <ds:schemaRef ds:uri="http://www.sap.com/cof/powerpoint/application"/>
  </ds:schemaRefs>
</ds:datastoreItem>
</file>

<file path=customXml/itemProps5.xml><?xml version="1.0" encoding="utf-8"?>
<ds:datastoreItem xmlns:ds="http://schemas.openxmlformats.org/officeDocument/2006/customXml" ds:itemID="{02DEFEAE-C6C1-4D33-9967-334321C2F4A3}">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otalTime>848</TotalTime>
  <Words>1260</Words>
  <Application>Microsoft Office PowerPoint</Application>
  <PresentationFormat>Panoramiczny</PresentationFormat>
  <Paragraphs>1018</Paragraphs>
  <Slides>15</Slides>
  <Notes>0</Notes>
  <HiddenSlides>0</HiddenSlides>
  <MMClips>0</MMClips>
  <ScaleCrop>false</ScaleCrop>
  <HeadingPairs>
    <vt:vector size="8" baseType="variant">
      <vt:variant>
        <vt:lpstr>Używane czcionki</vt:lpstr>
      </vt:variant>
      <vt:variant>
        <vt:i4>6</vt:i4>
      </vt:variant>
      <vt:variant>
        <vt:lpstr>Motyw</vt:lpstr>
      </vt:variant>
      <vt:variant>
        <vt:i4>4</vt:i4>
      </vt:variant>
      <vt:variant>
        <vt:lpstr>Osadzone serwery OLE</vt:lpstr>
      </vt:variant>
      <vt:variant>
        <vt:i4>1</vt:i4>
      </vt:variant>
      <vt:variant>
        <vt:lpstr>Tytuły slajdów</vt:lpstr>
      </vt:variant>
      <vt:variant>
        <vt:i4>15</vt:i4>
      </vt:variant>
    </vt:vector>
  </HeadingPairs>
  <TitlesOfParts>
    <vt:vector size="26" baseType="lpstr">
      <vt:lpstr>Arial</vt:lpstr>
      <vt:lpstr>Calibri</vt:lpstr>
      <vt:lpstr>Symbol</vt:lpstr>
      <vt:lpstr>Times New Roman</vt:lpstr>
      <vt:lpstr>Trebuchet MS</vt:lpstr>
      <vt:lpstr>Wingdings 3</vt:lpstr>
      <vt:lpstr>Office Theme</vt:lpstr>
      <vt:lpstr>17_Content Slides - Multicolour</vt:lpstr>
      <vt:lpstr>22_Content Slides - Multicolour</vt:lpstr>
      <vt:lpstr>Faseta</vt:lpstr>
      <vt:lpstr>think-cell Slide</vt:lpstr>
      <vt:lpstr>Issue Log 2024  January – September</vt:lpstr>
      <vt:lpstr>January – September 2024 </vt:lpstr>
      <vt:lpstr>January – September 2024</vt:lpstr>
      <vt:lpstr>January – September top view per SU</vt:lpstr>
      <vt:lpstr>January – September top view per reason code</vt:lpstr>
      <vt:lpstr>January – September top view per supplier</vt:lpstr>
      <vt:lpstr>Prezentacja programu PowerPoint</vt:lpstr>
      <vt:lpstr>Prezentacja programu PowerPoint</vt:lpstr>
      <vt:lpstr>Prezentacja programu PowerPoint</vt:lpstr>
      <vt:lpstr>Katowice - overview</vt:lpstr>
      <vt:lpstr>RP Katowice</vt:lpstr>
      <vt:lpstr>RP Katowice</vt:lpstr>
      <vt:lpstr>Pratau - overview</vt:lpstr>
      <vt:lpstr>Kleve - overview</vt:lpstr>
      <vt:lpstr>Prezentacja programu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CCP Oils   Feb 2021</dc:title>
  <dc:creator>Judyta Kozlowska</dc:creator>
  <cp:lastModifiedBy>Dawid Janik</cp:lastModifiedBy>
  <cp:revision>45</cp:revision>
  <dcterms:created xsi:type="dcterms:W3CDTF">2021-02-02T22:54:58Z</dcterms:created>
  <dcterms:modified xsi:type="dcterms:W3CDTF">2024-10-21T11:1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04be5fb-a727-4de8-9a0b-2318b3ae9b1b_Enabled">
    <vt:lpwstr>True</vt:lpwstr>
  </property>
  <property fmtid="{D5CDD505-2E9C-101B-9397-08002B2CF9AE}" pid="3" name="MSIP_Label_604be5fb-a727-4de8-9a0b-2318b3ae9b1b_SiteId">
    <vt:lpwstr>e361356b-0fd2-4625-86f0-22ae6904a721</vt:lpwstr>
  </property>
  <property fmtid="{D5CDD505-2E9C-101B-9397-08002B2CF9AE}" pid="4" name="MSIP_Label_604be5fb-a727-4de8-9a0b-2318b3ae9b1b_Owner">
    <vt:lpwstr>judyta.kozlowska@upfieldbrands.com</vt:lpwstr>
  </property>
  <property fmtid="{D5CDD505-2E9C-101B-9397-08002B2CF9AE}" pid="5" name="MSIP_Label_604be5fb-a727-4de8-9a0b-2318b3ae9b1b_SetDate">
    <vt:lpwstr>2021-02-03T07:43:16.4291328Z</vt:lpwstr>
  </property>
  <property fmtid="{D5CDD505-2E9C-101B-9397-08002B2CF9AE}" pid="6" name="MSIP_Label_604be5fb-a727-4de8-9a0b-2318b3ae9b1b_Name">
    <vt:lpwstr>Internal</vt:lpwstr>
  </property>
  <property fmtid="{D5CDD505-2E9C-101B-9397-08002B2CF9AE}" pid="7" name="MSIP_Label_604be5fb-a727-4de8-9a0b-2318b3ae9b1b_Application">
    <vt:lpwstr>Microsoft Azure Information Protection</vt:lpwstr>
  </property>
  <property fmtid="{D5CDD505-2E9C-101B-9397-08002B2CF9AE}" pid="8" name="MSIP_Label_604be5fb-a727-4de8-9a0b-2318b3ae9b1b_ActionId">
    <vt:lpwstr>3eaaad41-681d-4276-afd5-db67d50fc62b</vt:lpwstr>
  </property>
  <property fmtid="{D5CDD505-2E9C-101B-9397-08002B2CF9AE}" pid="9" name="MSIP_Label_604be5fb-a727-4de8-9a0b-2318b3ae9b1b_Extended_MSFT_Method">
    <vt:lpwstr>Automatic</vt:lpwstr>
  </property>
  <property fmtid="{D5CDD505-2E9C-101B-9397-08002B2CF9AE}" pid="10" name="Sensitivity">
    <vt:lpwstr>Internal</vt:lpwstr>
  </property>
  <property fmtid="{D5CDD505-2E9C-101B-9397-08002B2CF9AE}" pid="11" name="ContentTypeId">
    <vt:lpwstr>0x01010090B5E0D53FEDD54DAC21F9CDF874ACE1</vt:lpwstr>
  </property>
</Properties>
</file>